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7.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8.xml" ContentType="application/vnd.openxmlformats-officedocument.theme+xml"/>
  <Override PartName="/ppt/tags/tag23.xml" ContentType="application/vnd.openxmlformats-officedocument.presentationml.tags+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9.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10.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11.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3.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4.xml" ContentType="application/vnd.openxmlformats-officedocument.theme+xml"/>
  <Override PartName="/ppt/tags/tag228.xml" ContentType="application/vnd.openxmlformats-officedocument.presentationml.tags+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5.xml" ContentType="application/vnd.openxmlformats-officedocument.them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6.xml" ContentType="application/vnd.openxmlformats-officedocument.theme+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7.xml" ContentType="application/vnd.openxmlformats-officedocument.theme+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8.xml" ContentType="application/vnd.openxmlformats-officedocument.theme+xml"/>
  <Override PartName="/ppt/tags/tag351.xml" ContentType="application/vnd.openxmlformats-officedocument.presentationml.tags+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theme/theme19.xml" ContentType="application/vnd.openxmlformats-officedocument.theme+xml"/>
  <Override PartName="/ppt/tags/tag352.xml" ContentType="application/vnd.openxmlformats-officedocument.presentationml.tags+xml"/>
  <Override PartName="/ppt/theme/theme20.xml" ContentType="application/vnd.openxmlformats-officedocument.theme+xml"/>
  <Override PartName="/ppt/comments/comment1.xml" ContentType="application/vnd.openxmlformats-officedocument.presentationml.comment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6" r:id="rId5"/>
    <p:sldMasterId id="2147483732" r:id="rId6"/>
    <p:sldMasterId id="2147483765" r:id="rId7"/>
    <p:sldMasterId id="2147483802" r:id="rId8"/>
    <p:sldMasterId id="2147483835" r:id="rId9"/>
    <p:sldMasterId id="2147483868" r:id="rId10"/>
    <p:sldMasterId id="2147483904" r:id="rId11"/>
    <p:sldMasterId id="2147483942" r:id="rId12"/>
    <p:sldMasterId id="2147483947" r:id="rId13"/>
    <p:sldMasterId id="2147483952" r:id="rId14"/>
    <p:sldMasterId id="2147483959" r:id="rId15"/>
    <p:sldMasterId id="2147483964" r:id="rId16"/>
    <p:sldMasterId id="2147483969" r:id="rId17"/>
    <p:sldMasterId id="2147483987" r:id="rId18"/>
    <p:sldMasterId id="2147483994" r:id="rId19"/>
    <p:sldMasterId id="2147484001" r:id="rId20"/>
    <p:sldMasterId id="2147484005" r:id="rId21"/>
    <p:sldMasterId id="2147484043" r:id="rId22"/>
  </p:sldMasterIdLst>
  <p:notesMasterIdLst>
    <p:notesMasterId r:id="rId38"/>
  </p:notesMasterIdLst>
  <p:sldIdLst>
    <p:sldId id="3989" r:id="rId23"/>
    <p:sldId id="4000" r:id="rId24"/>
    <p:sldId id="2147374063" r:id="rId25"/>
    <p:sldId id="16717" r:id="rId26"/>
    <p:sldId id="2147373656" r:id="rId27"/>
    <p:sldId id="2147374061" r:id="rId28"/>
    <p:sldId id="2147374064" r:id="rId29"/>
    <p:sldId id="2147374067" r:id="rId30"/>
    <p:sldId id="2147374065" r:id="rId31"/>
    <p:sldId id="2147374066" r:id="rId32"/>
    <p:sldId id="2147374070" r:id="rId33"/>
    <p:sldId id="2147374068" r:id="rId34"/>
    <p:sldId id="2147374069" r:id="rId35"/>
    <p:sldId id="2147374071" r:id="rId36"/>
    <p:sldId id="2147374072" r:id="rId37"/>
  </p:sldIdLst>
  <p:sldSz cx="12192000" cy="6858000"/>
  <p:notesSz cx="6858000" cy="9144000"/>
  <p:custDataLst>
    <p:tags r:id="rId39"/>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s Hoondert" initials="BH" lastIdx="1" clrIdx="0">
    <p:extLst>
      <p:ext uri="{19B8F6BF-5375-455C-9EA6-DF929625EA0E}">
        <p15:presenceInfo xmlns:p15="http://schemas.microsoft.com/office/powerpoint/2012/main" userId="19ba634c1ddb1d8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F6566"/>
    <a:srgbClr val="FFE0E0"/>
    <a:srgbClr val="FF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644" y="44"/>
      </p:cViewPr>
      <p:guideLst/>
    </p:cSldViewPr>
  </p:slideViewPr>
  <p:notesTextViewPr>
    <p:cViewPr>
      <p:scale>
        <a:sx n="1" d="1"/>
        <a:sy n="1" d="1"/>
      </p:scale>
      <p:origin x="0" y="0"/>
    </p:cViewPr>
  </p:notesTextViewPr>
  <p:sorterViewPr>
    <p:cViewPr varScale="1">
      <p:scale>
        <a:sx n="1" d="1"/>
        <a:sy n="1" d="1"/>
      </p:scale>
      <p:origin x="0" y="-272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4.xml"/><Relationship Id="rId39" Type="http://schemas.openxmlformats.org/officeDocument/2006/relationships/tags" Target="tags/tag1.xml"/><Relationship Id="rId21" Type="http://schemas.openxmlformats.org/officeDocument/2006/relationships/slideMaster" Target="slideMasters/slideMaster18.xml"/><Relationship Id="rId34" Type="http://schemas.openxmlformats.org/officeDocument/2006/relationships/slide" Target="slides/slide12.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7.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9.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notesMaster" Target="notesMasters/notes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7-23T13:01:37.098" idx="1">
    <p:pos x="10" y="10"/>
    <p:text/>
    <p:extLst>
      <p:ext uri="{C676402C-5697-4E1C-873F-D02D1690AC5C}">
        <p15:threadingInfo xmlns:p15="http://schemas.microsoft.com/office/powerpoint/2012/main" timeZoneBias="-12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DA6996-724C-4787-B13E-358E23328DE7}" type="datetimeFigureOut">
              <a:rPr lang="nl-NL" smtClean="0"/>
              <a:t>26-7-2021</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3382F2-D5FB-44C8-AF08-03E41A145518}" type="slidenum">
              <a:rPr lang="nl-NL" smtClean="0"/>
              <a:t>‹nr.›</a:t>
            </a:fld>
            <a:endParaRPr lang="nl-NL"/>
          </a:p>
        </p:txBody>
      </p:sp>
    </p:spTree>
    <p:extLst>
      <p:ext uri="{BB962C8B-B14F-4D97-AF65-F5344CB8AC3E}">
        <p14:creationId xmlns:p14="http://schemas.microsoft.com/office/powerpoint/2010/main" val="22577183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5.sv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6.xml"/><Relationship Id="rId4" Type="http://schemas.openxmlformats.org/officeDocument/2006/relationships/image" Target="../media/image2.emf"/></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6.xml"/><Relationship Id="rId7" Type="http://schemas.microsoft.com/office/2007/relationships/hdphoto" Target="../media/hdphoto1.wdp"/><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5.sv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slideMaster" Target="../slideMasters/slideMaster9.xml"/><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emf"/><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oleObject" Target="../embeddings/oleObject15.bin"/><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9.emf"/><Relationship Id="rId4" Type="http://schemas.openxmlformats.org/officeDocument/2006/relationships/oleObject" Target="../embeddings/oleObject17.bin"/></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0.emf"/><Relationship Id="rId4" Type="http://schemas.openxmlformats.org/officeDocument/2006/relationships/oleObject" Target="../embeddings/oleObject18.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9.emf"/><Relationship Id="rId4" Type="http://schemas.openxmlformats.org/officeDocument/2006/relationships/oleObject" Target="../embeddings/oleObject22.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8.emf"/><Relationship Id="rId4" Type="http://schemas.openxmlformats.org/officeDocument/2006/relationships/oleObject" Target="../embeddings/oleObject24.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8.emf"/><Relationship Id="rId4" Type="http://schemas.openxmlformats.org/officeDocument/2006/relationships/oleObject" Target="../embeddings/oleObject25.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19.emf"/><Relationship Id="rId4" Type="http://schemas.openxmlformats.org/officeDocument/2006/relationships/oleObject" Target="../embeddings/oleObject26.bin"/></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20.emf"/><Relationship Id="rId4" Type="http://schemas.openxmlformats.org/officeDocument/2006/relationships/oleObject" Target="../embeddings/oleObject27.bin"/></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slideMaster" Target="../slideMasters/slideMaster12.xml"/><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emf"/><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oleObject" Target="../embeddings/oleObject29.bin"/><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87.xml"/><Relationship Id="rId1" Type="http://schemas.openxmlformats.org/officeDocument/2006/relationships/tags" Target="../tags/tag186.xml"/><Relationship Id="rId5" Type="http://schemas.openxmlformats.org/officeDocument/2006/relationships/image" Target="../media/image19.emf"/><Relationship Id="rId4" Type="http://schemas.openxmlformats.org/officeDocument/2006/relationships/oleObject" Target="../embeddings/oleObject31.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23.xml"/><Relationship Id="rId1" Type="http://schemas.openxmlformats.org/officeDocument/2006/relationships/tags" Target="../tags/tag222.xml"/><Relationship Id="rId5" Type="http://schemas.openxmlformats.org/officeDocument/2006/relationships/image" Target="../media/image8.emf"/><Relationship Id="rId4" Type="http://schemas.openxmlformats.org/officeDocument/2006/relationships/oleObject" Target="../embeddings/oleObject33.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25.xml"/><Relationship Id="rId1" Type="http://schemas.openxmlformats.org/officeDocument/2006/relationships/tags" Target="../tags/tag224.xml"/><Relationship Id="rId5" Type="http://schemas.openxmlformats.org/officeDocument/2006/relationships/image" Target="../media/image8.emf"/><Relationship Id="rId4" Type="http://schemas.openxmlformats.org/officeDocument/2006/relationships/oleObject" Target="../embeddings/oleObject34.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27.xml"/><Relationship Id="rId1" Type="http://schemas.openxmlformats.org/officeDocument/2006/relationships/tags" Target="../tags/tag226.xml"/><Relationship Id="rId5" Type="http://schemas.openxmlformats.org/officeDocument/2006/relationships/image" Target="../media/image19.emf"/><Relationship Id="rId4" Type="http://schemas.openxmlformats.org/officeDocument/2006/relationships/oleObject" Target="../embeddings/oleObject35.bin"/></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image" Target="../media/image8.emf"/><Relationship Id="rId4" Type="http://schemas.openxmlformats.org/officeDocument/2006/relationships/oleObject" Target="../embeddings/oleObject38.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66.xml"/><Relationship Id="rId1" Type="http://schemas.openxmlformats.org/officeDocument/2006/relationships/tags" Target="../tags/tag265.xml"/><Relationship Id="rId5" Type="http://schemas.openxmlformats.org/officeDocument/2006/relationships/image" Target="../media/image8.emf"/><Relationship Id="rId4" Type="http://schemas.openxmlformats.org/officeDocument/2006/relationships/oleObject" Target="../embeddings/oleObject39.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68.xml"/><Relationship Id="rId1" Type="http://schemas.openxmlformats.org/officeDocument/2006/relationships/tags" Target="../tags/tag267.xml"/><Relationship Id="rId5" Type="http://schemas.openxmlformats.org/officeDocument/2006/relationships/image" Target="../media/image19.emf"/><Relationship Id="rId4" Type="http://schemas.openxmlformats.org/officeDocument/2006/relationships/oleObject" Target="../embeddings/oleObject40.bin"/></Relationships>
</file>

<file path=ppt/slideLayouts/_rels/slideLayout31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5.xml"/><Relationship Id="rId1" Type="http://schemas.openxmlformats.org/officeDocument/2006/relationships/tags" Target="../tags/tag269.xml"/><Relationship Id="rId4" Type="http://schemas.openxmlformats.org/officeDocument/2006/relationships/image" Target="../media/image27.emf"/></Relationships>
</file>

<file path=ppt/slideLayouts/_rels/slideLayout31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5.xml"/><Relationship Id="rId1" Type="http://schemas.openxmlformats.org/officeDocument/2006/relationships/tags" Target="../tags/tag270.xml"/><Relationship Id="rId4" Type="http://schemas.openxmlformats.org/officeDocument/2006/relationships/image" Target="../media/image27.emf"/></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06.xml"/><Relationship Id="rId1" Type="http://schemas.openxmlformats.org/officeDocument/2006/relationships/tags" Target="../tags/tag305.xml"/><Relationship Id="rId5" Type="http://schemas.openxmlformats.org/officeDocument/2006/relationships/image" Target="../media/image8.emf"/><Relationship Id="rId4" Type="http://schemas.openxmlformats.org/officeDocument/2006/relationships/oleObject" Target="../embeddings/oleObject44.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08.xml"/><Relationship Id="rId1" Type="http://schemas.openxmlformats.org/officeDocument/2006/relationships/tags" Target="../tags/tag307.xml"/><Relationship Id="rId5" Type="http://schemas.openxmlformats.org/officeDocument/2006/relationships/image" Target="../media/image8.emf"/><Relationship Id="rId4" Type="http://schemas.openxmlformats.org/officeDocument/2006/relationships/oleObject" Target="../embeddings/oleObject45.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10.xml"/><Relationship Id="rId1" Type="http://schemas.openxmlformats.org/officeDocument/2006/relationships/tags" Target="../tags/tag309.xml"/><Relationship Id="rId5" Type="http://schemas.openxmlformats.org/officeDocument/2006/relationships/image" Target="../media/image19.emf"/><Relationship Id="rId4" Type="http://schemas.openxmlformats.org/officeDocument/2006/relationships/oleObject" Target="../embeddings/oleObject46.bin"/></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slideMaster" Target="../slideMasters/slideMaster17.xml"/><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tags" Target="../tags/tag346.xml"/><Relationship Id="rId1" Type="http://schemas.openxmlformats.org/officeDocument/2006/relationships/tags" Target="../tags/tag345.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emf"/><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oleObject" Target="../embeddings/oleObject48.bin"/><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48.xml"/><Relationship Id="rId1" Type="http://schemas.openxmlformats.org/officeDocument/2006/relationships/tags" Target="../tags/tag347.xml"/><Relationship Id="rId5" Type="http://schemas.openxmlformats.org/officeDocument/2006/relationships/image" Target="../media/image8.emf"/><Relationship Id="rId4" Type="http://schemas.openxmlformats.org/officeDocument/2006/relationships/oleObject" Target="../embeddings/oleObject49.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50.xml"/><Relationship Id="rId1" Type="http://schemas.openxmlformats.org/officeDocument/2006/relationships/tags" Target="../tags/tag349.xml"/><Relationship Id="rId5" Type="http://schemas.openxmlformats.org/officeDocument/2006/relationships/image" Target="../media/image19.emf"/><Relationship Id="rId4" Type="http://schemas.openxmlformats.org/officeDocument/2006/relationships/oleObject" Target="../embeddings/oleObject50.bin"/></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6BDA21-C90C-42FB-AF15-DA2E6670FCDB}"/>
              </a:ext>
            </a:extLst>
          </p:cNvPr>
          <p:cNvSpPr>
            <a:spLocks noGrp="1"/>
          </p:cNvSpPr>
          <p:nvPr>
            <p:ph type="title"/>
          </p:nvPr>
        </p:nvSpPr>
        <p:spPr/>
        <p:txBody>
          <a:bodyPr/>
          <a:lstStyle/>
          <a:p>
            <a:r>
              <a:rPr lang="en-US"/>
              <a:t>Click to edit Master title style</a:t>
            </a:r>
            <a:endParaRPr lang="nl-NL"/>
          </a:p>
        </p:txBody>
      </p:sp>
      <p:sp>
        <p:nvSpPr>
          <p:cNvPr id="3" name="Footer Placeholder 2">
            <a:extLst>
              <a:ext uri="{FF2B5EF4-FFF2-40B4-BE49-F238E27FC236}">
                <a16:creationId xmlns:a16="http://schemas.microsoft.com/office/drawing/2014/main" id="{C206697D-8968-41CD-B371-2F352E99F9AC}"/>
              </a:ext>
            </a:extLst>
          </p:cNvPr>
          <p:cNvSpPr>
            <a:spLocks noGrp="1"/>
          </p:cNvSpPr>
          <p:nvPr>
            <p:ph type="ftr" sz="quarter" idx="10"/>
          </p:nvPr>
        </p:nvSpPr>
        <p:spPr/>
        <p:txBody>
          <a:bodyPr/>
          <a:lstStyle/>
          <a:p>
            <a:r>
              <a:rPr lang="nl-NL"/>
              <a:t>Informatiebijeenkomst 26 juli 2021 Europese Aanbesteding SVWI</a:t>
            </a:r>
          </a:p>
        </p:txBody>
      </p:sp>
      <p:sp>
        <p:nvSpPr>
          <p:cNvPr id="4" name="Slide Number Placeholder 3">
            <a:extLst>
              <a:ext uri="{FF2B5EF4-FFF2-40B4-BE49-F238E27FC236}">
                <a16:creationId xmlns:a16="http://schemas.microsoft.com/office/drawing/2014/main" id="{D6CB5A6E-1E50-4BDB-9F2A-8C92E27C4336}"/>
              </a:ext>
            </a:extLst>
          </p:cNvPr>
          <p:cNvSpPr>
            <a:spLocks noGrp="1"/>
          </p:cNvSpPr>
          <p:nvPr>
            <p:ph type="sldNum" sz="quarter" idx="11"/>
          </p:nvPr>
        </p:nvSpPr>
        <p:spPr/>
        <p:txBody>
          <a:bodyPr/>
          <a:lstStyle/>
          <a:p>
            <a:fld id="{992CD0B2-8AB2-4C6C-8876-E15753662C9B}" type="slidenum">
              <a:rPr lang="nl-NL" noProof="0" smtClean="0"/>
              <a:pPr/>
              <a:t>‹nr.›</a:t>
            </a:fld>
            <a:endParaRPr lang="nl-NL" noProof="0"/>
          </a:p>
        </p:txBody>
      </p:sp>
    </p:spTree>
    <p:extLst>
      <p:ext uri="{BB962C8B-B14F-4D97-AF65-F5344CB8AC3E}">
        <p14:creationId xmlns:p14="http://schemas.microsoft.com/office/powerpoint/2010/main" val="1593982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hasCustomPrompt="1"/>
          </p:nvPr>
        </p:nvSpPr>
        <p:spPr>
          <a:xfrm>
            <a:off x="666750" y="1611881"/>
            <a:ext cx="3516680"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hasCustomPrompt="1"/>
          </p:nvPr>
        </p:nvSpPr>
        <p:spPr>
          <a:xfrm>
            <a:off x="4337660" y="1611881"/>
            <a:ext cx="3516680" cy="247650"/>
          </a:xfrm>
        </p:spPr>
        <p:txBody>
          <a:bodyPr/>
          <a:lstStyle>
            <a:lvl1pPr>
              <a:defRPr b="1"/>
            </a:lvl1pPr>
          </a:lstStyle>
          <a:p>
            <a:pPr lvl="0"/>
            <a:r>
              <a:rPr lang="nl-NL" noProof="0"/>
              <a:t>Klik om kop toe te voegen</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hasCustomPrompt="1"/>
          </p:nvPr>
        </p:nvSpPr>
        <p:spPr>
          <a:xfrm>
            <a:off x="8022067" y="1611881"/>
            <a:ext cx="3516680"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41652409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ic (6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endParaRPr lang="nl-NL" noProof="0"/>
          </a:p>
        </p:txBody>
      </p:sp>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endParaRPr lang="nl-NL" noProof="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endParaRPr lang="nl-NL" noProof="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endParaRPr lang="nl-NL" noProof="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endParaRPr lang="nl-NL" noProof="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endParaRPr lang="nl-NL" noProof="0"/>
          </a:p>
        </p:txBody>
      </p:sp>
    </p:spTree>
    <p:extLst>
      <p:ext uri="{BB962C8B-B14F-4D97-AF65-F5344CB8AC3E}">
        <p14:creationId xmlns:p14="http://schemas.microsoft.com/office/powerpoint/2010/main" val="194438475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419369" y="1751832"/>
            <a:ext cx="1978923" cy="1978923"/>
          </a:xfrm>
          <a:prstGeom prst="ellipse">
            <a:avLst/>
          </a:prstGeom>
          <a:ln w="76200">
            <a:noFill/>
          </a:ln>
        </p:spPr>
        <p:txBody>
          <a:bodyPr/>
          <a:lstStyle>
            <a:lvl1pPr>
              <a:defRPr/>
            </a:lvl1pPr>
          </a:lstStyle>
          <a:p>
            <a:r>
              <a:rPr lang="nl-NL" noProof="0"/>
              <a:t>Picture</a:t>
            </a:r>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endParaRPr lang="nl-NL" noProof="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endParaRPr lang="nl-NL" noProof="0"/>
          </a:p>
        </p:txBody>
      </p:sp>
    </p:spTree>
    <p:extLst>
      <p:ext uri="{BB962C8B-B14F-4D97-AF65-F5344CB8AC3E}">
        <p14:creationId xmlns:p14="http://schemas.microsoft.com/office/powerpoint/2010/main" val="89956555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endParaRPr lang="nl-NL" noProof="0"/>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endParaRPr lang="nl-NL" noProof="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endParaRPr lang="nl-NL" noProof="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endParaRPr lang="nl-NL" noProof="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endParaRPr lang="nl-NL" noProof="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endParaRPr lang="nl-NL" noProof="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endParaRPr lang="nl-NL" noProof="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endParaRPr lang="nl-NL" noProof="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endParaRPr lang="nl-NL" noProof="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endParaRPr lang="nl-NL" noProof="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endParaRPr lang="nl-NL" noProof="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172431" y="1670050"/>
            <a:ext cx="2320190" cy="791465"/>
          </a:xfrm>
        </p:spPr>
        <p:txBody>
          <a:bodyPr/>
          <a:lstStyle>
            <a:lvl1pPr>
              <a:defRPr/>
            </a:lvl1pPr>
          </a:lstStyle>
          <a:p>
            <a:pPr lvl="0"/>
            <a:r>
              <a:rPr lang="nl-NL" noProof="0"/>
              <a:t>Klik om tekst in te voegen</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hasCustomPrompt="1"/>
          </p:nvPr>
        </p:nvSpPr>
        <p:spPr>
          <a:xfrm>
            <a:off x="5172431" y="2612782"/>
            <a:ext cx="2320190" cy="791465"/>
          </a:xfrm>
        </p:spPr>
        <p:txBody>
          <a:bodyPr/>
          <a:lstStyle>
            <a:lvl1pPr>
              <a:defRPr/>
            </a:lvl1pPr>
          </a:lstStyle>
          <a:p>
            <a:pPr lvl="0"/>
            <a:r>
              <a:rPr lang="nl-NL" noProof="0"/>
              <a:t>Klik om tekst in te voegen</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hasCustomPrompt="1"/>
          </p:nvPr>
        </p:nvSpPr>
        <p:spPr>
          <a:xfrm>
            <a:off x="5172431" y="3554761"/>
            <a:ext cx="2320190" cy="791465"/>
          </a:xfrm>
        </p:spPr>
        <p:txBody>
          <a:bodyPr/>
          <a:lstStyle>
            <a:lvl1pPr>
              <a:defRPr/>
            </a:lvl1pPr>
          </a:lstStyle>
          <a:p>
            <a:pPr lvl="0"/>
            <a:r>
              <a:rPr lang="nl-NL" noProof="0"/>
              <a:t>Klik om tekst in te voegen</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hasCustomPrompt="1"/>
          </p:nvPr>
        </p:nvSpPr>
        <p:spPr>
          <a:xfrm>
            <a:off x="5172431" y="4496740"/>
            <a:ext cx="2320190" cy="791465"/>
          </a:xfrm>
        </p:spPr>
        <p:txBody>
          <a:bodyPr/>
          <a:lstStyle>
            <a:lvl1pPr>
              <a:defRPr/>
            </a:lvl1pPr>
          </a:lstStyle>
          <a:p>
            <a:pPr lvl="0"/>
            <a:r>
              <a:rPr lang="nl-NL" noProof="0"/>
              <a:t>Klik om tekst in te voegen</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hasCustomPrompt="1"/>
          </p:nvPr>
        </p:nvSpPr>
        <p:spPr>
          <a:xfrm>
            <a:off x="5172431" y="5438719"/>
            <a:ext cx="2320190" cy="791465"/>
          </a:xfrm>
        </p:spPr>
        <p:txBody>
          <a:bodyPr/>
          <a:lstStyle>
            <a:lvl1pPr>
              <a:defRPr/>
            </a:lvl1pPr>
          </a:lstStyle>
          <a:p>
            <a:pPr lvl="0"/>
            <a:r>
              <a:rPr lang="nl-NL" noProof="0"/>
              <a:t>Klik om tekst in te voegen</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hasCustomPrompt="1"/>
          </p:nvPr>
        </p:nvSpPr>
        <p:spPr>
          <a:xfrm>
            <a:off x="8876823" y="1670050"/>
            <a:ext cx="2320190" cy="791465"/>
          </a:xfrm>
        </p:spPr>
        <p:txBody>
          <a:bodyPr/>
          <a:lstStyle>
            <a:lvl1pPr>
              <a:defRPr/>
            </a:lvl1pPr>
          </a:lstStyle>
          <a:p>
            <a:pPr lvl="0"/>
            <a:r>
              <a:rPr lang="nl-NL" noProof="0"/>
              <a:t>Klik om tekst in te voegen</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hasCustomPrompt="1"/>
          </p:nvPr>
        </p:nvSpPr>
        <p:spPr>
          <a:xfrm>
            <a:off x="8876823" y="2612782"/>
            <a:ext cx="2320190" cy="791465"/>
          </a:xfrm>
        </p:spPr>
        <p:txBody>
          <a:bodyPr/>
          <a:lstStyle>
            <a:lvl1pPr>
              <a:defRPr/>
            </a:lvl1pPr>
          </a:lstStyle>
          <a:p>
            <a:pPr lvl="0"/>
            <a:r>
              <a:rPr lang="nl-NL" noProof="0"/>
              <a:t>Klik om tekst in te voegen</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hasCustomPrompt="1"/>
          </p:nvPr>
        </p:nvSpPr>
        <p:spPr>
          <a:xfrm>
            <a:off x="8876823" y="3554761"/>
            <a:ext cx="2320190" cy="791465"/>
          </a:xfrm>
        </p:spPr>
        <p:txBody>
          <a:bodyPr/>
          <a:lstStyle>
            <a:lvl1pPr>
              <a:defRPr/>
            </a:lvl1pPr>
          </a:lstStyle>
          <a:p>
            <a:pPr lvl="0"/>
            <a:r>
              <a:rPr lang="nl-NL" noProof="0"/>
              <a:t>Klik om tekst in te voegen</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hasCustomPrompt="1"/>
          </p:nvPr>
        </p:nvSpPr>
        <p:spPr>
          <a:xfrm>
            <a:off x="8876823" y="4496740"/>
            <a:ext cx="2320190" cy="791465"/>
          </a:xfrm>
        </p:spPr>
        <p:txBody>
          <a:bodyPr/>
          <a:lstStyle>
            <a:lvl1pPr>
              <a:defRPr/>
            </a:lvl1pPr>
          </a:lstStyle>
          <a:p>
            <a:pPr lvl="0"/>
            <a:r>
              <a:rPr lang="nl-NL" noProof="0"/>
              <a:t>Klik om tekst in te voegen</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hasCustomPrompt="1"/>
          </p:nvPr>
        </p:nvSpPr>
        <p:spPr>
          <a:xfrm>
            <a:off x="8876823" y="5438719"/>
            <a:ext cx="2320190" cy="791465"/>
          </a:xfrm>
        </p:spPr>
        <p:txBody>
          <a:bodyPr/>
          <a:lstStyle>
            <a:lvl1pPr marL="0" marR="0" indent="0" algn="l" defTabSz="685800" rtl="0" eaLnBrk="1" fontAlgn="auto" latinLnBrk="0" hangingPunct="1">
              <a:lnSpc>
                <a:spcPct val="90000"/>
              </a:lnSpc>
              <a:spcBef>
                <a:spcPts val="750"/>
              </a:spcBef>
              <a:spcAft>
                <a:spcPts val="0"/>
              </a:spcAft>
              <a:buClr>
                <a:srgbClr val="FF0000"/>
              </a:buClr>
              <a:buSzTx/>
              <a:buFontTx/>
              <a:buNone/>
              <a:tabLst/>
              <a:defRPr/>
            </a:lvl1pPr>
          </a:lstStyle>
          <a:p>
            <a:pPr lvl="0"/>
            <a:r>
              <a:rPr lang="nl-NL" noProof="0"/>
              <a:t>Klik om tekst in te voegen</a:t>
            </a:r>
          </a:p>
        </p:txBody>
      </p:sp>
    </p:spTree>
    <p:extLst>
      <p:ext uri="{BB962C8B-B14F-4D97-AF65-F5344CB8AC3E}">
        <p14:creationId xmlns:p14="http://schemas.microsoft.com/office/powerpoint/2010/main" val="157504723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FF0000"/>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BEC2BF9-FEFE-4A1B-9B69-4DDBDF0C89D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9" name="Object 8" hidden="1">
                        <a:extLst>
                          <a:ext uri="{FF2B5EF4-FFF2-40B4-BE49-F238E27FC236}">
                            <a16:creationId xmlns:a16="http://schemas.microsoft.com/office/drawing/2014/main" id="{6BEC2BF9-FEFE-4A1B-9B69-4DDBDF0C89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D7DBC9A-B04B-404A-8B5E-B87220D3BB8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1" i="0" baseline="0" dirty="0">
              <a:latin typeface="Corbel" panose="020B0503020204020204" pitchFamily="34" charset="0"/>
              <a:ea typeface="+mj-ea"/>
              <a:cs typeface="+mj-cs"/>
              <a:sym typeface="Corbel" panose="020B0503020204020204" pitchFamily="34" charset="0"/>
            </a:endParaRPr>
          </a:p>
        </p:txBody>
      </p:sp>
      <p:pic>
        <p:nvPicPr>
          <p:cNvPr id="12" name="Picture 11">
            <a:extLst>
              <a:ext uri="{FF2B5EF4-FFF2-40B4-BE49-F238E27FC236}">
                <a16:creationId xmlns:a16="http://schemas.microsoft.com/office/drawing/2014/main" id="{85D5945B-D466-4062-835F-494FE4CD952E}"/>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b="15625"/>
          <a:stretch/>
        </p:blipFill>
        <p:spPr>
          <a:xfrm>
            <a:off x="1" y="-1"/>
            <a:ext cx="12192000" cy="6858001"/>
          </a:xfrm>
          <a:prstGeom prst="rect">
            <a:avLst/>
          </a:prstGeom>
        </p:spPr>
      </p:pic>
      <p:sp>
        <p:nvSpPr>
          <p:cNvPr id="17" name="Rectangle 16">
            <a:extLst>
              <a:ext uri="{FF2B5EF4-FFF2-40B4-BE49-F238E27FC236}">
                <a16:creationId xmlns:a16="http://schemas.microsoft.com/office/drawing/2014/main" id="{47E679ED-80B7-4967-9934-F88F04796C66}"/>
              </a:ext>
            </a:extLst>
          </p:cNvPr>
          <p:cNvSpPr/>
          <p:nvPr userDrawn="1"/>
        </p:nvSpPr>
        <p:spPr>
          <a:xfrm>
            <a:off x="0" y="-2"/>
            <a:ext cx="12192000" cy="7330965"/>
          </a:xfrm>
          <a:prstGeom prst="rect">
            <a:avLst/>
          </a:prstGeom>
          <a:gradFill>
            <a:gsLst>
              <a:gs pos="0">
                <a:schemeClr val="accent1">
                  <a:lumMod val="5000"/>
                  <a:lumOff val="95000"/>
                </a:schemeClr>
              </a:gs>
              <a:gs pos="4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5" name="Graphic 14">
            <a:extLst>
              <a:ext uri="{FF2B5EF4-FFF2-40B4-BE49-F238E27FC236}">
                <a16:creationId xmlns:a16="http://schemas.microsoft.com/office/drawing/2014/main" id="{DE205621-ED5E-4422-B8E7-515584C16C1B}"/>
              </a:ext>
            </a:extLst>
          </p:cNvPr>
          <p:cNvPicPr>
            <a:picLocks noChangeAspect="1"/>
          </p:cNvPicPr>
          <p:nvPr userDrawn="1"/>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9512" y="169023"/>
            <a:ext cx="427566" cy="1454306"/>
          </a:xfrm>
          <a:prstGeom prst="rect">
            <a:avLst/>
          </a:prstGeom>
        </p:spPr>
      </p:pic>
      <p:sp>
        <p:nvSpPr>
          <p:cNvPr id="2" name="Title 1">
            <a:extLst>
              <a:ext uri="{FF2B5EF4-FFF2-40B4-BE49-F238E27FC236}">
                <a16:creationId xmlns:a16="http://schemas.microsoft.com/office/drawing/2014/main" id="{94A1BAF4-4828-4CFD-86B5-052A278F054C}"/>
              </a:ext>
            </a:extLst>
          </p:cNvPr>
          <p:cNvSpPr>
            <a:spLocks noGrp="1"/>
          </p:cNvSpPr>
          <p:nvPr>
            <p:ph type="ctrTitle"/>
          </p:nvPr>
        </p:nvSpPr>
        <p:spPr>
          <a:xfrm>
            <a:off x="4510476" y="103595"/>
            <a:ext cx="7417228" cy="666409"/>
          </a:xfrm>
        </p:spPr>
        <p:txBody>
          <a:bodyPr anchor="t">
            <a:noAutofit/>
          </a:bodyPr>
          <a:lstStyle>
            <a:lvl1pPr algn="r">
              <a:defRPr sz="4400">
                <a:solidFill>
                  <a:srgbClr val="FF0000"/>
                </a:solidFill>
              </a:defRPr>
            </a:lvl1pPr>
          </a:lstStyle>
          <a:p>
            <a:r>
              <a:rPr lang="en-US"/>
              <a:t>Click to edit Master title style</a:t>
            </a:r>
            <a:endParaRPr lang="nl-NL"/>
          </a:p>
        </p:txBody>
      </p:sp>
      <p:sp>
        <p:nvSpPr>
          <p:cNvPr id="3" name="Subtitle 2">
            <a:extLst>
              <a:ext uri="{FF2B5EF4-FFF2-40B4-BE49-F238E27FC236}">
                <a16:creationId xmlns:a16="http://schemas.microsoft.com/office/drawing/2014/main" id="{0BB56C6F-48AD-46B9-9929-C88AB3E0BD8C}"/>
              </a:ext>
            </a:extLst>
          </p:cNvPr>
          <p:cNvSpPr>
            <a:spLocks noGrp="1"/>
          </p:cNvSpPr>
          <p:nvPr>
            <p:ph type="subTitle" idx="1"/>
          </p:nvPr>
        </p:nvSpPr>
        <p:spPr>
          <a:xfrm>
            <a:off x="4510476" y="867080"/>
            <a:ext cx="7417228" cy="666409"/>
          </a:xfrm>
        </p:spPr>
        <p:txBody>
          <a:bodyPr>
            <a:normAutofit/>
          </a:bodyPr>
          <a:lstStyle>
            <a:lvl1pPr marL="0" indent="0" algn="r">
              <a:buNone/>
              <a:defRPr sz="2000">
                <a:solidFill>
                  <a:srgbClr val="FF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D6B5EA94-7868-4FD4-8BB9-937D0551D784}"/>
              </a:ext>
            </a:extLst>
          </p:cNvPr>
          <p:cNvSpPr>
            <a:spLocks noGrp="1"/>
          </p:cNvSpPr>
          <p:nvPr>
            <p:ph type="dt" sz="half" idx="10"/>
          </p:nvPr>
        </p:nvSpPr>
        <p:spPr/>
        <p:txBody>
          <a:bodyPr/>
          <a:lstStyle>
            <a:lvl1pPr>
              <a:defRPr>
                <a:solidFill>
                  <a:schemeClr val="bg1"/>
                </a:solidFill>
              </a:defRPr>
            </a:lvl1pPr>
          </a:lstStyle>
          <a:p>
            <a:endParaRPr lang="nl-NL"/>
          </a:p>
        </p:txBody>
      </p:sp>
      <p:sp>
        <p:nvSpPr>
          <p:cNvPr id="5" name="Footer Placeholder 4">
            <a:extLst>
              <a:ext uri="{FF2B5EF4-FFF2-40B4-BE49-F238E27FC236}">
                <a16:creationId xmlns:a16="http://schemas.microsoft.com/office/drawing/2014/main" id="{8B8A998E-05A6-40F1-9899-FA1D1E62D39F}"/>
              </a:ext>
            </a:extLst>
          </p:cNvPr>
          <p:cNvSpPr>
            <a:spLocks noGrp="1"/>
          </p:cNvSpPr>
          <p:nvPr>
            <p:ph type="ftr" sz="quarter" idx="11"/>
          </p:nvPr>
        </p:nvSpPr>
        <p:spPr/>
        <p:txBody>
          <a:bodyPr/>
          <a:lstStyle>
            <a:lvl1pPr>
              <a:defRPr>
                <a:solidFill>
                  <a:schemeClr val="bg1"/>
                </a:solidFill>
              </a:defRPr>
            </a:lvl1pPr>
          </a:lstStyle>
          <a:p>
            <a:r>
              <a:rPr lang="nl-NL"/>
              <a:t>Informatiebijeenkomst 26 juli 2021 Europese Aanbesteding SVWI</a:t>
            </a:r>
          </a:p>
        </p:txBody>
      </p:sp>
      <p:sp>
        <p:nvSpPr>
          <p:cNvPr id="6" name="Slide Number Placeholder 5">
            <a:extLst>
              <a:ext uri="{FF2B5EF4-FFF2-40B4-BE49-F238E27FC236}">
                <a16:creationId xmlns:a16="http://schemas.microsoft.com/office/drawing/2014/main" id="{171B113C-FB0C-4FFD-A0C2-D8E175E0D4AD}"/>
              </a:ext>
            </a:extLst>
          </p:cNvPr>
          <p:cNvSpPr>
            <a:spLocks noGrp="1"/>
          </p:cNvSpPr>
          <p:nvPr>
            <p:ph type="sldNum" sz="quarter" idx="12"/>
          </p:nvPr>
        </p:nvSpPr>
        <p:spPr/>
        <p:txBody>
          <a:bodyPr/>
          <a:lstStyle>
            <a:lvl1pPr>
              <a:defRPr>
                <a:solidFill>
                  <a:schemeClr val="bg1"/>
                </a:solidFill>
              </a:defRPr>
            </a:lvl1pPr>
          </a:lstStyle>
          <a:p>
            <a:fld id="{45A36E73-D08C-4B9F-8331-386BEED44587}" type="slidenum">
              <a:rPr lang="nl-NL" smtClean="0"/>
              <a:pPr/>
              <a:t>‹nr.›</a:t>
            </a:fld>
            <a:endParaRPr lang="nl-NL"/>
          </a:p>
        </p:txBody>
      </p:sp>
      <p:sp>
        <p:nvSpPr>
          <p:cNvPr id="7" name="TextBox 6">
            <a:extLst>
              <a:ext uri="{FF2B5EF4-FFF2-40B4-BE49-F238E27FC236}">
                <a16:creationId xmlns:a16="http://schemas.microsoft.com/office/drawing/2014/main" id="{C499DA92-3BDD-42E6-9073-A00F66CF5940}"/>
              </a:ext>
            </a:extLst>
          </p:cNvPr>
          <p:cNvSpPr txBox="1"/>
          <p:nvPr userDrawn="1"/>
        </p:nvSpPr>
        <p:spPr>
          <a:xfrm>
            <a:off x="894472" y="59351"/>
            <a:ext cx="3550920" cy="954107"/>
          </a:xfrm>
          <a:prstGeom prst="rect">
            <a:avLst/>
          </a:prstGeom>
          <a:noFill/>
        </p:spPr>
        <p:txBody>
          <a:bodyPr wrap="square" rtlCol="0">
            <a:spAutoFit/>
          </a:bodyPr>
          <a:lstStyle/>
          <a:p>
            <a:r>
              <a:rPr lang="nl-NL" sz="2800" b="1">
                <a:solidFill>
                  <a:srgbClr val="FF0000"/>
                </a:solidFill>
                <a:latin typeface="Corbel" panose="020B0503020204020204" pitchFamily="34" charset="0"/>
              </a:rPr>
              <a:t>Gemeente</a:t>
            </a:r>
          </a:p>
          <a:p>
            <a:r>
              <a:rPr lang="nl-NL" sz="2800" b="1">
                <a:solidFill>
                  <a:srgbClr val="FF0000"/>
                </a:solidFill>
                <a:latin typeface="Corbel" panose="020B0503020204020204" pitchFamily="34" charset="0"/>
              </a:rPr>
              <a:t>Amsterdam</a:t>
            </a:r>
          </a:p>
        </p:txBody>
      </p:sp>
    </p:spTree>
    <p:extLst>
      <p:ext uri="{BB962C8B-B14F-4D97-AF65-F5344CB8AC3E}">
        <p14:creationId xmlns:p14="http://schemas.microsoft.com/office/powerpoint/2010/main" val="101319982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6BDA21-C90C-42FB-AF15-DA2E6670FCDB}"/>
              </a:ext>
            </a:extLst>
          </p:cNvPr>
          <p:cNvSpPr>
            <a:spLocks noGrp="1"/>
          </p:cNvSpPr>
          <p:nvPr>
            <p:ph type="title"/>
          </p:nvPr>
        </p:nvSpPr>
        <p:spPr/>
        <p:txBody>
          <a:bodyPr/>
          <a:lstStyle/>
          <a:p>
            <a:r>
              <a:rPr lang="en-US"/>
              <a:t>Click to edit Master title style</a:t>
            </a:r>
            <a:endParaRPr lang="nl-NL"/>
          </a:p>
        </p:txBody>
      </p:sp>
      <p:sp>
        <p:nvSpPr>
          <p:cNvPr id="3" name="Footer Placeholder 2">
            <a:extLst>
              <a:ext uri="{FF2B5EF4-FFF2-40B4-BE49-F238E27FC236}">
                <a16:creationId xmlns:a16="http://schemas.microsoft.com/office/drawing/2014/main" id="{C206697D-8968-41CD-B371-2F352E99F9AC}"/>
              </a:ext>
            </a:extLst>
          </p:cNvPr>
          <p:cNvSpPr>
            <a:spLocks noGrp="1"/>
          </p:cNvSpPr>
          <p:nvPr>
            <p:ph type="ftr" sz="quarter" idx="10"/>
          </p:nvPr>
        </p:nvSpPr>
        <p:spPr/>
        <p:txBody>
          <a:bodyPr/>
          <a:lstStyle/>
          <a:p>
            <a:r>
              <a:rPr lang="nl-NL"/>
              <a:t>Informatiebijeenkomst 26 juli 2021 Europese Aanbesteding SVWI</a:t>
            </a:r>
          </a:p>
        </p:txBody>
      </p:sp>
      <p:sp>
        <p:nvSpPr>
          <p:cNvPr id="4" name="Slide Number Placeholder 3">
            <a:extLst>
              <a:ext uri="{FF2B5EF4-FFF2-40B4-BE49-F238E27FC236}">
                <a16:creationId xmlns:a16="http://schemas.microsoft.com/office/drawing/2014/main" id="{D6CB5A6E-1E50-4BDB-9F2A-8C92E27C4336}"/>
              </a:ext>
            </a:extLst>
          </p:cNvPr>
          <p:cNvSpPr>
            <a:spLocks noGrp="1"/>
          </p:cNvSpPr>
          <p:nvPr>
            <p:ph type="sldNum" sz="quarter" idx="11"/>
          </p:nvPr>
        </p:nvSpPr>
        <p:spPr/>
        <p:txBody>
          <a:bodyPr/>
          <a:lstStyle/>
          <a:p>
            <a:fld id="{992CD0B2-8AB2-4C6C-8876-E15753662C9B}" type="slidenum">
              <a:rPr lang="nl-NL" noProof="0" smtClean="0"/>
              <a:pPr/>
              <a:t>‹nr.›</a:t>
            </a:fld>
            <a:endParaRPr lang="nl-NL" noProof="0"/>
          </a:p>
        </p:txBody>
      </p:sp>
    </p:spTree>
    <p:extLst>
      <p:ext uri="{BB962C8B-B14F-4D97-AF65-F5344CB8AC3E}">
        <p14:creationId xmlns:p14="http://schemas.microsoft.com/office/powerpoint/2010/main" val="206298906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8" y="1592263"/>
            <a:ext cx="10866440" cy="4716461"/>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6929905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897206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206350" y="1592263"/>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42419229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3933374" y="1592263"/>
            <a:ext cx="7605374"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421007348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66749" y="1610863"/>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1774089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hasCustomPrompt="1"/>
          </p:nvPr>
        </p:nvSpPr>
        <p:spPr>
          <a:xfrm>
            <a:off x="666747"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hasCustomPrompt="1"/>
          </p:nvPr>
        </p:nvSpPr>
        <p:spPr>
          <a:xfrm>
            <a:off x="4344407"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hasCustomPrompt="1"/>
          </p:nvPr>
        </p:nvSpPr>
        <p:spPr>
          <a:xfrm>
            <a:off x="8008570"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95828900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hasCustomPrompt="1"/>
          </p:nvPr>
        </p:nvSpPr>
        <p:spPr>
          <a:xfrm>
            <a:off x="666750" y="1611881"/>
            <a:ext cx="5332398" cy="247650"/>
          </a:xfrm>
        </p:spPr>
        <p:txBody>
          <a:bodyPr/>
          <a:lstStyle>
            <a:lvl1pPr>
              <a:defRPr b="1"/>
            </a:lvl1pPr>
          </a:lstStyle>
          <a:p>
            <a:pPr lvl="0"/>
            <a:r>
              <a:rPr lang="nl-NL" noProof="0"/>
              <a:t>Klik om kop toe te voegen</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206350" y="1611881"/>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09787930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hasCustomPrompt="1"/>
          </p:nvPr>
        </p:nvSpPr>
        <p:spPr>
          <a:xfrm>
            <a:off x="666747" y="1614179"/>
            <a:ext cx="5331600" cy="306388"/>
          </a:xfrm>
          <a:solidFill>
            <a:schemeClr val="tx2"/>
          </a:solidFill>
          <a:ln w="19050">
            <a:solidFill>
              <a:schemeClr val="accent1"/>
            </a:solidFill>
          </a:ln>
        </p:spPr>
        <p:txBody>
          <a:bodyPr anchor="ctr">
            <a:noAutofit/>
          </a:bodyPr>
          <a:lstStyle>
            <a:lvl1pPr algn="l">
              <a:defRPr b="1">
                <a:solidFill>
                  <a:schemeClr val="bg1"/>
                </a:solidFill>
              </a:defRPr>
            </a:lvl1pPr>
          </a:lstStyle>
          <a:p>
            <a:pPr lvl="0"/>
            <a:r>
              <a:rPr lang="nl-NL" noProof="0"/>
              <a:t>Klik om kop toe te voegen</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91440" tIns="45720" rIns="91440" bIns="4572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hasCustomPrompt="1"/>
          </p:nvPr>
        </p:nvSpPr>
        <p:spPr>
          <a:xfrm>
            <a:off x="6207148" y="1614179"/>
            <a:ext cx="5331600" cy="306388"/>
          </a:xfrm>
          <a:solidFill>
            <a:schemeClr val="tx2"/>
          </a:solidFill>
          <a:ln w="19050">
            <a:solidFill>
              <a:schemeClr val="accent1"/>
            </a:solidFill>
          </a:ln>
        </p:spPr>
        <p:txBody>
          <a:bodyPr vert="horz" lIns="91440" tIns="45720" rIns="91440" bIns="45720" rtlCol="0" anchor="ctr">
            <a:noAutofit/>
          </a:bodyPr>
          <a:lstStyle>
            <a:lvl1pPr algn="l">
              <a:defRPr lang="nl-NL" b="1" dirty="0">
                <a:solidFill>
                  <a:schemeClr val="bg1"/>
                </a:solidFill>
              </a:defRPr>
            </a:lvl1pPr>
          </a:lstStyle>
          <a:p>
            <a:pPr lvl="0"/>
            <a:r>
              <a:rPr lang="nl-NL" noProof="0"/>
              <a:t>Klik om kop toe te voegen</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91440" tIns="45720" rIns="91440" bIns="4572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23028028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9866206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hasCustomPrompt="1"/>
          </p:nvPr>
        </p:nvSpPr>
        <p:spPr>
          <a:xfrm>
            <a:off x="666750" y="1611881"/>
            <a:ext cx="3516680"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hasCustomPrompt="1"/>
          </p:nvPr>
        </p:nvSpPr>
        <p:spPr>
          <a:xfrm>
            <a:off x="4337660" y="1611881"/>
            <a:ext cx="3516680" cy="247650"/>
          </a:xfrm>
        </p:spPr>
        <p:txBody>
          <a:bodyPr/>
          <a:lstStyle>
            <a:lvl1pPr>
              <a:defRPr b="1"/>
            </a:lvl1pPr>
          </a:lstStyle>
          <a:p>
            <a:pPr lvl="0"/>
            <a:r>
              <a:rPr lang="nl-NL" noProof="0"/>
              <a:t>Klik om kop toe te voegen</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hasCustomPrompt="1"/>
          </p:nvPr>
        </p:nvSpPr>
        <p:spPr>
          <a:xfrm>
            <a:off x="8022067" y="1611881"/>
            <a:ext cx="3516680"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367133929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hasCustomPrompt="1"/>
          </p:nvPr>
        </p:nvSpPr>
        <p:spPr>
          <a:xfrm>
            <a:off x="666747"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hasCustomPrompt="1"/>
          </p:nvPr>
        </p:nvSpPr>
        <p:spPr>
          <a:xfrm>
            <a:off x="4344407"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hasCustomPrompt="1"/>
          </p:nvPr>
        </p:nvSpPr>
        <p:spPr>
          <a:xfrm>
            <a:off x="8008570"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19542938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48592967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hasCustomPrompt="1"/>
          </p:nvPr>
        </p:nvSpPr>
        <p:spPr>
          <a:xfrm>
            <a:off x="666747" y="1611881"/>
            <a:ext cx="5332398" cy="247650"/>
          </a:xfrm>
        </p:spPr>
        <p:txBody>
          <a:bodyPr/>
          <a:lstStyle>
            <a:lvl1pPr>
              <a:defRPr b="1"/>
            </a:lvl1pPr>
          </a:lstStyle>
          <a:p>
            <a:pPr lvl="0"/>
            <a:r>
              <a:rPr lang="nl-NL" noProof="0"/>
              <a:t>Klik om kop toe te voegen</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hasCustomPrompt="1"/>
          </p:nvPr>
        </p:nvSpPr>
        <p:spPr>
          <a:xfrm>
            <a:off x="6192852" y="1611881"/>
            <a:ext cx="5332398" cy="247650"/>
          </a:xfrm>
        </p:spPr>
        <p:txBody>
          <a:bodyPr/>
          <a:lstStyle>
            <a:lvl1pPr>
              <a:defRPr b="1"/>
            </a:lvl1pPr>
          </a:lstStyle>
          <a:p>
            <a:pPr lvl="0"/>
            <a:r>
              <a:rPr lang="nl-NL" noProof="0"/>
              <a:t>Klik om kop toe te voegen</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hasCustomPrompt="1"/>
          </p:nvPr>
        </p:nvSpPr>
        <p:spPr>
          <a:xfrm>
            <a:off x="666747" y="4034805"/>
            <a:ext cx="5332398"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hasCustomPrompt="1"/>
          </p:nvPr>
        </p:nvSpPr>
        <p:spPr>
          <a:xfrm>
            <a:off x="6192852" y="4034805"/>
            <a:ext cx="5332398"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168310771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hasCustomPrompt="1"/>
          </p:nvPr>
        </p:nvSpPr>
        <p:spPr>
          <a:xfrm>
            <a:off x="666747"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hasCustomPrompt="1"/>
          </p:nvPr>
        </p:nvSpPr>
        <p:spPr>
          <a:xfrm>
            <a:off x="6192051"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hasCustomPrompt="1"/>
          </p:nvPr>
        </p:nvSpPr>
        <p:spPr>
          <a:xfrm>
            <a:off x="666747" y="4078538"/>
            <a:ext cx="5331600" cy="306388"/>
          </a:xfrm>
          <a:solidFill>
            <a:schemeClr val="tx2"/>
          </a:solidFill>
          <a:ln w="19050">
            <a:solidFill>
              <a:schemeClr val="accent1"/>
            </a:solidFill>
          </a:ln>
        </p:spPr>
        <p:txBody>
          <a:bodyPr vert="horz" lIns="91440" tIns="45720" rIns="91440" bIns="45720" rtlCol="0" anchor="ctr">
            <a:noAutofit/>
          </a:bodyPr>
          <a:lstStyle>
            <a:lvl1pPr>
              <a:defRPr lang="nl-NL" b="1"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hasCustomPrompt="1"/>
          </p:nvPr>
        </p:nvSpPr>
        <p:spPr>
          <a:xfrm>
            <a:off x="6192051" y="4078538"/>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88974561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Box (4)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91440" tIns="45720" rIns="91440" bIns="45720" rtlCol="0">
            <a:noAutofit/>
          </a:bodyPr>
          <a:lstStyle>
            <a:lvl1pPr>
              <a:defRPr lang="en-US" dirty="0"/>
            </a:lvl1pPr>
            <a:lvl2pPr marL="285750" indent="-285750">
              <a:buFont typeface="Arial" panose="020B0604020202020204" pitchFamily="34" charset="0"/>
              <a:buChar char="•"/>
              <a:defRPr lang="en-US" dirty="0"/>
            </a:lvl2pPr>
            <a:lvl3pPr>
              <a:defRPr lang="en-US" dirty="0"/>
            </a:lvl3pPr>
            <a:lvl4pPr>
              <a:defRPr lang="en-US"/>
            </a:lvl4pPr>
            <a:lvl5pPr>
              <a:defRPr lang="nl-NL"/>
            </a:lvl5pPr>
          </a:lstStyle>
          <a:p>
            <a:pPr lvl="1"/>
            <a:r>
              <a:rPr lang="nl-NL" noProof="0"/>
              <a:t>Typ hier je antwoord</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91440" tIns="45720" rIns="91440" bIns="45720" rtlCol="0">
            <a:noAutofit/>
          </a:bodyPr>
          <a:lstStyle>
            <a:lvl1pPr>
              <a:defRPr lang="en-US" dirty="0"/>
            </a:lvl1pPr>
            <a:lvl2pPr marL="285750" indent="-285750">
              <a:buFont typeface="Arial" panose="020B0604020202020204" pitchFamily="34" charset="0"/>
              <a:buChar char="•"/>
              <a:defRPr lang="en-US" dirty="0"/>
            </a:lvl2pPr>
            <a:lvl3pPr>
              <a:defRPr lang="en-US" dirty="0"/>
            </a:lvl3pPr>
            <a:lvl4pPr>
              <a:defRPr lang="en-US" dirty="0"/>
            </a:lvl4pPr>
            <a:lvl5pPr>
              <a:defRPr lang="nl-NL" dirty="0"/>
            </a:lvl5pPr>
          </a:lstStyle>
          <a:p>
            <a:pPr lvl="1"/>
            <a:r>
              <a:rPr lang="nl-NL" noProof="0"/>
              <a:t>Typ hier je antwoord</a:t>
            </a:r>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hasCustomPrompt="1"/>
          </p:nvPr>
        </p:nvSpPr>
        <p:spPr>
          <a:xfrm>
            <a:off x="666747"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hasCustomPrompt="1"/>
          </p:nvPr>
        </p:nvSpPr>
        <p:spPr>
          <a:xfrm>
            <a:off x="6192051"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hasCustomPrompt="1"/>
          </p:nvPr>
        </p:nvSpPr>
        <p:spPr>
          <a:xfrm>
            <a:off x="666747" y="4078538"/>
            <a:ext cx="5331600" cy="306388"/>
          </a:xfrm>
          <a:solidFill>
            <a:schemeClr val="tx2"/>
          </a:solidFill>
          <a:ln w="19050">
            <a:solidFill>
              <a:schemeClr val="accent1"/>
            </a:solidFill>
          </a:ln>
        </p:spPr>
        <p:txBody>
          <a:bodyPr vert="horz" lIns="91440" tIns="45720" rIns="91440" bIns="45720" rtlCol="0" anchor="ctr">
            <a:noAutofit/>
          </a:bodyPr>
          <a:lstStyle>
            <a:lvl1pPr>
              <a:defRPr lang="nl-NL" b="1"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hasCustomPrompt="1"/>
          </p:nvPr>
        </p:nvSpPr>
        <p:spPr>
          <a:xfrm>
            <a:off x="6192051" y="4078538"/>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91440" tIns="45720" rIns="91440" bIns="45720" rtlCol="0">
            <a:noAutofit/>
          </a:bodyPr>
          <a:lstStyle>
            <a:lvl1pPr>
              <a:defRPr lang="en-US" dirty="0"/>
            </a:lvl1pPr>
            <a:lvl2pPr marL="285750" indent="-285750">
              <a:buFont typeface="Arial" panose="020B0604020202020204" pitchFamily="34" charset="0"/>
              <a:buChar char="•"/>
              <a:defRPr lang="en-US" dirty="0"/>
            </a:lvl2pPr>
            <a:lvl3pPr>
              <a:defRPr lang="en-US" dirty="0"/>
            </a:lvl3pPr>
            <a:lvl4pPr>
              <a:defRPr lang="en-US"/>
            </a:lvl4pPr>
            <a:lvl5pPr>
              <a:defRPr lang="nl-NL"/>
            </a:lvl5pPr>
          </a:lstStyle>
          <a:p>
            <a:pPr lvl="1"/>
            <a:r>
              <a:rPr lang="nl-NL" noProof="0"/>
              <a:t>Typ hier je antwoord</a:t>
            </a:r>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91440" tIns="45720" rIns="91440" bIns="45720" rtlCol="0">
            <a:noAutofit/>
          </a:bodyPr>
          <a:lstStyle>
            <a:lvl1pPr>
              <a:defRPr lang="en-US" dirty="0"/>
            </a:lvl1pPr>
            <a:lvl2pPr marL="285750" indent="-285750">
              <a:buFont typeface="Arial" panose="020B0604020202020204" pitchFamily="34" charset="0"/>
              <a:buChar char="•"/>
              <a:defRPr lang="en-US" dirty="0"/>
            </a:lvl2pPr>
            <a:lvl3pPr>
              <a:defRPr lang="en-US" dirty="0"/>
            </a:lvl3pPr>
            <a:lvl4pPr>
              <a:defRPr lang="en-US" dirty="0"/>
            </a:lvl4pPr>
            <a:lvl5pPr>
              <a:defRPr lang="nl-NL" dirty="0"/>
            </a:lvl5pPr>
          </a:lstStyle>
          <a:p>
            <a:pPr lvl="1"/>
            <a:r>
              <a:rPr lang="nl-NL" noProof="0"/>
              <a:t>Typ hier je antwoord</a:t>
            </a:r>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63387767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4702614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53564766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hasCustomPrompt="1"/>
          </p:nvPr>
        </p:nvSpPr>
        <p:spPr>
          <a:xfrm>
            <a:off x="666750" y="1611881"/>
            <a:ext cx="3516680" cy="247650"/>
          </a:xfrm>
        </p:spPr>
        <p:txBody>
          <a:bodyPr/>
          <a:lstStyle>
            <a:lvl1pPr>
              <a:defRPr b="1"/>
            </a:lvl1pPr>
          </a:lstStyle>
          <a:p>
            <a:pPr lvl="0"/>
            <a:r>
              <a:rPr lang="nl-NL" noProof="0"/>
              <a:t>Klik om kop toe te voegen</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hasCustomPrompt="1"/>
          </p:nvPr>
        </p:nvSpPr>
        <p:spPr>
          <a:xfrm>
            <a:off x="4337660" y="1611881"/>
            <a:ext cx="3516680" cy="247650"/>
          </a:xfrm>
        </p:spPr>
        <p:txBody>
          <a:bodyPr/>
          <a:lstStyle>
            <a:lvl1pPr>
              <a:defRPr b="1"/>
            </a:lvl1pPr>
          </a:lstStyle>
          <a:p>
            <a:pPr lvl="0"/>
            <a:r>
              <a:rPr lang="nl-NL" noProof="0"/>
              <a:t>Klik om kop toe te voegen</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hasCustomPrompt="1"/>
          </p:nvPr>
        </p:nvSpPr>
        <p:spPr>
          <a:xfrm>
            <a:off x="8022067" y="1611881"/>
            <a:ext cx="3516680" cy="247650"/>
          </a:xfrm>
        </p:spPr>
        <p:txBody>
          <a:bodyPr/>
          <a:lstStyle>
            <a:lvl1pPr>
              <a:defRPr b="1"/>
            </a:lvl1pPr>
          </a:lstStyle>
          <a:p>
            <a:pPr lvl="0"/>
            <a:r>
              <a:rPr lang="nl-NL" noProof="0"/>
              <a:t>Klik om kop toe te voegen</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hasCustomPrompt="1"/>
          </p:nvPr>
        </p:nvSpPr>
        <p:spPr>
          <a:xfrm>
            <a:off x="666750" y="4065752"/>
            <a:ext cx="3516680" cy="247650"/>
          </a:xfrm>
        </p:spPr>
        <p:txBody>
          <a:bodyPr/>
          <a:lstStyle>
            <a:lvl1pPr>
              <a:defRPr b="1"/>
            </a:lvl1pPr>
          </a:lstStyle>
          <a:p>
            <a:pPr lvl="0"/>
            <a:r>
              <a:rPr lang="nl-NL" noProof="0"/>
              <a:t>Klik om kop toe te voegen</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hasCustomPrompt="1"/>
          </p:nvPr>
        </p:nvSpPr>
        <p:spPr>
          <a:xfrm>
            <a:off x="4337660" y="4065752"/>
            <a:ext cx="3516680" cy="247650"/>
          </a:xfrm>
        </p:spPr>
        <p:txBody>
          <a:bodyPr/>
          <a:lstStyle>
            <a:lvl1pPr>
              <a:defRPr b="1"/>
            </a:lvl1pPr>
          </a:lstStyle>
          <a:p>
            <a:pPr lvl="0"/>
            <a:r>
              <a:rPr lang="nl-NL" noProof="0"/>
              <a:t>Klik om kop toe te voegen</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hasCustomPrompt="1"/>
          </p:nvPr>
        </p:nvSpPr>
        <p:spPr>
          <a:xfrm>
            <a:off x="8022067" y="4065752"/>
            <a:ext cx="3516680"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407249832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hasCustomPrompt="1"/>
          </p:nvPr>
        </p:nvSpPr>
        <p:spPr>
          <a:xfrm>
            <a:off x="666747"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hasCustomPrompt="1"/>
          </p:nvPr>
        </p:nvSpPr>
        <p:spPr>
          <a:xfrm>
            <a:off x="4344407"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hasCustomPrompt="1"/>
          </p:nvPr>
        </p:nvSpPr>
        <p:spPr>
          <a:xfrm>
            <a:off x="8008570"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hasCustomPrompt="1"/>
          </p:nvPr>
        </p:nvSpPr>
        <p:spPr>
          <a:xfrm>
            <a:off x="666747"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hasCustomPrompt="1"/>
          </p:nvPr>
        </p:nvSpPr>
        <p:spPr>
          <a:xfrm>
            <a:off x="4344407"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hasCustomPrompt="1"/>
          </p:nvPr>
        </p:nvSpPr>
        <p:spPr>
          <a:xfrm>
            <a:off x="8008570"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79211000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Box (6)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bg1">
                <a:lumMod val="75000"/>
              </a:schemeClr>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hasCustomPrompt="1"/>
          </p:nvPr>
        </p:nvSpPr>
        <p:spPr>
          <a:xfrm>
            <a:off x="666747" y="1614179"/>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hasCustomPrompt="1"/>
          </p:nvPr>
        </p:nvSpPr>
        <p:spPr>
          <a:xfrm>
            <a:off x="4344407" y="1614179"/>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hasCustomPrompt="1"/>
          </p:nvPr>
        </p:nvSpPr>
        <p:spPr>
          <a:xfrm>
            <a:off x="8008570" y="1614179"/>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hasCustomPrompt="1"/>
          </p:nvPr>
        </p:nvSpPr>
        <p:spPr>
          <a:xfrm>
            <a:off x="666747" y="4078955"/>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hasCustomPrompt="1"/>
          </p:nvPr>
        </p:nvSpPr>
        <p:spPr>
          <a:xfrm>
            <a:off x="4344407" y="4078955"/>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hasCustomPrompt="1"/>
          </p:nvPr>
        </p:nvSpPr>
        <p:spPr>
          <a:xfrm>
            <a:off x="8008570" y="4078955"/>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9" name="Text Placeholder 13">
            <a:extLst>
              <a:ext uri="{FF2B5EF4-FFF2-40B4-BE49-F238E27FC236}">
                <a16:creationId xmlns:a16="http://schemas.microsoft.com/office/drawing/2014/main" id="{EFE79D6A-F6C5-6849-B796-CE6FAE6E4065}"/>
              </a:ext>
            </a:extLst>
          </p:cNvPr>
          <p:cNvSpPr>
            <a:spLocks noGrp="1"/>
          </p:cNvSpPr>
          <p:nvPr>
            <p:ph type="body" sz="quarter" idx="30" hasCustomPrompt="1"/>
          </p:nvPr>
        </p:nvSpPr>
        <p:spPr>
          <a:xfrm>
            <a:off x="4344407" y="1920567"/>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4" name="Titel 13">
            <a:extLst>
              <a:ext uri="{FF2B5EF4-FFF2-40B4-BE49-F238E27FC236}">
                <a16:creationId xmlns:a16="http://schemas.microsoft.com/office/drawing/2014/main" id="{6C8594F3-A967-F045-B5A9-9BEE68F9765E}"/>
              </a:ext>
            </a:extLst>
          </p:cNvPr>
          <p:cNvSpPr>
            <a:spLocks noGrp="1"/>
          </p:cNvSpPr>
          <p:nvPr>
            <p:ph type="title"/>
          </p:nvPr>
        </p:nvSpPr>
        <p:spPr/>
        <p:txBody>
          <a:bodyPr/>
          <a:lstStyle/>
          <a:p>
            <a:r>
              <a:rPr lang="nl-NL"/>
              <a:t>Klik om stijl te bewerken</a:t>
            </a:r>
          </a:p>
        </p:txBody>
      </p:sp>
      <p:sp>
        <p:nvSpPr>
          <p:cNvPr id="32" name="Tijdelijke aanduiding voor tekst 31">
            <a:extLst>
              <a:ext uri="{FF2B5EF4-FFF2-40B4-BE49-F238E27FC236}">
                <a16:creationId xmlns:a16="http://schemas.microsoft.com/office/drawing/2014/main" id="{C8A33D3D-C2A1-5046-B99C-27C8BD8FD542}"/>
              </a:ext>
            </a:extLst>
          </p:cNvPr>
          <p:cNvSpPr>
            <a:spLocks noGrp="1"/>
          </p:cNvSpPr>
          <p:nvPr>
            <p:ph type="body" sz="quarter" idx="32" hasCustomPrompt="1"/>
          </p:nvPr>
        </p:nvSpPr>
        <p:spPr>
          <a:xfrm>
            <a:off x="5330132" y="1920567"/>
            <a:ext cx="2530957" cy="528719"/>
          </a:xfrm>
        </p:spPr>
        <p:txBody>
          <a:bodyPr/>
          <a:lstStyle/>
          <a:p>
            <a:pPr lvl="0"/>
            <a:r>
              <a:rPr lang="nl-NL"/>
              <a:t>Vul hier de naam van het spoor in</a:t>
            </a:r>
          </a:p>
        </p:txBody>
      </p:sp>
      <p:sp>
        <p:nvSpPr>
          <p:cNvPr id="33" name="Tijdelijke aanduiding voor tekst 31">
            <a:extLst>
              <a:ext uri="{FF2B5EF4-FFF2-40B4-BE49-F238E27FC236}">
                <a16:creationId xmlns:a16="http://schemas.microsoft.com/office/drawing/2014/main" id="{12E940E8-2604-274B-9FEB-8DB06B912C8E}"/>
              </a:ext>
            </a:extLst>
          </p:cNvPr>
          <p:cNvSpPr>
            <a:spLocks noGrp="1"/>
          </p:cNvSpPr>
          <p:nvPr>
            <p:ph type="body" sz="quarter" idx="33" hasCustomPrompt="1"/>
          </p:nvPr>
        </p:nvSpPr>
        <p:spPr>
          <a:xfrm>
            <a:off x="5330132" y="2471042"/>
            <a:ext cx="2530957" cy="1332000"/>
          </a:xfrm>
        </p:spPr>
        <p:txBody>
          <a:bodyPr/>
          <a:lstStyle/>
          <a:p>
            <a:pPr lvl="0"/>
            <a:r>
              <a:rPr lang="nl-NL"/>
              <a:t>Vul hier de namen van de deliverables / producten die de hoogste prioriteit hebben in</a:t>
            </a:r>
          </a:p>
        </p:txBody>
      </p:sp>
      <p:sp>
        <p:nvSpPr>
          <p:cNvPr id="34" name="Text Placeholder 13">
            <a:extLst>
              <a:ext uri="{FF2B5EF4-FFF2-40B4-BE49-F238E27FC236}">
                <a16:creationId xmlns:a16="http://schemas.microsoft.com/office/drawing/2014/main" id="{ECC0528E-8DB4-B64B-A0C3-C0D9A5B58EA0}"/>
              </a:ext>
            </a:extLst>
          </p:cNvPr>
          <p:cNvSpPr>
            <a:spLocks noGrp="1"/>
          </p:cNvSpPr>
          <p:nvPr>
            <p:ph type="body" sz="quarter" idx="34" hasCustomPrompt="1"/>
          </p:nvPr>
        </p:nvSpPr>
        <p:spPr>
          <a:xfrm>
            <a:off x="8008570" y="1920567"/>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35" name="Tijdelijke aanduiding voor tekst 31">
            <a:extLst>
              <a:ext uri="{FF2B5EF4-FFF2-40B4-BE49-F238E27FC236}">
                <a16:creationId xmlns:a16="http://schemas.microsoft.com/office/drawing/2014/main" id="{7299C9D8-A9E6-9847-8CD6-CEED00F4F50F}"/>
              </a:ext>
            </a:extLst>
          </p:cNvPr>
          <p:cNvSpPr>
            <a:spLocks noGrp="1"/>
          </p:cNvSpPr>
          <p:nvPr>
            <p:ph type="body" sz="quarter" idx="35" hasCustomPrompt="1"/>
          </p:nvPr>
        </p:nvSpPr>
        <p:spPr>
          <a:xfrm>
            <a:off x="8994295" y="1920567"/>
            <a:ext cx="2530957" cy="528719"/>
          </a:xfrm>
        </p:spPr>
        <p:txBody>
          <a:bodyPr/>
          <a:lstStyle/>
          <a:p>
            <a:pPr lvl="0"/>
            <a:r>
              <a:rPr lang="nl-NL"/>
              <a:t>Vul hier de naam van het spoor in</a:t>
            </a:r>
          </a:p>
        </p:txBody>
      </p:sp>
      <p:sp>
        <p:nvSpPr>
          <p:cNvPr id="36" name="Tijdelijke aanduiding voor tekst 31">
            <a:extLst>
              <a:ext uri="{FF2B5EF4-FFF2-40B4-BE49-F238E27FC236}">
                <a16:creationId xmlns:a16="http://schemas.microsoft.com/office/drawing/2014/main" id="{A2A4DFCA-C6D2-BE49-891C-97428721B5F5}"/>
              </a:ext>
            </a:extLst>
          </p:cNvPr>
          <p:cNvSpPr>
            <a:spLocks noGrp="1"/>
          </p:cNvSpPr>
          <p:nvPr>
            <p:ph type="body" sz="quarter" idx="36" hasCustomPrompt="1"/>
          </p:nvPr>
        </p:nvSpPr>
        <p:spPr>
          <a:xfrm>
            <a:off x="8994295" y="2471042"/>
            <a:ext cx="2530957" cy="1332000"/>
          </a:xfrm>
        </p:spPr>
        <p:txBody>
          <a:bodyPr/>
          <a:lstStyle/>
          <a:p>
            <a:pPr lvl="0"/>
            <a:r>
              <a:rPr lang="nl-NL"/>
              <a:t>Vul hier de namen van de deliverables / producten die de hoogste prioriteit hebben in</a:t>
            </a:r>
          </a:p>
        </p:txBody>
      </p:sp>
      <p:sp>
        <p:nvSpPr>
          <p:cNvPr id="37" name="Text Placeholder 13">
            <a:extLst>
              <a:ext uri="{FF2B5EF4-FFF2-40B4-BE49-F238E27FC236}">
                <a16:creationId xmlns:a16="http://schemas.microsoft.com/office/drawing/2014/main" id="{5BA2E9D3-775A-E04E-B7B3-1221232547B4}"/>
              </a:ext>
            </a:extLst>
          </p:cNvPr>
          <p:cNvSpPr>
            <a:spLocks noGrp="1"/>
          </p:cNvSpPr>
          <p:nvPr>
            <p:ph type="body" sz="quarter" idx="37" hasCustomPrompt="1"/>
          </p:nvPr>
        </p:nvSpPr>
        <p:spPr>
          <a:xfrm>
            <a:off x="666747" y="4394267"/>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38" name="Tijdelijke aanduiding voor tekst 31">
            <a:extLst>
              <a:ext uri="{FF2B5EF4-FFF2-40B4-BE49-F238E27FC236}">
                <a16:creationId xmlns:a16="http://schemas.microsoft.com/office/drawing/2014/main" id="{701F0C1A-0774-F74E-9815-70C0F11D876B}"/>
              </a:ext>
            </a:extLst>
          </p:cNvPr>
          <p:cNvSpPr>
            <a:spLocks noGrp="1"/>
          </p:cNvSpPr>
          <p:nvPr>
            <p:ph type="body" sz="quarter" idx="38" hasCustomPrompt="1"/>
          </p:nvPr>
        </p:nvSpPr>
        <p:spPr>
          <a:xfrm>
            <a:off x="1652472" y="4394267"/>
            <a:ext cx="2530957" cy="528719"/>
          </a:xfrm>
        </p:spPr>
        <p:txBody>
          <a:bodyPr/>
          <a:lstStyle/>
          <a:p>
            <a:pPr lvl="0"/>
            <a:r>
              <a:rPr lang="nl-NL"/>
              <a:t>Vul hier de naam van het spoor in</a:t>
            </a:r>
          </a:p>
        </p:txBody>
      </p:sp>
      <p:sp>
        <p:nvSpPr>
          <p:cNvPr id="39" name="Tijdelijke aanduiding voor tekst 31">
            <a:extLst>
              <a:ext uri="{FF2B5EF4-FFF2-40B4-BE49-F238E27FC236}">
                <a16:creationId xmlns:a16="http://schemas.microsoft.com/office/drawing/2014/main" id="{78B70E5B-174C-0942-82E6-BB80CB9B6941}"/>
              </a:ext>
            </a:extLst>
          </p:cNvPr>
          <p:cNvSpPr>
            <a:spLocks noGrp="1"/>
          </p:cNvSpPr>
          <p:nvPr>
            <p:ph type="body" sz="quarter" idx="39" hasCustomPrompt="1"/>
          </p:nvPr>
        </p:nvSpPr>
        <p:spPr>
          <a:xfrm>
            <a:off x="1652472" y="4944742"/>
            <a:ext cx="2530957" cy="1332000"/>
          </a:xfrm>
        </p:spPr>
        <p:txBody>
          <a:bodyPr/>
          <a:lstStyle/>
          <a:p>
            <a:pPr lvl="0"/>
            <a:r>
              <a:rPr lang="nl-NL"/>
              <a:t>Vul hier de namen van de deliverables / producten die de hoogste prioriteit hebben in</a:t>
            </a:r>
          </a:p>
        </p:txBody>
      </p:sp>
      <p:sp>
        <p:nvSpPr>
          <p:cNvPr id="40" name="Text Placeholder 13">
            <a:extLst>
              <a:ext uri="{FF2B5EF4-FFF2-40B4-BE49-F238E27FC236}">
                <a16:creationId xmlns:a16="http://schemas.microsoft.com/office/drawing/2014/main" id="{0EC698CF-2A9A-D743-A8F4-EAE104236558}"/>
              </a:ext>
            </a:extLst>
          </p:cNvPr>
          <p:cNvSpPr>
            <a:spLocks noGrp="1"/>
          </p:cNvSpPr>
          <p:nvPr>
            <p:ph type="body" sz="quarter" idx="40" hasCustomPrompt="1"/>
          </p:nvPr>
        </p:nvSpPr>
        <p:spPr>
          <a:xfrm>
            <a:off x="4344407" y="4386009"/>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41" name="Tijdelijke aanduiding voor tekst 31">
            <a:extLst>
              <a:ext uri="{FF2B5EF4-FFF2-40B4-BE49-F238E27FC236}">
                <a16:creationId xmlns:a16="http://schemas.microsoft.com/office/drawing/2014/main" id="{AD447351-8D7A-F545-ADDD-221E1554A1AF}"/>
              </a:ext>
            </a:extLst>
          </p:cNvPr>
          <p:cNvSpPr>
            <a:spLocks noGrp="1"/>
          </p:cNvSpPr>
          <p:nvPr>
            <p:ph type="body" sz="quarter" idx="41" hasCustomPrompt="1"/>
          </p:nvPr>
        </p:nvSpPr>
        <p:spPr>
          <a:xfrm>
            <a:off x="5330132" y="4386009"/>
            <a:ext cx="2530957" cy="528719"/>
          </a:xfrm>
        </p:spPr>
        <p:txBody>
          <a:bodyPr/>
          <a:lstStyle/>
          <a:p>
            <a:pPr lvl="0"/>
            <a:r>
              <a:rPr lang="nl-NL"/>
              <a:t>Vul hier de naam van het spoor in</a:t>
            </a:r>
          </a:p>
        </p:txBody>
      </p:sp>
      <p:sp>
        <p:nvSpPr>
          <p:cNvPr id="42" name="Tijdelijke aanduiding voor tekst 31">
            <a:extLst>
              <a:ext uri="{FF2B5EF4-FFF2-40B4-BE49-F238E27FC236}">
                <a16:creationId xmlns:a16="http://schemas.microsoft.com/office/drawing/2014/main" id="{3528DB85-850E-FD47-A6E6-F9D925AB7167}"/>
              </a:ext>
            </a:extLst>
          </p:cNvPr>
          <p:cNvSpPr>
            <a:spLocks noGrp="1"/>
          </p:cNvSpPr>
          <p:nvPr>
            <p:ph type="body" sz="quarter" idx="42" hasCustomPrompt="1"/>
          </p:nvPr>
        </p:nvSpPr>
        <p:spPr>
          <a:xfrm>
            <a:off x="5330132" y="4936484"/>
            <a:ext cx="2530957" cy="1332000"/>
          </a:xfrm>
        </p:spPr>
        <p:txBody>
          <a:bodyPr/>
          <a:lstStyle/>
          <a:p>
            <a:pPr lvl="0"/>
            <a:r>
              <a:rPr lang="nl-NL"/>
              <a:t>Vul hier de namen van de deliverables / producten die de hoogste prioriteit hebben in</a:t>
            </a:r>
          </a:p>
        </p:txBody>
      </p:sp>
      <p:sp>
        <p:nvSpPr>
          <p:cNvPr id="43" name="Text Placeholder 13">
            <a:extLst>
              <a:ext uri="{FF2B5EF4-FFF2-40B4-BE49-F238E27FC236}">
                <a16:creationId xmlns:a16="http://schemas.microsoft.com/office/drawing/2014/main" id="{F3836A49-97FE-F144-BFE3-4FC1B4CF0408}"/>
              </a:ext>
            </a:extLst>
          </p:cNvPr>
          <p:cNvSpPr>
            <a:spLocks noGrp="1"/>
          </p:cNvSpPr>
          <p:nvPr>
            <p:ph type="body" sz="quarter" idx="43" hasCustomPrompt="1"/>
          </p:nvPr>
        </p:nvSpPr>
        <p:spPr>
          <a:xfrm>
            <a:off x="8008570" y="4385714"/>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44" name="Tijdelijke aanduiding voor tekst 31">
            <a:extLst>
              <a:ext uri="{FF2B5EF4-FFF2-40B4-BE49-F238E27FC236}">
                <a16:creationId xmlns:a16="http://schemas.microsoft.com/office/drawing/2014/main" id="{F31A3FF5-FAC1-F24E-8B72-14033D89B1D7}"/>
              </a:ext>
            </a:extLst>
          </p:cNvPr>
          <p:cNvSpPr>
            <a:spLocks noGrp="1"/>
          </p:cNvSpPr>
          <p:nvPr>
            <p:ph type="body" sz="quarter" idx="44" hasCustomPrompt="1"/>
          </p:nvPr>
        </p:nvSpPr>
        <p:spPr>
          <a:xfrm>
            <a:off x="8994295" y="4385714"/>
            <a:ext cx="2530957" cy="528719"/>
          </a:xfrm>
        </p:spPr>
        <p:txBody>
          <a:bodyPr/>
          <a:lstStyle/>
          <a:p>
            <a:pPr lvl="0"/>
            <a:r>
              <a:rPr lang="nl-NL"/>
              <a:t>Vul hier de naam van het spoor in</a:t>
            </a:r>
          </a:p>
        </p:txBody>
      </p:sp>
      <p:sp>
        <p:nvSpPr>
          <p:cNvPr id="45" name="Tijdelijke aanduiding voor tekst 31">
            <a:extLst>
              <a:ext uri="{FF2B5EF4-FFF2-40B4-BE49-F238E27FC236}">
                <a16:creationId xmlns:a16="http://schemas.microsoft.com/office/drawing/2014/main" id="{C93D5F3F-0707-954E-A7B4-BD34C15AFADB}"/>
              </a:ext>
            </a:extLst>
          </p:cNvPr>
          <p:cNvSpPr>
            <a:spLocks noGrp="1"/>
          </p:cNvSpPr>
          <p:nvPr>
            <p:ph type="body" sz="quarter" idx="45" hasCustomPrompt="1"/>
          </p:nvPr>
        </p:nvSpPr>
        <p:spPr>
          <a:xfrm>
            <a:off x="8994295" y="4936189"/>
            <a:ext cx="2530957" cy="1332000"/>
          </a:xfrm>
        </p:spPr>
        <p:txBody>
          <a:bodyPr/>
          <a:lstStyle/>
          <a:p>
            <a:pPr lvl="0"/>
            <a:r>
              <a:rPr lang="nl-NL"/>
              <a:t>Vul hier de namen van de deliverables / producten die de hoogste prioriteit hebben in</a:t>
            </a:r>
          </a:p>
        </p:txBody>
      </p:sp>
    </p:spTree>
    <p:extLst>
      <p:ext uri="{BB962C8B-B14F-4D97-AF65-F5344CB8AC3E}">
        <p14:creationId xmlns:p14="http://schemas.microsoft.com/office/powerpoint/2010/main" val="360099426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ver No Pic">
    <p:spTree>
      <p:nvGrpSpPr>
        <p:cNvPr id="1" name=""/>
        <p:cNvGrpSpPr/>
        <p:nvPr/>
      </p:nvGrpSpPr>
      <p:grpSpPr>
        <a:xfrm>
          <a:off x="0" y="0"/>
          <a:ext cx="0" cy="0"/>
          <a:chOff x="0" y="0"/>
          <a:chExt cx="0" cy="0"/>
        </a:xfrm>
      </p:grpSpPr>
      <p:sp>
        <p:nvSpPr>
          <p:cNvPr id="6" name="Rectangle 5"/>
          <p:cNvSpPr/>
          <p:nvPr userDrawn="1"/>
        </p:nvSpPr>
        <p:spPr>
          <a:xfrm>
            <a:off x="658813" y="0"/>
            <a:ext cx="115331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7" name="Tijdelijke aanduiding voor titel 1"/>
          <p:cNvSpPr>
            <a:spLocks noGrp="1"/>
          </p:cNvSpPr>
          <p:nvPr>
            <p:ph type="ctrTitle" hasCustomPrompt="1"/>
          </p:nvPr>
        </p:nvSpPr>
        <p:spPr>
          <a:xfrm>
            <a:off x="989445" y="1758950"/>
            <a:ext cx="9789584"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8" name="Tijdelijke aanduiding voor tekst 2"/>
          <p:cNvSpPr>
            <a:spLocks noGrp="1"/>
          </p:cNvSpPr>
          <p:nvPr>
            <p:ph type="body" idx="1" hasCustomPrompt="1"/>
          </p:nvPr>
        </p:nvSpPr>
        <p:spPr>
          <a:xfrm>
            <a:off x="989445" y="3602038"/>
            <a:ext cx="9789584"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Tree>
    <p:extLst>
      <p:ext uri="{BB962C8B-B14F-4D97-AF65-F5344CB8AC3E}">
        <p14:creationId xmlns:p14="http://schemas.microsoft.com/office/powerpoint/2010/main" val="419925838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sp>
        <p:nvSpPr>
          <p:cNvPr id="6" name="Rectangle 5"/>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
        <p:nvSpPr>
          <p:cNvPr id="9" name="Rectangle 8">
            <a:extLst>
              <a:ext uri="{FF2B5EF4-FFF2-40B4-BE49-F238E27FC236}">
                <a16:creationId xmlns:a16="http://schemas.microsoft.com/office/drawing/2014/main" id="{C8EE59D7-E2D5-4CAC-9E3A-721293572BE1}"/>
              </a:ext>
            </a:extLst>
          </p:cNvPr>
          <p:cNvSpPr/>
          <p:nvPr userDrawn="1"/>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endParaRPr lang="nl-NL" noProof="0"/>
          </a:p>
        </p:txBody>
      </p:sp>
    </p:spTree>
    <p:extLst>
      <p:ext uri="{BB962C8B-B14F-4D97-AF65-F5344CB8AC3E}">
        <p14:creationId xmlns:p14="http://schemas.microsoft.com/office/powerpoint/2010/main" val="60764029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endParaRPr lang="nl-NL" noProof="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6916882"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6916882" cy="3973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Tree>
    <p:extLst>
      <p:ext uri="{BB962C8B-B14F-4D97-AF65-F5344CB8AC3E}">
        <p14:creationId xmlns:p14="http://schemas.microsoft.com/office/powerpoint/2010/main" val="165029956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a:lstStyle>
            <a:lvl1pPr>
              <a:defRPr sz="4000" b="1" u="none"/>
            </a:lvl1pPr>
          </a:lstStyle>
          <a:p>
            <a:pPr lvl="0"/>
            <a:r>
              <a:rPr lang="nl-NL" noProof="0"/>
              <a:t>Klik om hoofdstuknummer in te voegen</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a:lstStyle>
            <a:lvl1pPr>
              <a:defRPr sz="5400" b="1">
                <a:solidFill>
                  <a:schemeClr val="tx2"/>
                </a:solidFill>
              </a:defRPr>
            </a:lvl1pPr>
          </a:lstStyle>
          <a:p>
            <a:pPr lvl="0"/>
            <a:r>
              <a:rPr lang="nl-NL" noProof="0"/>
              <a:t>Klik om hoofdstuk titel in te voegen</a:t>
            </a:r>
          </a:p>
        </p:txBody>
      </p:sp>
    </p:spTree>
    <p:extLst>
      <p:ext uri="{BB962C8B-B14F-4D97-AF65-F5344CB8AC3E}">
        <p14:creationId xmlns:p14="http://schemas.microsoft.com/office/powerpoint/2010/main" val="48940841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userDrawn="1"/>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noProof="0">
              <a:solidFill>
                <a:srgbClr val="000000"/>
              </a:solidFill>
              <a:latin typeface="Corbel" panose="020B0503020204020204" pitchFamily="34" charset="0"/>
            </a:endParaRPr>
          </a:p>
        </p:txBody>
      </p:sp>
      <p:sp>
        <p:nvSpPr>
          <p:cNvPr id="2" name="Title 1"/>
          <p:cNvSpPr>
            <a:spLocks noGrp="1"/>
          </p:cNvSpPr>
          <p:nvPr>
            <p:ph type="title" hasCustomPrompt="1"/>
          </p:nvPr>
        </p:nvSpPr>
        <p:spPr>
          <a:xfrm rot="16200000">
            <a:off x="-1789060" y="2468072"/>
            <a:ext cx="6579421" cy="1643271"/>
          </a:xfrm>
          <a:prstGeom prst="rect">
            <a:avLst/>
          </a:prstGeom>
        </p:spPr>
        <p:txBody>
          <a:bodyPr/>
          <a:lstStyle>
            <a:lvl1pPr algn="ctr">
              <a:defRPr sz="5400">
                <a:solidFill>
                  <a:schemeClr val="tx2"/>
                </a:solidFill>
              </a:defRPr>
            </a:lvl1pPr>
          </a:lstStyle>
          <a:p>
            <a:r>
              <a:rPr lang="nl-NL" noProof="0"/>
              <a:t>Klik om titel in te voegen</a:t>
            </a:r>
          </a:p>
        </p:txBody>
      </p:sp>
      <p:sp>
        <p:nvSpPr>
          <p:cNvPr id="7" name="Footer Placeholder 6"/>
          <p:cNvSpPr>
            <a:spLocks noGrp="1"/>
          </p:cNvSpPr>
          <p:nvPr>
            <p:ph type="ftr" sz="quarter" idx="13"/>
          </p:nvPr>
        </p:nvSpPr>
        <p:spPr>
          <a:xfrm>
            <a:off x="679015" y="6579420"/>
            <a:ext cx="10011773" cy="225188"/>
          </a:xfrm>
          <a:prstGeom prst="rect">
            <a:avLst/>
          </a:prstGeom>
        </p:spPr>
        <p:txBody>
          <a:bodyPr/>
          <a:lstStyle>
            <a:lvl1pPr>
              <a:defRPr sz="1000">
                <a:latin typeface="Corbel" panose="020B0503020204020204" pitchFamily="34" charset="0"/>
              </a:defRPr>
            </a:lvl1pPr>
          </a:lstStyle>
          <a:p>
            <a:r>
              <a:rPr lang="nl-NL"/>
              <a:t>Informatiebijeenkomst 26 juli 2021 Europese Aanbesteding SVWI</a:t>
            </a:r>
          </a:p>
        </p:txBody>
      </p:sp>
      <p:sp>
        <p:nvSpPr>
          <p:cNvPr id="17" name="Slide Number Placeholder 5">
            <a:extLst>
              <a:ext uri="{FF2B5EF4-FFF2-40B4-BE49-F238E27FC236}">
                <a16:creationId xmlns:a16="http://schemas.microsoft.com/office/drawing/2014/main" id="{8F05B933-2137-41C1-8E87-28DFD097E66E}"/>
              </a:ext>
            </a:extLst>
          </p:cNvPr>
          <p:cNvSpPr>
            <a:spLocks noGrp="1"/>
          </p:cNvSpPr>
          <p:nvPr>
            <p:ph type="sldNum" sz="quarter" idx="12"/>
          </p:nvPr>
        </p:nvSpPr>
        <p:spPr>
          <a:xfrm>
            <a:off x="10845404" y="6579420"/>
            <a:ext cx="813612" cy="225188"/>
          </a:xfrm>
          <a:prstGeom prst="rect">
            <a:avLst/>
          </a:prstGeom>
        </p:spPr>
        <p:txBody>
          <a:bodyPr/>
          <a:lstStyle>
            <a:lvl1pPr algn="ctr">
              <a:defRPr sz="1050">
                <a:latin typeface="Corbel" panose="020B0503020204020204" pitchFamily="34" charset="0"/>
              </a:defRPr>
            </a:lvl1pPr>
          </a:lstStyle>
          <a:p>
            <a:fld id="{9493FAB8-1E51-48C1-887E-A59978B24DF9}" type="slidenum">
              <a:rPr lang="nl-NL" noProof="0" smtClean="0"/>
              <a:pPr/>
              <a:t>‹nr.›</a:t>
            </a:fld>
            <a:endParaRPr lang="nl-NL" noProof="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Tree>
    <p:extLst>
      <p:ext uri="{BB962C8B-B14F-4D97-AF65-F5344CB8AC3E}">
        <p14:creationId xmlns:p14="http://schemas.microsoft.com/office/powerpoint/2010/main" val="1285350429"/>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endParaRPr lang="nl-NL" noProof="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a:defRPr sz="2000" b="1">
                <a:solidFill>
                  <a:srgbClr val="000000"/>
                </a:solidFill>
              </a:defRPr>
            </a:lvl1pPr>
          </a:lstStyle>
          <a:p>
            <a:pPr lvl="0"/>
            <a:r>
              <a:rPr lang="nl-NL" noProof="0"/>
              <a:t>Klik om titel in te voegen</a:t>
            </a:r>
          </a:p>
        </p:txBody>
      </p:sp>
    </p:spTree>
    <p:extLst>
      <p:ext uri="{BB962C8B-B14F-4D97-AF65-F5344CB8AC3E}">
        <p14:creationId xmlns:p14="http://schemas.microsoft.com/office/powerpoint/2010/main" val="171834951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endParaRPr lang="nl-NL" noProof="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nl-NL" noProof="0"/>
              <a:t>Klik om titel in te voegen</a:t>
            </a:r>
          </a:p>
        </p:txBody>
      </p:sp>
    </p:spTree>
    <p:extLst>
      <p:ext uri="{BB962C8B-B14F-4D97-AF65-F5344CB8AC3E}">
        <p14:creationId xmlns:p14="http://schemas.microsoft.com/office/powerpoint/2010/main" val="15349081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hasCustomPrompt="1"/>
          </p:nvPr>
        </p:nvSpPr>
        <p:spPr>
          <a:xfrm>
            <a:off x="666747" y="1611881"/>
            <a:ext cx="5332398" cy="247650"/>
          </a:xfrm>
        </p:spPr>
        <p:txBody>
          <a:bodyPr/>
          <a:lstStyle>
            <a:lvl1pPr>
              <a:defRPr b="1"/>
            </a:lvl1pPr>
          </a:lstStyle>
          <a:p>
            <a:pPr lvl="0"/>
            <a:r>
              <a:rPr lang="nl-NL" noProof="0"/>
              <a:t>Klik om kop toe te voegen</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hasCustomPrompt="1"/>
          </p:nvPr>
        </p:nvSpPr>
        <p:spPr>
          <a:xfrm>
            <a:off x="6192852" y="1611881"/>
            <a:ext cx="5332398" cy="247650"/>
          </a:xfrm>
        </p:spPr>
        <p:txBody>
          <a:bodyPr/>
          <a:lstStyle>
            <a:lvl1pPr>
              <a:defRPr b="1"/>
            </a:lvl1pPr>
          </a:lstStyle>
          <a:p>
            <a:pPr lvl="0"/>
            <a:r>
              <a:rPr lang="nl-NL" noProof="0"/>
              <a:t>Klik om kop toe te voegen</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hasCustomPrompt="1"/>
          </p:nvPr>
        </p:nvSpPr>
        <p:spPr>
          <a:xfrm>
            <a:off x="666747" y="4034805"/>
            <a:ext cx="5332398"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hasCustomPrompt="1"/>
          </p:nvPr>
        </p:nvSpPr>
        <p:spPr>
          <a:xfrm>
            <a:off x="6192852" y="4034805"/>
            <a:ext cx="5332398"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190315649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solidFill>
                  <a:schemeClr val="tx2"/>
                </a:solidFill>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endParaRPr lang="nl-NL" noProof="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endParaRPr lang="nl-NL" noProof="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endParaRPr lang="nl-NL" noProof="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endParaRPr lang="nl-NL" noProof="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endParaRPr lang="nl-NL" noProof="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endParaRPr lang="nl-NL" noProof="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endParaRPr lang="nl-NL" noProof="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endParaRPr lang="nl-NL" noProof="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endParaRPr lang="nl-NL" noProof="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endParaRPr lang="nl-NL" noProof="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endParaRPr lang="nl-NL" noProof="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endParaRPr lang="nl-NL" noProof="0"/>
          </a:p>
        </p:txBody>
      </p:sp>
    </p:spTree>
    <p:extLst>
      <p:ext uri="{BB962C8B-B14F-4D97-AF65-F5344CB8AC3E}">
        <p14:creationId xmlns:p14="http://schemas.microsoft.com/office/powerpoint/2010/main" val="143110588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solidFill>
                  <a:schemeClr val="tx2"/>
                </a:solidFill>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endParaRPr lang="nl-NL" noProof="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endParaRPr lang="nl-NL" noProof="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endParaRPr lang="nl-NL" noProof="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endParaRPr lang="nl-NL" noProof="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endParaRPr lang="nl-NL" noProof="0"/>
          </a:p>
        </p:txBody>
      </p:sp>
    </p:spTree>
    <p:extLst>
      <p:ext uri="{BB962C8B-B14F-4D97-AF65-F5344CB8AC3E}">
        <p14:creationId xmlns:p14="http://schemas.microsoft.com/office/powerpoint/2010/main" val="179930445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endParaRPr lang="nl-NL" noProof="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endParaRPr lang="nl-NL" noProof="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endParaRPr lang="nl-NL" noProof="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endParaRPr lang="nl-NL" noProof="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endParaRPr lang="nl-NL" noProof="0"/>
          </a:p>
        </p:txBody>
      </p:sp>
    </p:spTree>
    <p:extLst>
      <p:ext uri="{BB962C8B-B14F-4D97-AF65-F5344CB8AC3E}">
        <p14:creationId xmlns:p14="http://schemas.microsoft.com/office/powerpoint/2010/main" val="29383703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endParaRPr lang="nl-NL" noProof="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endParaRPr lang="nl-NL" noProof="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endParaRPr lang="nl-NL" noProof="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endParaRPr lang="nl-NL" noProof="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endParaRPr lang="nl-NL" noProof="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endParaRPr lang="nl-NL" noProof="0"/>
          </a:p>
        </p:txBody>
      </p:sp>
    </p:spTree>
    <p:extLst>
      <p:ext uri="{BB962C8B-B14F-4D97-AF65-F5344CB8AC3E}">
        <p14:creationId xmlns:p14="http://schemas.microsoft.com/office/powerpoint/2010/main" val="112144767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ic (6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endParaRPr lang="nl-NL" noProof="0"/>
          </a:p>
        </p:txBody>
      </p:sp>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endParaRPr lang="nl-NL" noProof="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endParaRPr lang="nl-NL" noProof="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endParaRPr lang="nl-NL" noProof="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endParaRPr lang="nl-NL" noProof="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endParaRPr lang="nl-NL" noProof="0"/>
          </a:p>
        </p:txBody>
      </p:sp>
    </p:spTree>
    <p:extLst>
      <p:ext uri="{BB962C8B-B14F-4D97-AF65-F5344CB8AC3E}">
        <p14:creationId xmlns:p14="http://schemas.microsoft.com/office/powerpoint/2010/main" val="190466065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419369" y="1751832"/>
            <a:ext cx="1978923" cy="1978923"/>
          </a:xfrm>
          <a:prstGeom prst="ellipse">
            <a:avLst/>
          </a:prstGeom>
          <a:ln w="76200">
            <a:noFill/>
          </a:ln>
        </p:spPr>
        <p:txBody>
          <a:bodyPr/>
          <a:lstStyle>
            <a:lvl1pPr>
              <a:defRPr/>
            </a:lvl1pPr>
          </a:lstStyle>
          <a:p>
            <a:r>
              <a:rPr lang="nl-NL" noProof="0"/>
              <a:t>Picture</a:t>
            </a:r>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endParaRPr lang="nl-NL" noProof="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endParaRPr lang="nl-NL" noProof="0"/>
          </a:p>
        </p:txBody>
      </p:sp>
    </p:spTree>
    <p:extLst>
      <p:ext uri="{BB962C8B-B14F-4D97-AF65-F5344CB8AC3E}">
        <p14:creationId xmlns:p14="http://schemas.microsoft.com/office/powerpoint/2010/main" val="349578624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endParaRPr lang="nl-NL" noProof="0"/>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endParaRPr lang="nl-NL" noProof="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endParaRPr lang="nl-NL" noProof="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endParaRPr lang="nl-NL" noProof="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endParaRPr lang="nl-NL" noProof="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endParaRPr lang="nl-NL" noProof="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endParaRPr lang="nl-NL" noProof="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endParaRPr lang="nl-NL" noProof="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endParaRPr lang="nl-NL" noProof="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endParaRPr lang="nl-NL" noProof="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endParaRPr lang="nl-NL" noProof="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172431" y="1670050"/>
            <a:ext cx="2320190" cy="791465"/>
          </a:xfrm>
        </p:spPr>
        <p:txBody>
          <a:bodyPr/>
          <a:lstStyle>
            <a:lvl1pPr>
              <a:defRPr/>
            </a:lvl1pPr>
          </a:lstStyle>
          <a:p>
            <a:pPr lvl="0"/>
            <a:r>
              <a:rPr lang="nl-NL" noProof="0"/>
              <a:t>Klik om tekst in te voegen</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hasCustomPrompt="1"/>
          </p:nvPr>
        </p:nvSpPr>
        <p:spPr>
          <a:xfrm>
            <a:off x="5172431" y="2612782"/>
            <a:ext cx="2320190" cy="791465"/>
          </a:xfrm>
        </p:spPr>
        <p:txBody>
          <a:bodyPr/>
          <a:lstStyle>
            <a:lvl1pPr>
              <a:defRPr/>
            </a:lvl1pPr>
          </a:lstStyle>
          <a:p>
            <a:pPr lvl="0"/>
            <a:r>
              <a:rPr lang="nl-NL" noProof="0"/>
              <a:t>Klik om tekst in te voegen</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hasCustomPrompt="1"/>
          </p:nvPr>
        </p:nvSpPr>
        <p:spPr>
          <a:xfrm>
            <a:off x="5172431" y="3554761"/>
            <a:ext cx="2320190" cy="791465"/>
          </a:xfrm>
        </p:spPr>
        <p:txBody>
          <a:bodyPr/>
          <a:lstStyle>
            <a:lvl1pPr>
              <a:defRPr/>
            </a:lvl1pPr>
          </a:lstStyle>
          <a:p>
            <a:pPr lvl="0"/>
            <a:r>
              <a:rPr lang="nl-NL" noProof="0"/>
              <a:t>Klik om tekst in te voegen</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hasCustomPrompt="1"/>
          </p:nvPr>
        </p:nvSpPr>
        <p:spPr>
          <a:xfrm>
            <a:off x="5172431" y="4496740"/>
            <a:ext cx="2320190" cy="791465"/>
          </a:xfrm>
        </p:spPr>
        <p:txBody>
          <a:bodyPr/>
          <a:lstStyle>
            <a:lvl1pPr>
              <a:defRPr/>
            </a:lvl1pPr>
          </a:lstStyle>
          <a:p>
            <a:pPr lvl="0"/>
            <a:r>
              <a:rPr lang="nl-NL" noProof="0"/>
              <a:t>Klik om tekst in te voegen</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hasCustomPrompt="1"/>
          </p:nvPr>
        </p:nvSpPr>
        <p:spPr>
          <a:xfrm>
            <a:off x="5172431" y="5438719"/>
            <a:ext cx="2320190" cy="791465"/>
          </a:xfrm>
        </p:spPr>
        <p:txBody>
          <a:bodyPr/>
          <a:lstStyle>
            <a:lvl1pPr>
              <a:defRPr/>
            </a:lvl1pPr>
          </a:lstStyle>
          <a:p>
            <a:pPr lvl="0"/>
            <a:r>
              <a:rPr lang="nl-NL" noProof="0"/>
              <a:t>Klik om tekst in te voegen</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hasCustomPrompt="1"/>
          </p:nvPr>
        </p:nvSpPr>
        <p:spPr>
          <a:xfrm>
            <a:off x="8876823" y="1670050"/>
            <a:ext cx="2320190" cy="791465"/>
          </a:xfrm>
        </p:spPr>
        <p:txBody>
          <a:bodyPr/>
          <a:lstStyle>
            <a:lvl1pPr>
              <a:defRPr/>
            </a:lvl1pPr>
          </a:lstStyle>
          <a:p>
            <a:pPr lvl="0"/>
            <a:r>
              <a:rPr lang="nl-NL" noProof="0"/>
              <a:t>Klik om tekst in te voegen</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hasCustomPrompt="1"/>
          </p:nvPr>
        </p:nvSpPr>
        <p:spPr>
          <a:xfrm>
            <a:off x="8876823" y="2612782"/>
            <a:ext cx="2320190" cy="791465"/>
          </a:xfrm>
        </p:spPr>
        <p:txBody>
          <a:bodyPr/>
          <a:lstStyle>
            <a:lvl1pPr>
              <a:defRPr/>
            </a:lvl1pPr>
          </a:lstStyle>
          <a:p>
            <a:pPr lvl="0"/>
            <a:r>
              <a:rPr lang="nl-NL" noProof="0"/>
              <a:t>Klik om tekst in te voegen</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hasCustomPrompt="1"/>
          </p:nvPr>
        </p:nvSpPr>
        <p:spPr>
          <a:xfrm>
            <a:off x="8876823" y="3554761"/>
            <a:ext cx="2320190" cy="791465"/>
          </a:xfrm>
        </p:spPr>
        <p:txBody>
          <a:bodyPr/>
          <a:lstStyle>
            <a:lvl1pPr>
              <a:defRPr/>
            </a:lvl1pPr>
          </a:lstStyle>
          <a:p>
            <a:pPr lvl="0"/>
            <a:r>
              <a:rPr lang="nl-NL" noProof="0"/>
              <a:t>Klik om tekst in te voegen</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hasCustomPrompt="1"/>
          </p:nvPr>
        </p:nvSpPr>
        <p:spPr>
          <a:xfrm>
            <a:off x="8876823" y="4496740"/>
            <a:ext cx="2320190" cy="791465"/>
          </a:xfrm>
        </p:spPr>
        <p:txBody>
          <a:bodyPr/>
          <a:lstStyle>
            <a:lvl1pPr>
              <a:defRPr/>
            </a:lvl1pPr>
          </a:lstStyle>
          <a:p>
            <a:pPr lvl="0"/>
            <a:r>
              <a:rPr lang="nl-NL" noProof="0"/>
              <a:t>Klik om tekst in te voegen</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hasCustomPrompt="1"/>
          </p:nvPr>
        </p:nvSpPr>
        <p:spPr>
          <a:xfrm>
            <a:off x="8876823" y="5438719"/>
            <a:ext cx="2320190" cy="791465"/>
          </a:xfrm>
        </p:spPr>
        <p:txBody>
          <a:bodyPr/>
          <a:lstStyle>
            <a:lvl1pPr marL="0" marR="0" indent="0" algn="l" defTabSz="685800" rtl="0" eaLnBrk="1" fontAlgn="auto" latinLnBrk="0" hangingPunct="1">
              <a:lnSpc>
                <a:spcPct val="90000"/>
              </a:lnSpc>
              <a:spcBef>
                <a:spcPts val="750"/>
              </a:spcBef>
              <a:spcAft>
                <a:spcPts val="0"/>
              </a:spcAft>
              <a:buClr>
                <a:srgbClr val="FF0000"/>
              </a:buClr>
              <a:buSzTx/>
              <a:buFontTx/>
              <a:buNone/>
              <a:tabLst/>
              <a:defRPr/>
            </a:lvl1pPr>
          </a:lstStyle>
          <a:p>
            <a:pPr lvl="0"/>
            <a:r>
              <a:rPr lang="nl-NL" noProof="0"/>
              <a:t>Klik om tekst in te voegen</a:t>
            </a:r>
          </a:p>
        </p:txBody>
      </p:sp>
    </p:spTree>
    <p:extLst>
      <p:ext uri="{BB962C8B-B14F-4D97-AF65-F5344CB8AC3E}">
        <p14:creationId xmlns:p14="http://schemas.microsoft.com/office/powerpoint/2010/main" val="3917506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Blank Slide" type="blank">
  <p:cSld name="Blank Slide">
    <p:spTree>
      <p:nvGrpSpPr>
        <p:cNvPr id="1" name="Shape 134"/>
        <p:cNvGrpSpPr/>
        <p:nvPr/>
      </p:nvGrpSpPr>
      <p:grpSpPr>
        <a:xfrm>
          <a:off x="0" y="0"/>
          <a:ext cx="0" cy="0"/>
          <a:chOff x="0" y="0"/>
          <a:chExt cx="0" cy="0"/>
        </a:xfrm>
      </p:grpSpPr>
    </p:spTree>
    <p:extLst>
      <p:ext uri="{BB962C8B-B14F-4D97-AF65-F5344CB8AC3E}">
        <p14:creationId xmlns:p14="http://schemas.microsoft.com/office/powerpoint/2010/main" val="417843256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6_Custom Layout">
    <p:bg>
      <p:bgPr>
        <a:solidFill>
          <a:schemeClr val="bg1"/>
        </a:solidFill>
        <a:effectLst/>
      </p:bgPr>
    </p:bg>
    <p:spTree>
      <p:nvGrpSpPr>
        <p:cNvPr id="1" name=""/>
        <p:cNvGrpSpPr/>
        <p:nvPr/>
      </p:nvGrpSpPr>
      <p:grpSpPr>
        <a:xfrm>
          <a:off x="0" y="0"/>
          <a:ext cx="0" cy="0"/>
          <a:chOff x="0" y="0"/>
          <a:chExt cx="0" cy="0"/>
        </a:xfrm>
      </p:grpSpPr>
      <p:sp>
        <p:nvSpPr>
          <p:cNvPr id="39" name="Title 38">
            <a:extLst>
              <a:ext uri="{FF2B5EF4-FFF2-40B4-BE49-F238E27FC236}">
                <a16:creationId xmlns:a16="http://schemas.microsoft.com/office/drawing/2014/main" id="{AC28B45A-B09D-B94B-A517-6D69564549DA}"/>
              </a:ext>
            </a:extLst>
          </p:cNvPr>
          <p:cNvSpPr>
            <a:spLocks noGrp="1"/>
          </p:cNvSpPr>
          <p:nvPr>
            <p:ph type="title" hasCustomPrompt="1"/>
          </p:nvPr>
        </p:nvSpPr>
        <p:spPr>
          <a:xfrm>
            <a:off x="381000" y="381002"/>
            <a:ext cx="8255530" cy="513136"/>
          </a:xfrm>
        </p:spPr>
        <p:txBody>
          <a:bodyPr>
            <a:noAutofit/>
          </a:bodyPr>
          <a:lstStyle>
            <a:lvl1pPr>
              <a:defRPr kumimoji="0" lang="en-US" sz="3600" b="0" i="0" u="none" strike="noStrike" kern="1200" cap="all" spc="0" normalizeH="0" baseline="0" dirty="0">
                <a:ln>
                  <a:noFill/>
                </a:ln>
                <a:solidFill>
                  <a:srgbClr val="00BAFF"/>
                </a:solidFill>
                <a:effectLst/>
                <a:uLnTx/>
                <a:uFillTx/>
                <a:latin typeface="Graphik Black"/>
                <a:ea typeface="+mj-ea"/>
                <a:cs typeface="+mj-cs"/>
              </a:defRPr>
            </a:lvl1pPr>
          </a:lstStyle>
          <a:p>
            <a:r>
              <a:rPr lang="en-US"/>
              <a:t>SECTION</a:t>
            </a:r>
          </a:p>
        </p:txBody>
      </p:sp>
      <p:sp>
        <p:nvSpPr>
          <p:cNvPr id="41" name="Text Placeholder 40">
            <a:extLst>
              <a:ext uri="{FF2B5EF4-FFF2-40B4-BE49-F238E27FC236}">
                <a16:creationId xmlns:a16="http://schemas.microsoft.com/office/drawing/2014/main" id="{7C716E0B-F1F4-9B4C-AFC4-61F2E791A881}"/>
              </a:ext>
            </a:extLst>
          </p:cNvPr>
          <p:cNvSpPr>
            <a:spLocks noGrp="1"/>
          </p:cNvSpPr>
          <p:nvPr>
            <p:ph type="body" sz="quarter" idx="10" hasCustomPrompt="1"/>
          </p:nvPr>
        </p:nvSpPr>
        <p:spPr>
          <a:xfrm>
            <a:off x="381000" y="684759"/>
            <a:ext cx="8205788" cy="861972"/>
          </a:xfrm>
        </p:spPr>
        <p:txBody>
          <a:bodyPr>
            <a:noAutofit/>
          </a:bodyPr>
          <a:lstStyle>
            <a:lvl1pPr>
              <a:defRPr kumimoji="0" lang="en-US" sz="5400" b="0" i="0" u="none" strike="noStrike" kern="1200" cap="all" spc="0" normalizeH="0" baseline="0" noProof="0" smtClean="0">
                <a:ln>
                  <a:noFill/>
                </a:ln>
                <a:solidFill>
                  <a:schemeClr val="tx1"/>
                </a:solidFill>
                <a:effectLst/>
                <a:uLnTx/>
                <a:uFillTx/>
                <a:latin typeface="Graphik Black"/>
              </a:defRPr>
            </a:lvl1pPr>
            <a:lvl3pPr marL="0" marR="0" indent="0" algn="l" defTabSz="914377" rtl="0" eaLnBrk="1" fontAlgn="auto" latinLnBrk="0" hangingPunct="1">
              <a:lnSpc>
                <a:spcPct val="110000"/>
              </a:lnSpc>
              <a:spcBef>
                <a:spcPts val="0"/>
              </a:spcBef>
              <a:spcAft>
                <a:spcPts val="900"/>
              </a:spcAft>
              <a:buClrTx/>
              <a:buSzTx/>
              <a:buFont typeface="Arial" panose="020B0604020202020204" pitchFamily="34" charset="0"/>
              <a:buNone/>
              <a:tabLst/>
              <a:defRPr>
                <a:solidFill>
                  <a:schemeClr val="bg1"/>
                </a:solidFill>
              </a:defRPr>
            </a:lvl3pPr>
            <a:lvl4pPr>
              <a:defRPr>
                <a:solidFill>
                  <a:schemeClr val="bg1"/>
                </a:solidFill>
              </a:defRPr>
            </a:lvl4pPr>
            <a:lvl5pPr>
              <a:defRPr>
                <a:solidFill>
                  <a:schemeClr val="bg1"/>
                </a:solidFill>
              </a:defRPr>
            </a:lvl5pPr>
          </a:lstStyle>
          <a:p>
            <a:pPr lvl="0"/>
            <a:r>
              <a:rPr kumimoji="0" lang="en-US" sz="5400" b="0" i="0" u="none" strike="noStrike" kern="1200" cap="all" spc="0" normalizeH="0" baseline="0" noProof="0">
                <a:ln>
                  <a:noFill/>
                </a:ln>
                <a:solidFill>
                  <a:sysClr val="window" lastClr="FFFFFF"/>
                </a:solidFill>
                <a:effectLst/>
                <a:uLnTx/>
                <a:uFillTx/>
                <a:latin typeface="Graphik Black"/>
                <a:ea typeface="+mn-ea"/>
                <a:cs typeface="+mn-cs"/>
              </a:rPr>
              <a:t>TITLE of slide</a:t>
            </a:r>
            <a:endParaRPr lang="en-US"/>
          </a:p>
        </p:txBody>
      </p:sp>
      <p:sp>
        <p:nvSpPr>
          <p:cNvPr id="43" name="Text Placeholder 42">
            <a:extLst>
              <a:ext uri="{FF2B5EF4-FFF2-40B4-BE49-F238E27FC236}">
                <a16:creationId xmlns:a16="http://schemas.microsoft.com/office/drawing/2014/main" id="{7089BE14-F3D8-4B47-84F8-6750E3BE39C5}"/>
              </a:ext>
            </a:extLst>
          </p:cNvPr>
          <p:cNvSpPr>
            <a:spLocks noGrp="1"/>
          </p:cNvSpPr>
          <p:nvPr>
            <p:ph type="body" sz="quarter" idx="11" hasCustomPrompt="1"/>
          </p:nvPr>
        </p:nvSpPr>
        <p:spPr>
          <a:xfrm>
            <a:off x="381000" y="1546732"/>
            <a:ext cx="11430000" cy="545540"/>
          </a:xfrm>
        </p:spPr>
        <p:txBody>
          <a:bodyPr>
            <a:noAutofit/>
          </a:bodyPr>
          <a:lstStyle>
            <a:lvl1pPr marL="0" marR="0" indent="0" algn="l" defTabSz="914377" rtl="0" eaLnBrk="1" fontAlgn="auto" latinLnBrk="0" hangingPunct="1">
              <a:lnSpc>
                <a:spcPct val="90000"/>
              </a:lnSpc>
              <a:spcBef>
                <a:spcPts val="0"/>
              </a:spcBef>
              <a:spcAft>
                <a:spcPts val="0"/>
              </a:spcAft>
              <a:buClrTx/>
              <a:buSzTx/>
              <a:buFont typeface="Arial" panose="020B0604020202020204" pitchFamily="34" charset="0"/>
              <a:buNone/>
              <a:tabLst/>
              <a:defRPr lang="en-US" sz="2000" b="0" i="0" u="none" cap="none" spc="-70" smtClean="0">
                <a:solidFill>
                  <a:schemeClr val="bg1"/>
                </a:solidFill>
                <a:latin typeface="Graphik" panose="020B0503030202060203" pitchFamily="34" charset="77"/>
              </a:defRPr>
            </a:lvl1pPr>
          </a:lstStyle>
          <a:p>
            <a:pPr lvl="0"/>
            <a:r>
              <a:rPr lang="en-US"/>
              <a:t>Textbox</a:t>
            </a:r>
          </a:p>
        </p:txBody>
      </p:sp>
      <p:sp>
        <p:nvSpPr>
          <p:cNvPr id="5" name="Footer Placeholder 4">
            <a:extLst>
              <a:ext uri="{FF2B5EF4-FFF2-40B4-BE49-F238E27FC236}">
                <a16:creationId xmlns:a16="http://schemas.microsoft.com/office/drawing/2014/main" id="{964E0B76-FC6C-4E39-AC9F-56EE2FF6672F}"/>
              </a:ext>
            </a:extLst>
          </p:cNvPr>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nl-NL"/>
              <a:t>Informatiebijeenkomst 26 juli 2021 Europese Aanbesteding SVWI</a:t>
            </a:r>
            <a:endParaRPr lang="en-US" dirty="0"/>
          </a:p>
        </p:txBody>
      </p:sp>
      <p:sp>
        <p:nvSpPr>
          <p:cNvPr id="6" name="Slide Number Placeholder 5">
            <a:extLst>
              <a:ext uri="{FF2B5EF4-FFF2-40B4-BE49-F238E27FC236}">
                <a16:creationId xmlns:a16="http://schemas.microsoft.com/office/drawing/2014/main" id="{6A6A8877-9FAE-46E0-80AF-5A34215DFC01}"/>
              </a:ext>
            </a:extLst>
          </p:cNvPr>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nr.›</a:t>
            </a:fld>
            <a:endParaRPr lang="en-US" dirty="0"/>
          </a:p>
        </p:txBody>
      </p:sp>
    </p:spTree>
    <p:extLst>
      <p:ext uri="{BB962C8B-B14F-4D97-AF65-F5344CB8AC3E}">
        <p14:creationId xmlns:p14="http://schemas.microsoft.com/office/powerpoint/2010/main" val="119485597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87A99-6A65-4CEA-8DA9-D801CCDF9B7A}"/>
              </a:ext>
            </a:extLst>
          </p:cNvPr>
          <p:cNvSpPr>
            <a:spLocks noGrp="1"/>
          </p:cNvSpPr>
          <p:nvPr>
            <p:ph type="title"/>
          </p:nvPr>
        </p:nvSpPr>
        <p:spPr/>
        <p:txBody>
          <a:bodyPr/>
          <a:lstStyle>
            <a:lvl1pPr>
              <a:defRPr>
                <a:latin typeface="Corbel" panose="020B0503020204020204" pitchFamily="34" charset="0"/>
              </a:defRPr>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4BEA9C0B-85EC-4207-9B63-98685BF672C3}"/>
              </a:ext>
            </a:extLst>
          </p:cNvPr>
          <p:cNvSpPr>
            <a:spLocks noGrp="1"/>
          </p:cNvSpPr>
          <p:nvPr>
            <p:ph idx="1"/>
          </p:nvPr>
        </p:nvSpPr>
        <p:spPr/>
        <p:txBody>
          <a:bodyPr/>
          <a:lstStyle>
            <a:lvl1pPr>
              <a:defRPr>
                <a:latin typeface="Corbel" panose="020B0503020204020204" pitchFamily="34" charset="0"/>
              </a:defRPr>
            </a:lvl1pPr>
            <a:lvl2pPr>
              <a:defRPr sz="1600">
                <a:latin typeface="Corbel" panose="020B0503020204020204" pitchFamily="34" charset="0"/>
              </a:defRPr>
            </a:lvl2pPr>
            <a:lvl3pPr>
              <a:defRPr sz="1400">
                <a:latin typeface="Corbel" panose="020B0503020204020204" pitchFamily="34" charset="0"/>
              </a:defRPr>
            </a:lvl3pPr>
            <a:lvl4pPr>
              <a:defRPr sz="1200">
                <a:latin typeface="Corbel" panose="020B0503020204020204" pitchFamily="34" charset="0"/>
              </a:defRPr>
            </a:lvl4pPr>
            <a:lvl5pPr>
              <a:defRPr sz="1200">
                <a:latin typeface="Corbel" panose="020B0503020204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D13622A5-3D79-40C3-A54A-F9CB49203C8A}"/>
              </a:ext>
            </a:extLst>
          </p:cNvPr>
          <p:cNvSpPr>
            <a:spLocks noGrp="1"/>
          </p:cNvSpPr>
          <p:nvPr>
            <p:ph type="dt" sz="half" idx="10"/>
          </p:nvPr>
        </p:nvSpPr>
        <p:spPr/>
        <p:txBody>
          <a:bodyPr/>
          <a:lstStyle>
            <a:lvl1pPr>
              <a:defRPr>
                <a:latin typeface="Corbel" panose="020B0503020204020204" pitchFamily="34" charset="0"/>
              </a:defRPr>
            </a:lvl1pPr>
          </a:lstStyle>
          <a:p>
            <a:endParaRPr lang="nl-NL"/>
          </a:p>
        </p:txBody>
      </p:sp>
      <p:sp>
        <p:nvSpPr>
          <p:cNvPr id="5" name="Footer Placeholder 4">
            <a:extLst>
              <a:ext uri="{FF2B5EF4-FFF2-40B4-BE49-F238E27FC236}">
                <a16:creationId xmlns:a16="http://schemas.microsoft.com/office/drawing/2014/main" id="{64A60169-5183-43E4-9AF4-1C9698D339C1}"/>
              </a:ext>
            </a:extLst>
          </p:cNvPr>
          <p:cNvSpPr>
            <a:spLocks noGrp="1"/>
          </p:cNvSpPr>
          <p:nvPr>
            <p:ph type="ftr" sz="quarter" idx="11"/>
          </p:nvPr>
        </p:nvSpPr>
        <p:spPr/>
        <p:txBody>
          <a:bodyPr/>
          <a:lstStyle>
            <a:lvl1pPr>
              <a:defRPr>
                <a:latin typeface="Corbel" panose="020B0503020204020204" pitchFamily="34" charset="0"/>
              </a:defRPr>
            </a:lvl1pPr>
          </a:lstStyle>
          <a:p>
            <a:r>
              <a:rPr lang="nl-NL"/>
              <a:t>Informatiebijeenkomst 26 juli 2021 Europese Aanbesteding SVWI</a:t>
            </a:r>
          </a:p>
        </p:txBody>
      </p:sp>
      <p:sp>
        <p:nvSpPr>
          <p:cNvPr id="6" name="Slide Number Placeholder 5">
            <a:extLst>
              <a:ext uri="{FF2B5EF4-FFF2-40B4-BE49-F238E27FC236}">
                <a16:creationId xmlns:a16="http://schemas.microsoft.com/office/drawing/2014/main" id="{569E860E-46AE-4D68-AA20-C1F063AD0CE9}"/>
              </a:ext>
            </a:extLst>
          </p:cNvPr>
          <p:cNvSpPr>
            <a:spLocks noGrp="1"/>
          </p:cNvSpPr>
          <p:nvPr>
            <p:ph type="sldNum" sz="quarter" idx="12"/>
          </p:nvPr>
        </p:nvSpPr>
        <p:spPr/>
        <p:txBody>
          <a:bodyPr/>
          <a:lstStyle>
            <a:lvl1pPr>
              <a:defRPr>
                <a:latin typeface="Corbel" panose="020B0503020204020204" pitchFamily="34" charset="0"/>
              </a:defRPr>
            </a:lvl1pPr>
          </a:lstStyle>
          <a:p>
            <a:fld id="{5CD9AD2A-FCB7-4115-9F66-4130BEA46A92}" type="slidenum">
              <a:rPr lang="nl-NL" smtClean="0"/>
              <a:pPr/>
              <a:t>‹nr.›</a:t>
            </a:fld>
            <a:endParaRPr lang="nl-NL"/>
          </a:p>
        </p:txBody>
      </p:sp>
    </p:spTree>
    <p:extLst>
      <p:ext uri="{BB962C8B-B14F-4D97-AF65-F5344CB8AC3E}">
        <p14:creationId xmlns:p14="http://schemas.microsoft.com/office/powerpoint/2010/main" val="2810529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hasCustomPrompt="1"/>
          </p:nvPr>
        </p:nvSpPr>
        <p:spPr>
          <a:xfrm>
            <a:off x="666747"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hasCustomPrompt="1"/>
          </p:nvPr>
        </p:nvSpPr>
        <p:spPr>
          <a:xfrm>
            <a:off x="6192051"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hasCustomPrompt="1"/>
          </p:nvPr>
        </p:nvSpPr>
        <p:spPr>
          <a:xfrm>
            <a:off x="666747" y="4078538"/>
            <a:ext cx="5331600" cy="306388"/>
          </a:xfrm>
          <a:solidFill>
            <a:schemeClr val="tx2"/>
          </a:solidFill>
          <a:ln w="19050">
            <a:solidFill>
              <a:schemeClr val="accent1"/>
            </a:solidFill>
          </a:ln>
        </p:spPr>
        <p:txBody>
          <a:bodyPr vert="horz" lIns="91440" tIns="45720" rIns="91440" bIns="45720" rtlCol="0" anchor="ctr">
            <a:noAutofit/>
          </a:bodyPr>
          <a:lstStyle>
            <a:lvl1pPr>
              <a:defRPr lang="nl-NL" b="1"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hasCustomPrompt="1"/>
          </p:nvPr>
        </p:nvSpPr>
        <p:spPr>
          <a:xfrm>
            <a:off x="6192051" y="4078538"/>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52824449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8" y="1592263"/>
            <a:ext cx="10866440" cy="4716461"/>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33990604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83639501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206350" y="1592263"/>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15521423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3933374" y="1592263"/>
            <a:ext cx="7605374"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53008764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66749" y="1610863"/>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50533595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hasCustomPrompt="1"/>
          </p:nvPr>
        </p:nvSpPr>
        <p:spPr>
          <a:xfrm>
            <a:off x="666750" y="1611881"/>
            <a:ext cx="5332398" cy="247650"/>
          </a:xfrm>
        </p:spPr>
        <p:txBody>
          <a:bodyPr/>
          <a:lstStyle>
            <a:lvl1pPr>
              <a:defRPr b="1"/>
            </a:lvl1pPr>
          </a:lstStyle>
          <a:p>
            <a:pPr lvl="0"/>
            <a:r>
              <a:rPr lang="nl-NL" noProof="0"/>
              <a:t>Klik om kop toe te voegen</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206350" y="1611881"/>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7988242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hasCustomPrompt="1"/>
          </p:nvPr>
        </p:nvSpPr>
        <p:spPr>
          <a:xfrm>
            <a:off x="666747" y="1614179"/>
            <a:ext cx="5331600" cy="306388"/>
          </a:xfrm>
          <a:solidFill>
            <a:schemeClr val="tx2"/>
          </a:solidFill>
          <a:ln w="19050">
            <a:solidFill>
              <a:schemeClr val="accent1"/>
            </a:solidFill>
          </a:ln>
        </p:spPr>
        <p:txBody>
          <a:bodyPr anchor="ctr">
            <a:noAutofit/>
          </a:bodyPr>
          <a:lstStyle>
            <a:lvl1pPr algn="l">
              <a:defRPr b="1">
                <a:solidFill>
                  <a:schemeClr val="bg1"/>
                </a:solidFill>
              </a:defRPr>
            </a:lvl1pPr>
          </a:lstStyle>
          <a:p>
            <a:pPr lvl="0"/>
            <a:r>
              <a:rPr lang="nl-NL" noProof="0"/>
              <a:t>Klik om kop toe te voegen</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91440" tIns="45720" rIns="91440" bIns="4572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hasCustomPrompt="1"/>
          </p:nvPr>
        </p:nvSpPr>
        <p:spPr>
          <a:xfrm>
            <a:off x="6207148" y="1614179"/>
            <a:ext cx="5331600" cy="306388"/>
          </a:xfrm>
          <a:solidFill>
            <a:schemeClr val="tx2"/>
          </a:solidFill>
          <a:ln w="19050">
            <a:solidFill>
              <a:schemeClr val="accent1"/>
            </a:solidFill>
          </a:ln>
        </p:spPr>
        <p:txBody>
          <a:bodyPr vert="horz" lIns="91440" tIns="45720" rIns="91440" bIns="45720" rtlCol="0" anchor="ctr">
            <a:noAutofit/>
          </a:bodyPr>
          <a:lstStyle>
            <a:lvl1pPr algn="l">
              <a:defRPr lang="nl-NL" b="1" dirty="0">
                <a:solidFill>
                  <a:schemeClr val="bg1"/>
                </a:solidFill>
              </a:defRPr>
            </a:lvl1pPr>
          </a:lstStyle>
          <a:p>
            <a:pPr lvl="0"/>
            <a:r>
              <a:rPr lang="nl-NL" noProof="0"/>
              <a:t>Klik om kop toe te voegen</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91440" tIns="45720" rIns="91440" bIns="4572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03556904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99200296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hasCustomPrompt="1"/>
          </p:nvPr>
        </p:nvSpPr>
        <p:spPr>
          <a:xfrm>
            <a:off x="666750" y="1611881"/>
            <a:ext cx="3516680"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hasCustomPrompt="1"/>
          </p:nvPr>
        </p:nvSpPr>
        <p:spPr>
          <a:xfrm>
            <a:off x="4337660" y="1611881"/>
            <a:ext cx="3516680" cy="247650"/>
          </a:xfrm>
        </p:spPr>
        <p:txBody>
          <a:bodyPr/>
          <a:lstStyle>
            <a:lvl1pPr>
              <a:defRPr b="1"/>
            </a:lvl1pPr>
          </a:lstStyle>
          <a:p>
            <a:pPr lvl="0"/>
            <a:r>
              <a:rPr lang="nl-NL" noProof="0"/>
              <a:t>Klik om kop toe te voegen</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hasCustomPrompt="1"/>
          </p:nvPr>
        </p:nvSpPr>
        <p:spPr>
          <a:xfrm>
            <a:off x="8022067" y="1611881"/>
            <a:ext cx="3516680"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389196146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hasCustomPrompt="1"/>
          </p:nvPr>
        </p:nvSpPr>
        <p:spPr>
          <a:xfrm>
            <a:off x="666747"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hasCustomPrompt="1"/>
          </p:nvPr>
        </p:nvSpPr>
        <p:spPr>
          <a:xfrm>
            <a:off x="4344407"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hasCustomPrompt="1"/>
          </p:nvPr>
        </p:nvSpPr>
        <p:spPr>
          <a:xfrm>
            <a:off x="8008570"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8433053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ox (4)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91440" tIns="45720" rIns="91440" bIns="45720" rtlCol="0">
            <a:noAutofit/>
          </a:bodyPr>
          <a:lstStyle>
            <a:lvl1pPr>
              <a:defRPr lang="en-US" dirty="0"/>
            </a:lvl1pPr>
            <a:lvl2pPr marL="285750" indent="-285750">
              <a:buFont typeface="Arial" panose="020B0604020202020204" pitchFamily="34" charset="0"/>
              <a:buChar char="•"/>
              <a:defRPr lang="en-US" dirty="0"/>
            </a:lvl2pPr>
            <a:lvl3pPr>
              <a:defRPr lang="en-US" dirty="0"/>
            </a:lvl3pPr>
            <a:lvl4pPr>
              <a:defRPr lang="en-US"/>
            </a:lvl4pPr>
            <a:lvl5pPr>
              <a:defRPr lang="nl-NL"/>
            </a:lvl5pPr>
          </a:lstStyle>
          <a:p>
            <a:pPr lvl="1"/>
            <a:r>
              <a:rPr lang="nl-NL" noProof="0"/>
              <a:t>Typ hier je antwoord</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91440" tIns="45720" rIns="91440" bIns="45720" rtlCol="0">
            <a:noAutofit/>
          </a:bodyPr>
          <a:lstStyle>
            <a:lvl1pPr>
              <a:defRPr lang="en-US" dirty="0"/>
            </a:lvl1pPr>
            <a:lvl2pPr marL="285750" indent="-285750">
              <a:buFont typeface="Arial" panose="020B0604020202020204" pitchFamily="34" charset="0"/>
              <a:buChar char="•"/>
              <a:defRPr lang="en-US" dirty="0"/>
            </a:lvl2pPr>
            <a:lvl3pPr>
              <a:defRPr lang="en-US" dirty="0"/>
            </a:lvl3pPr>
            <a:lvl4pPr>
              <a:defRPr lang="en-US" dirty="0"/>
            </a:lvl4pPr>
            <a:lvl5pPr>
              <a:defRPr lang="nl-NL" dirty="0"/>
            </a:lvl5pPr>
          </a:lstStyle>
          <a:p>
            <a:pPr lvl="1"/>
            <a:r>
              <a:rPr lang="nl-NL" noProof="0"/>
              <a:t>Typ hier je antwoord</a:t>
            </a:r>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hasCustomPrompt="1"/>
          </p:nvPr>
        </p:nvSpPr>
        <p:spPr>
          <a:xfrm>
            <a:off x="666747"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hasCustomPrompt="1"/>
          </p:nvPr>
        </p:nvSpPr>
        <p:spPr>
          <a:xfrm>
            <a:off x="6192051"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hasCustomPrompt="1"/>
          </p:nvPr>
        </p:nvSpPr>
        <p:spPr>
          <a:xfrm>
            <a:off x="666747" y="4078538"/>
            <a:ext cx="5331600" cy="306388"/>
          </a:xfrm>
          <a:solidFill>
            <a:schemeClr val="tx2"/>
          </a:solidFill>
          <a:ln w="19050">
            <a:solidFill>
              <a:schemeClr val="accent1"/>
            </a:solidFill>
          </a:ln>
        </p:spPr>
        <p:txBody>
          <a:bodyPr vert="horz" lIns="91440" tIns="45720" rIns="91440" bIns="45720" rtlCol="0" anchor="ctr">
            <a:noAutofit/>
          </a:bodyPr>
          <a:lstStyle>
            <a:lvl1pPr>
              <a:defRPr lang="nl-NL" b="1"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hasCustomPrompt="1"/>
          </p:nvPr>
        </p:nvSpPr>
        <p:spPr>
          <a:xfrm>
            <a:off x="6192051" y="4078538"/>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91440" tIns="45720" rIns="91440" bIns="45720" rtlCol="0">
            <a:noAutofit/>
          </a:bodyPr>
          <a:lstStyle>
            <a:lvl1pPr>
              <a:defRPr lang="en-US" dirty="0"/>
            </a:lvl1pPr>
            <a:lvl2pPr marL="285750" indent="-285750">
              <a:buFont typeface="Arial" panose="020B0604020202020204" pitchFamily="34" charset="0"/>
              <a:buChar char="•"/>
              <a:defRPr lang="en-US" dirty="0"/>
            </a:lvl2pPr>
            <a:lvl3pPr>
              <a:defRPr lang="en-US" dirty="0"/>
            </a:lvl3pPr>
            <a:lvl4pPr>
              <a:defRPr lang="en-US"/>
            </a:lvl4pPr>
            <a:lvl5pPr>
              <a:defRPr lang="nl-NL"/>
            </a:lvl5pPr>
          </a:lstStyle>
          <a:p>
            <a:pPr lvl="1"/>
            <a:r>
              <a:rPr lang="nl-NL" noProof="0"/>
              <a:t>Typ hier je antwoord</a:t>
            </a:r>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91440" tIns="45720" rIns="91440" bIns="45720" rtlCol="0">
            <a:noAutofit/>
          </a:bodyPr>
          <a:lstStyle>
            <a:lvl1pPr>
              <a:defRPr lang="en-US" dirty="0"/>
            </a:lvl1pPr>
            <a:lvl2pPr marL="285750" indent="-285750">
              <a:buFont typeface="Arial" panose="020B0604020202020204" pitchFamily="34" charset="0"/>
              <a:buChar char="•"/>
              <a:defRPr lang="en-US" dirty="0"/>
            </a:lvl2pPr>
            <a:lvl3pPr>
              <a:defRPr lang="en-US" dirty="0"/>
            </a:lvl3pPr>
            <a:lvl4pPr>
              <a:defRPr lang="en-US" dirty="0"/>
            </a:lvl4pPr>
            <a:lvl5pPr>
              <a:defRPr lang="nl-NL" dirty="0"/>
            </a:lvl5pPr>
          </a:lstStyle>
          <a:p>
            <a:pPr lvl="1"/>
            <a:r>
              <a:rPr lang="nl-NL" noProof="0"/>
              <a:t>Typ hier je antwoord</a:t>
            </a:r>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6596448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65027006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hasCustomPrompt="1"/>
          </p:nvPr>
        </p:nvSpPr>
        <p:spPr>
          <a:xfrm>
            <a:off x="666747" y="1611881"/>
            <a:ext cx="5332398" cy="247650"/>
          </a:xfrm>
        </p:spPr>
        <p:txBody>
          <a:bodyPr/>
          <a:lstStyle>
            <a:lvl1pPr>
              <a:defRPr b="1"/>
            </a:lvl1pPr>
          </a:lstStyle>
          <a:p>
            <a:pPr lvl="0"/>
            <a:r>
              <a:rPr lang="nl-NL" noProof="0"/>
              <a:t>Klik om kop toe te voegen</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hasCustomPrompt="1"/>
          </p:nvPr>
        </p:nvSpPr>
        <p:spPr>
          <a:xfrm>
            <a:off x="6192852" y="1611881"/>
            <a:ext cx="5332398" cy="247650"/>
          </a:xfrm>
        </p:spPr>
        <p:txBody>
          <a:bodyPr/>
          <a:lstStyle>
            <a:lvl1pPr>
              <a:defRPr b="1"/>
            </a:lvl1pPr>
          </a:lstStyle>
          <a:p>
            <a:pPr lvl="0"/>
            <a:r>
              <a:rPr lang="nl-NL" noProof="0"/>
              <a:t>Klik om kop toe te voegen</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hasCustomPrompt="1"/>
          </p:nvPr>
        </p:nvSpPr>
        <p:spPr>
          <a:xfrm>
            <a:off x="666747" y="4034805"/>
            <a:ext cx="5332398"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hasCustomPrompt="1"/>
          </p:nvPr>
        </p:nvSpPr>
        <p:spPr>
          <a:xfrm>
            <a:off x="6192852" y="4034805"/>
            <a:ext cx="5332398"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361397454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hasCustomPrompt="1"/>
          </p:nvPr>
        </p:nvSpPr>
        <p:spPr>
          <a:xfrm>
            <a:off x="666747"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hasCustomPrompt="1"/>
          </p:nvPr>
        </p:nvSpPr>
        <p:spPr>
          <a:xfrm>
            <a:off x="6192051"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hasCustomPrompt="1"/>
          </p:nvPr>
        </p:nvSpPr>
        <p:spPr>
          <a:xfrm>
            <a:off x="666747" y="4078538"/>
            <a:ext cx="5331600" cy="306388"/>
          </a:xfrm>
          <a:solidFill>
            <a:schemeClr val="tx2"/>
          </a:solidFill>
          <a:ln w="19050">
            <a:solidFill>
              <a:schemeClr val="accent1"/>
            </a:solidFill>
          </a:ln>
        </p:spPr>
        <p:txBody>
          <a:bodyPr vert="horz" lIns="91440" tIns="45720" rIns="91440" bIns="45720" rtlCol="0" anchor="ctr">
            <a:noAutofit/>
          </a:bodyPr>
          <a:lstStyle>
            <a:lvl1pPr>
              <a:defRPr lang="nl-NL" b="1"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hasCustomPrompt="1"/>
          </p:nvPr>
        </p:nvSpPr>
        <p:spPr>
          <a:xfrm>
            <a:off x="6192051" y="4078538"/>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42404782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72473160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hasCustomPrompt="1"/>
          </p:nvPr>
        </p:nvSpPr>
        <p:spPr>
          <a:xfrm>
            <a:off x="666750" y="1611881"/>
            <a:ext cx="3516680" cy="247650"/>
          </a:xfrm>
        </p:spPr>
        <p:txBody>
          <a:bodyPr/>
          <a:lstStyle>
            <a:lvl1pPr>
              <a:defRPr b="1"/>
            </a:lvl1pPr>
          </a:lstStyle>
          <a:p>
            <a:pPr lvl="0"/>
            <a:r>
              <a:rPr lang="nl-NL" noProof="0"/>
              <a:t>Klik om kop toe te voegen</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hasCustomPrompt="1"/>
          </p:nvPr>
        </p:nvSpPr>
        <p:spPr>
          <a:xfrm>
            <a:off x="4337660" y="1611881"/>
            <a:ext cx="3516680" cy="247650"/>
          </a:xfrm>
        </p:spPr>
        <p:txBody>
          <a:bodyPr/>
          <a:lstStyle>
            <a:lvl1pPr>
              <a:defRPr b="1"/>
            </a:lvl1pPr>
          </a:lstStyle>
          <a:p>
            <a:pPr lvl="0"/>
            <a:r>
              <a:rPr lang="nl-NL" noProof="0"/>
              <a:t>Klik om kop toe te voegen</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hasCustomPrompt="1"/>
          </p:nvPr>
        </p:nvSpPr>
        <p:spPr>
          <a:xfrm>
            <a:off x="8022067" y="1611881"/>
            <a:ext cx="3516680" cy="247650"/>
          </a:xfrm>
        </p:spPr>
        <p:txBody>
          <a:bodyPr/>
          <a:lstStyle>
            <a:lvl1pPr>
              <a:defRPr b="1"/>
            </a:lvl1pPr>
          </a:lstStyle>
          <a:p>
            <a:pPr lvl="0"/>
            <a:r>
              <a:rPr lang="nl-NL" noProof="0"/>
              <a:t>Klik om kop toe te voegen</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hasCustomPrompt="1"/>
          </p:nvPr>
        </p:nvSpPr>
        <p:spPr>
          <a:xfrm>
            <a:off x="666750" y="4065752"/>
            <a:ext cx="3516680" cy="247650"/>
          </a:xfrm>
        </p:spPr>
        <p:txBody>
          <a:bodyPr/>
          <a:lstStyle>
            <a:lvl1pPr>
              <a:defRPr b="1"/>
            </a:lvl1pPr>
          </a:lstStyle>
          <a:p>
            <a:pPr lvl="0"/>
            <a:r>
              <a:rPr lang="nl-NL" noProof="0"/>
              <a:t>Klik om kop toe te voegen</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hasCustomPrompt="1"/>
          </p:nvPr>
        </p:nvSpPr>
        <p:spPr>
          <a:xfrm>
            <a:off x="4337660" y="4065752"/>
            <a:ext cx="3516680" cy="247650"/>
          </a:xfrm>
        </p:spPr>
        <p:txBody>
          <a:bodyPr/>
          <a:lstStyle>
            <a:lvl1pPr>
              <a:defRPr b="1"/>
            </a:lvl1pPr>
          </a:lstStyle>
          <a:p>
            <a:pPr lvl="0"/>
            <a:r>
              <a:rPr lang="nl-NL" noProof="0"/>
              <a:t>Klik om kop toe te voegen</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hasCustomPrompt="1"/>
          </p:nvPr>
        </p:nvSpPr>
        <p:spPr>
          <a:xfrm>
            <a:off x="8022067" y="4065752"/>
            <a:ext cx="3516680"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165783945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hasCustomPrompt="1"/>
          </p:nvPr>
        </p:nvSpPr>
        <p:spPr>
          <a:xfrm>
            <a:off x="666747"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hasCustomPrompt="1"/>
          </p:nvPr>
        </p:nvSpPr>
        <p:spPr>
          <a:xfrm>
            <a:off x="4344407"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hasCustomPrompt="1"/>
          </p:nvPr>
        </p:nvSpPr>
        <p:spPr>
          <a:xfrm>
            <a:off x="8008570"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hasCustomPrompt="1"/>
          </p:nvPr>
        </p:nvSpPr>
        <p:spPr>
          <a:xfrm>
            <a:off x="666747"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hasCustomPrompt="1"/>
          </p:nvPr>
        </p:nvSpPr>
        <p:spPr>
          <a:xfrm>
            <a:off x="4344407"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hasCustomPrompt="1"/>
          </p:nvPr>
        </p:nvSpPr>
        <p:spPr>
          <a:xfrm>
            <a:off x="8008570"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93414231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ver No Pic">
    <p:spTree>
      <p:nvGrpSpPr>
        <p:cNvPr id="1" name=""/>
        <p:cNvGrpSpPr/>
        <p:nvPr/>
      </p:nvGrpSpPr>
      <p:grpSpPr>
        <a:xfrm>
          <a:off x="0" y="0"/>
          <a:ext cx="0" cy="0"/>
          <a:chOff x="0" y="0"/>
          <a:chExt cx="0" cy="0"/>
        </a:xfrm>
      </p:grpSpPr>
      <p:sp>
        <p:nvSpPr>
          <p:cNvPr id="6" name="Rectangle 5"/>
          <p:cNvSpPr/>
          <p:nvPr userDrawn="1"/>
        </p:nvSpPr>
        <p:spPr>
          <a:xfrm>
            <a:off x="658813" y="0"/>
            <a:ext cx="115331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7" name="Tijdelijke aanduiding voor titel 1"/>
          <p:cNvSpPr>
            <a:spLocks noGrp="1"/>
          </p:cNvSpPr>
          <p:nvPr>
            <p:ph type="ctrTitle" hasCustomPrompt="1"/>
          </p:nvPr>
        </p:nvSpPr>
        <p:spPr>
          <a:xfrm>
            <a:off x="989445" y="1758950"/>
            <a:ext cx="9789584"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8" name="Tijdelijke aanduiding voor tekst 2"/>
          <p:cNvSpPr>
            <a:spLocks noGrp="1"/>
          </p:cNvSpPr>
          <p:nvPr>
            <p:ph type="body" idx="1" hasCustomPrompt="1"/>
          </p:nvPr>
        </p:nvSpPr>
        <p:spPr>
          <a:xfrm>
            <a:off x="989445" y="3602038"/>
            <a:ext cx="9789584"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Tree>
    <p:extLst>
      <p:ext uri="{BB962C8B-B14F-4D97-AF65-F5344CB8AC3E}">
        <p14:creationId xmlns:p14="http://schemas.microsoft.com/office/powerpoint/2010/main" val="153114114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sp>
        <p:nvSpPr>
          <p:cNvPr id="6" name="Rectangle 5"/>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
        <p:nvSpPr>
          <p:cNvPr id="9" name="Rectangle 8">
            <a:extLst>
              <a:ext uri="{FF2B5EF4-FFF2-40B4-BE49-F238E27FC236}">
                <a16:creationId xmlns:a16="http://schemas.microsoft.com/office/drawing/2014/main" id="{C8EE59D7-E2D5-4CAC-9E3A-721293572BE1}"/>
              </a:ext>
            </a:extLst>
          </p:cNvPr>
          <p:cNvSpPr/>
          <p:nvPr userDrawn="1"/>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endParaRPr lang="nl-NL" noProof="0"/>
          </a:p>
        </p:txBody>
      </p:sp>
    </p:spTree>
    <p:extLst>
      <p:ext uri="{BB962C8B-B14F-4D97-AF65-F5344CB8AC3E}">
        <p14:creationId xmlns:p14="http://schemas.microsoft.com/office/powerpoint/2010/main" val="17418144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endParaRPr lang="nl-NL" noProof="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6916882"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6916882" cy="3973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Tree>
    <p:extLst>
      <p:ext uri="{BB962C8B-B14F-4D97-AF65-F5344CB8AC3E}">
        <p14:creationId xmlns:p14="http://schemas.microsoft.com/office/powerpoint/2010/main" val="243924695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a:lstStyle>
            <a:lvl1pPr>
              <a:defRPr sz="4000" b="1" u="none"/>
            </a:lvl1pPr>
          </a:lstStyle>
          <a:p>
            <a:pPr lvl="0"/>
            <a:r>
              <a:rPr lang="nl-NL" noProof="0"/>
              <a:t>Klik om hoofdstuknummer in te voegen</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a:lstStyle>
            <a:lvl1pPr>
              <a:defRPr sz="5400" b="1">
                <a:solidFill>
                  <a:schemeClr val="tx2"/>
                </a:solidFill>
              </a:defRPr>
            </a:lvl1pPr>
          </a:lstStyle>
          <a:p>
            <a:pPr lvl="0"/>
            <a:r>
              <a:rPr lang="nl-NL" noProof="0"/>
              <a:t>Klik om hoofdstuk titel in te voegen</a:t>
            </a:r>
          </a:p>
        </p:txBody>
      </p:sp>
    </p:spTree>
    <p:extLst>
      <p:ext uri="{BB962C8B-B14F-4D97-AF65-F5344CB8AC3E}">
        <p14:creationId xmlns:p14="http://schemas.microsoft.com/office/powerpoint/2010/main" val="20718443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8220375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userDrawn="1"/>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noProof="0">
              <a:solidFill>
                <a:srgbClr val="000000"/>
              </a:solidFill>
              <a:latin typeface="Corbel" panose="020B0503020204020204" pitchFamily="34" charset="0"/>
            </a:endParaRPr>
          </a:p>
        </p:txBody>
      </p:sp>
      <p:sp>
        <p:nvSpPr>
          <p:cNvPr id="2" name="Title 1"/>
          <p:cNvSpPr>
            <a:spLocks noGrp="1"/>
          </p:cNvSpPr>
          <p:nvPr>
            <p:ph type="title" hasCustomPrompt="1"/>
          </p:nvPr>
        </p:nvSpPr>
        <p:spPr>
          <a:xfrm rot="16200000">
            <a:off x="-1789060" y="2468072"/>
            <a:ext cx="6579421" cy="1643271"/>
          </a:xfrm>
          <a:prstGeom prst="rect">
            <a:avLst/>
          </a:prstGeom>
        </p:spPr>
        <p:txBody>
          <a:bodyPr/>
          <a:lstStyle>
            <a:lvl1pPr algn="ctr">
              <a:defRPr sz="5400">
                <a:solidFill>
                  <a:schemeClr val="tx2"/>
                </a:solidFill>
              </a:defRPr>
            </a:lvl1pPr>
          </a:lstStyle>
          <a:p>
            <a:r>
              <a:rPr lang="nl-NL" noProof="0"/>
              <a:t>Klik om titel in te voegen</a:t>
            </a:r>
          </a:p>
        </p:txBody>
      </p:sp>
      <p:sp>
        <p:nvSpPr>
          <p:cNvPr id="7" name="Footer Placeholder 6"/>
          <p:cNvSpPr>
            <a:spLocks noGrp="1"/>
          </p:cNvSpPr>
          <p:nvPr>
            <p:ph type="ftr" sz="quarter" idx="13"/>
          </p:nvPr>
        </p:nvSpPr>
        <p:spPr>
          <a:xfrm>
            <a:off x="679015" y="6579420"/>
            <a:ext cx="10011773" cy="225188"/>
          </a:xfrm>
          <a:prstGeom prst="rect">
            <a:avLst/>
          </a:prstGeom>
        </p:spPr>
        <p:txBody>
          <a:bodyPr/>
          <a:lstStyle>
            <a:lvl1pPr>
              <a:defRPr sz="1000">
                <a:latin typeface="Corbel" panose="020B0503020204020204" pitchFamily="34" charset="0"/>
              </a:defRPr>
            </a:lvl1pPr>
          </a:lstStyle>
          <a:p>
            <a:r>
              <a:rPr lang="nl-NL"/>
              <a:t>Informatiebijeenkomst 26 juli 2021 Europese Aanbesteding SVWI</a:t>
            </a:r>
          </a:p>
        </p:txBody>
      </p:sp>
      <p:sp>
        <p:nvSpPr>
          <p:cNvPr id="17" name="Slide Number Placeholder 5">
            <a:extLst>
              <a:ext uri="{FF2B5EF4-FFF2-40B4-BE49-F238E27FC236}">
                <a16:creationId xmlns:a16="http://schemas.microsoft.com/office/drawing/2014/main" id="{8F05B933-2137-41C1-8E87-28DFD097E66E}"/>
              </a:ext>
            </a:extLst>
          </p:cNvPr>
          <p:cNvSpPr>
            <a:spLocks noGrp="1"/>
          </p:cNvSpPr>
          <p:nvPr>
            <p:ph type="sldNum" sz="quarter" idx="12"/>
          </p:nvPr>
        </p:nvSpPr>
        <p:spPr>
          <a:xfrm>
            <a:off x="10845404" y="6579420"/>
            <a:ext cx="813612" cy="225188"/>
          </a:xfrm>
          <a:prstGeom prst="rect">
            <a:avLst/>
          </a:prstGeom>
        </p:spPr>
        <p:txBody>
          <a:bodyPr/>
          <a:lstStyle>
            <a:lvl1pPr algn="ctr">
              <a:defRPr sz="1050">
                <a:latin typeface="Corbel" panose="020B0503020204020204" pitchFamily="34" charset="0"/>
              </a:defRPr>
            </a:lvl1pPr>
          </a:lstStyle>
          <a:p>
            <a:fld id="{9493FAB8-1E51-48C1-887E-A59978B24DF9}" type="slidenum">
              <a:rPr lang="nl-NL" noProof="0" smtClean="0"/>
              <a:pPr/>
              <a:t>‹nr.›</a:t>
            </a:fld>
            <a:endParaRPr lang="nl-NL" noProof="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Tree>
    <p:extLst>
      <p:ext uri="{BB962C8B-B14F-4D97-AF65-F5344CB8AC3E}">
        <p14:creationId xmlns:p14="http://schemas.microsoft.com/office/powerpoint/2010/main" val="1229319599"/>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endParaRPr lang="nl-NL" noProof="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a:defRPr sz="2000" b="1">
                <a:solidFill>
                  <a:srgbClr val="000000"/>
                </a:solidFill>
              </a:defRPr>
            </a:lvl1pPr>
          </a:lstStyle>
          <a:p>
            <a:pPr lvl="0"/>
            <a:r>
              <a:rPr lang="nl-NL" noProof="0"/>
              <a:t>Klik om titel in te voegen</a:t>
            </a:r>
          </a:p>
        </p:txBody>
      </p:sp>
    </p:spTree>
    <p:extLst>
      <p:ext uri="{BB962C8B-B14F-4D97-AF65-F5344CB8AC3E}">
        <p14:creationId xmlns:p14="http://schemas.microsoft.com/office/powerpoint/2010/main" val="136538841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endParaRPr lang="nl-NL" noProof="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nl-NL" noProof="0"/>
              <a:t>Klik om titel in te voegen</a:t>
            </a:r>
          </a:p>
        </p:txBody>
      </p:sp>
    </p:spTree>
    <p:extLst>
      <p:ext uri="{BB962C8B-B14F-4D97-AF65-F5344CB8AC3E}">
        <p14:creationId xmlns:p14="http://schemas.microsoft.com/office/powerpoint/2010/main" val="9022108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solidFill>
                  <a:schemeClr val="tx2"/>
                </a:solidFill>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endParaRPr lang="nl-NL" noProof="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endParaRPr lang="nl-NL" noProof="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endParaRPr lang="nl-NL" noProof="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endParaRPr lang="nl-NL" noProof="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endParaRPr lang="nl-NL" noProof="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endParaRPr lang="nl-NL" noProof="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endParaRPr lang="nl-NL" noProof="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endParaRPr lang="nl-NL" noProof="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endParaRPr lang="nl-NL" noProof="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endParaRPr lang="nl-NL" noProof="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endParaRPr lang="nl-NL" noProof="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endParaRPr lang="nl-NL" noProof="0"/>
          </a:p>
        </p:txBody>
      </p:sp>
    </p:spTree>
    <p:extLst>
      <p:ext uri="{BB962C8B-B14F-4D97-AF65-F5344CB8AC3E}">
        <p14:creationId xmlns:p14="http://schemas.microsoft.com/office/powerpoint/2010/main" val="214879799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solidFill>
                  <a:schemeClr val="tx2"/>
                </a:solidFill>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endParaRPr lang="nl-NL" noProof="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endParaRPr lang="nl-NL" noProof="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endParaRPr lang="nl-NL" noProof="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endParaRPr lang="nl-NL" noProof="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endParaRPr lang="nl-NL" noProof="0"/>
          </a:p>
        </p:txBody>
      </p:sp>
    </p:spTree>
    <p:extLst>
      <p:ext uri="{BB962C8B-B14F-4D97-AF65-F5344CB8AC3E}">
        <p14:creationId xmlns:p14="http://schemas.microsoft.com/office/powerpoint/2010/main" val="32583461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endParaRPr lang="nl-NL" noProof="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endParaRPr lang="nl-NL" noProof="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endParaRPr lang="nl-NL" noProof="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endParaRPr lang="nl-NL" noProof="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endParaRPr lang="nl-NL" noProof="0"/>
          </a:p>
        </p:txBody>
      </p:sp>
    </p:spTree>
    <p:extLst>
      <p:ext uri="{BB962C8B-B14F-4D97-AF65-F5344CB8AC3E}">
        <p14:creationId xmlns:p14="http://schemas.microsoft.com/office/powerpoint/2010/main" val="120825205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endParaRPr lang="nl-NL" noProof="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endParaRPr lang="nl-NL" noProof="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endParaRPr lang="nl-NL" noProof="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endParaRPr lang="nl-NL" noProof="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endParaRPr lang="nl-NL" noProof="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endParaRPr lang="nl-NL" noProof="0"/>
          </a:p>
        </p:txBody>
      </p:sp>
    </p:spTree>
    <p:extLst>
      <p:ext uri="{BB962C8B-B14F-4D97-AF65-F5344CB8AC3E}">
        <p14:creationId xmlns:p14="http://schemas.microsoft.com/office/powerpoint/2010/main" val="135588490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Pic (6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endParaRPr lang="nl-NL" noProof="0"/>
          </a:p>
        </p:txBody>
      </p:sp>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endParaRPr lang="nl-NL" noProof="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endParaRPr lang="nl-NL" noProof="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endParaRPr lang="nl-NL" noProof="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endParaRPr lang="nl-NL" noProof="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endParaRPr lang="nl-NL" noProof="0"/>
          </a:p>
        </p:txBody>
      </p:sp>
    </p:spTree>
    <p:extLst>
      <p:ext uri="{BB962C8B-B14F-4D97-AF65-F5344CB8AC3E}">
        <p14:creationId xmlns:p14="http://schemas.microsoft.com/office/powerpoint/2010/main" val="307428526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419369" y="1751832"/>
            <a:ext cx="1978923" cy="1978923"/>
          </a:xfrm>
          <a:prstGeom prst="ellipse">
            <a:avLst/>
          </a:prstGeom>
          <a:ln w="76200">
            <a:noFill/>
          </a:ln>
        </p:spPr>
        <p:txBody>
          <a:bodyPr/>
          <a:lstStyle>
            <a:lvl1pPr>
              <a:defRPr/>
            </a:lvl1pPr>
          </a:lstStyle>
          <a:p>
            <a:r>
              <a:rPr lang="nl-NL" noProof="0"/>
              <a:t>Picture</a:t>
            </a:r>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endParaRPr lang="nl-NL" noProof="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endParaRPr lang="nl-NL" noProof="0"/>
          </a:p>
        </p:txBody>
      </p:sp>
    </p:spTree>
    <p:extLst>
      <p:ext uri="{BB962C8B-B14F-4D97-AF65-F5344CB8AC3E}">
        <p14:creationId xmlns:p14="http://schemas.microsoft.com/office/powerpoint/2010/main" val="78533846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endParaRPr lang="nl-NL" noProof="0"/>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endParaRPr lang="nl-NL" noProof="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endParaRPr lang="nl-NL" noProof="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endParaRPr lang="nl-NL" noProof="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endParaRPr lang="nl-NL" noProof="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endParaRPr lang="nl-NL" noProof="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endParaRPr lang="nl-NL" noProof="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endParaRPr lang="nl-NL" noProof="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endParaRPr lang="nl-NL" noProof="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endParaRPr lang="nl-NL" noProof="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endParaRPr lang="nl-NL" noProof="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172431" y="1670050"/>
            <a:ext cx="2320190" cy="791465"/>
          </a:xfrm>
        </p:spPr>
        <p:txBody>
          <a:bodyPr/>
          <a:lstStyle>
            <a:lvl1pPr>
              <a:defRPr/>
            </a:lvl1pPr>
          </a:lstStyle>
          <a:p>
            <a:pPr lvl="0"/>
            <a:r>
              <a:rPr lang="nl-NL" noProof="0"/>
              <a:t>Klik om tekst in te voegen</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hasCustomPrompt="1"/>
          </p:nvPr>
        </p:nvSpPr>
        <p:spPr>
          <a:xfrm>
            <a:off x="5172431" y="2612782"/>
            <a:ext cx="2320190" cy="791465"/>
          </a:xfrm>
        </p:spPr>
        <p:txBody>
          <a:bodyPr/>
          <a:lstStyle>
            <a:lvl1pPr>
              <a:defRPr/>
            </a:lvl1pPr>
          </a:lstStyle>
          <a:p>
            <a:pPr lvl="0"/>
            <a:r>
              <a:rPr lang="nl-NL" noProof="0"/>
              <a:t>Klik om tekst in te voegen</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hasCustomPrompt="1"/>
          </p:nvPr>
        </p:nvSpPr>
        <p:spPr>
          <a:xfrm>
            <a:off x="5172431" y="3554761"/>
            <a:ext cx="2320190" cy="791465"/>
          </a:xfrm>
        </p:spPr>
        <p:txBody>
          <a:bodyPr/>
          <a:lstStyle>
            <a:lvl1pPr>
              <a:defRPr/>
            </a:lvl1pPr>
          </a:lstStyle>
          <a:p>
            <a:pPr lvl="0"/>
            <a:r>
              <a:rPr lang="nl-NL" noProof="0"/>
              <a:t>Klik om tekst in te voegen</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hasCustomPrompt="1"/>
          </p:nvPr>
        </p:nvSpPr>
        <p:spPr>
          <a:xfrm>
            <a:off x="5172431" y="4496740"/>
            <a:ext cx="2320190" cy="791465"/>
          </a:xfrm>
        </p:spPr>
        <p:txBody>
          <a:bodyPr/>
          <a:lstStyle>
            <a:lvl1pPr>
              <a:defRPr/>
            </a:lvl1pPr>
          </a:lstStyle>
          <a:p>
            <a:pPr lvl="0"/>
            <a:r>
              <a:rPr lang="nl-NL" noProof="0"/>
              <a:t>Klik om tekst in te voegen</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hasCustomPrompt="1"/>
          </p:nvPr>
        </p:nvSpPr>
        <p:spPr>
          <a:xfrm>
            <a:off x="5172431" y="5438719"/>
            <a:ext cx="2320190" cy="791465"/>
          </a:xfrm>
        </p:spPr>
        <p:txBody>
          <a:bodyPr/>
          <a:lstStyle>
            <a:lvl1pPr>
              <a:defRPr/>
            </a:lvl1pPr>
          </a:lstStyle>
          <a:p>
            <a:pPr lvl="0"/>
            <a:r>
              <a:rPr lang="nl-NL" noProof="0"/>
              <a:t>Klik om tekst in te voegen</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hasCustomPrompt="1"/>
          </p:nvPr>
        </p:nvSpPr>
        <p:spPr>
          <a:xfrm>
            <a:off x="8876823" y="1670050"/>
            <a:ext cx="2320190" cy="791465"/>
          </a:xfrm>
        </p:spPr>
        <p:txBody>
          <a:bodyPr/>
          <a:lstStyle>
            <a:lvl1pPr>
              <a:defRPr/>
            </a:lvl1pPr>
          </a:lstStyle>
          <a:p>
            <a:pPr lvl="0"/>
            <a:r>
              <a:rPr lang="nl-NL" noProof="0"/>
              <a:t>Klik om tekst in te voegen</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hasCustomPrompt="1"/>
          </p:nvPr>
        </p:nvSpPr>
        <p:spPr>
          <a:xfrm>
            <a:off x="8876823" y="2612782"/>
            <a:ext cx="2320190" cy="791465"/>
          </a:xfrm>
        </p:spPr>
        <p:txBody>
          <a:bodyPr/>
          <a:lstStyle>
            <a:lvl1pPr>
              <a:defRPr/>
            </a:lvl1pPr>
          </a:lstStyle>
          <a:p>
            <a:pPr lvl="0"/>
            <a:r>
              <a:rPr lang="nl-NL" noProof="0"/>
              <a:t>Klik om tekst in te voegen</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hasCustomPrompt="1"/>
          </p:nvPr>
        </p:nvSpPr>
        <p:spPr>
          <a:xfrm>
            <a:off x="8876823" y="3554761"/>
            <a:ext cx="2320190" cy="791465"/>
          </a:xfrm>
        </p:spPr>
        <p:txBody>
          <a:bodyPr/>
          <a:lstStyle>
            <a:lvl1pPr>
              <a:defRPr/>
            </a:lvl1pPr>
          </a:lstStyle>
          <a:p>
            <a:pPr lvl="0"/>
            <a:r>
              <a:rPr lang="nl-NL" noProof="0"/>
              <a:t>Klik om tekst in te voegen</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hasCustomPrompt="1"/>
          </p:nvPr>
        </p:nvSpPr>
        <p:spPr>
          <a:xfrm>
            <a:off x="8876823" y="4496740"/>
            <a:ext cx="2320190" cy="791465"/>
          </a:xfrm>
        </p:spPr>
        <p:txBody>
          <a:bodyPr/>
          <a:lstStyle>
            <a:lvl1pPr>
              <a:defRPr/>
            </a:lvl1pPr>
          </a:lstStyle>
          <a:p>
            <a:pPr lvl="0"/>
            <a:r>
              <a:rPr lang="nl-NL" noProof="0"/>
              <a:t>Klik om tekst in te voegen</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hasCustomPrompt="1"/>
          </p:nvPr>
        </p:nvSpPr>
        <p:spPr>
          <a:xfrm>
            <a:off x="8876823" y="5438719"/>
            <a:ext cx="2320190" cy="791465"/>
          </a:xfrm>
        </p:spPr>
        <p:txBody>
          <a:bodyPr/>
          <a:lstStyle>
            <a:lvl1pPr marL="0" marR="0" indent="0" algn="l" defTabSz="685800" rtl="0" eaLnBrk="1" fontAlgn="auto" latinLnBrk="0" hangingPunct="1">
              <a:lnSpc>
                <a:spcPct val="90000"/>
              </a:lnSpc>
              <a:spcBef>
                <a:spcPts val="750"/>
              </a:spcBef>
              <a:spcAft>
                <a:spcPts val="0"/>
              </a:spcAft>
              <a:buClr>
                <a:srgbClr val="FF0000"/>
              </a:buClr>
              <a:buSzTx/>
              <a:buFontTx/>
              <a:buNone/>
              <a:tabLst/>
              <a:defRPr/>
            </a:lvl1pPr>
          </a:lstStyle>
          <a:p>
            <a:pPr lvl="0"/>
            <a:r>
              <a:rPr lang="nl-NL" noProof="0"/>
              <a:t>Klik om tekst in te voegen</a:t>
            </a:r>
          </a:p>
        </p:txBody>
      </p:sp>
    </p:spTree>
    <p:extLst>
      <p:ext uri="{BB962C8B-B14F-4D97-AF65-F5344CB8AC3E}">
        <p14:creationId xmlns:p14="http://schemas.microsoft.com/office/powerpoint/2010/main" val="24256535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hasCustomPrompt="1"/>
          </p:nvPr>
        </p:nvSpPr>
        <p:spPr>
          <a:xfrm>
            <a:off x="666750" y="1611881"/>
            <a:ext cx="3516680" cy="247650"/>
          </a:xfrm>
        </p:spPr>
        <p:txBody>
          <a:bodyPr/>
          <a:lstStyle>
            <a:lvl1pPr>
              <a:defRPr b="1"/>
            </a:lvl1pPr>
          </a:lstStyle>
          <a:p>
            <a:pPr lvl="0"/>
            <a:r>
              <a:rPr lang="nl-NL" noProof="0"/>
              <a:t>Klik om kop toe te voegen</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hasCustomPrompt="1"/>
          </p:nvPr>
        </p:nvSpPr>
        <p:spPr>
          <a:xfrm>
            <a:off x="4337660" y="1611881"/>
            <a:ext cx="3516680" cy="247650"/>
          </a:xfrm>
        </p:spPr>
        <p:txBody>
          <a:bodyPr/>
          <a:lstStyle>
            <a:lvl1pPr>
              <a:defRPr b="1"/>
            </a:lvl1pPr>
          </a:lstStyle>
          <a:p>
            <a:pPr lvl="0"/>
            <a:r>
              <a:rPr lang="nl-NL" noProof="0"/>
              <a:t>Klik om kop toe te voegen</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hasCustomPrompt="1"/>
          </p:nvPr>
        </p:nvSpPr>
        <p:spPr>
          <a:xfrm>
            <a:off x="8022067" y="1611881"/>
            <a:ext cx="3516680" cy="247650"/>
          </a:xfrm>
        </p:spPr>
        <p:txBody>
          <a:bodyPr/>
          <a:lstStyle>
            <a:lvl1pPr>
              <a:defRPr b="1"/>
            </a:lvl1pPr>
          </a:lstStyle>
          <a:p>
            <a:pPr lvl="0"/>
            <a:r>
              <a:rPr lang="nl-NL" noProof="0"/>
              <a:t>Klik om kop toe te voegen</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hasCustomPrompt="1"/>
          </p:nvPr>
        </p:nvSpPr>
        <p:spPr>
          <a:xfrm>
            <a:off x="666750" y="4065752"/>
            <a:ext cx="3516680" cy="247650"/>
          </a:xfrm>
        </p:spPr>
        <p:txBody>
          <a:bodyPr/>
          <a:lstStyle>
            <a:lvl1pPr>
              <a:defRPr b="1"/>
            </a:lvl1pPr>
          </a:lstStyle>
          <a:p>
            <a:pPr lvl="0"/>
            <a:r>
              <a:rPr lang="nl-NL" noProof="0"/>
              <a:t>Klik om kop toe te voegen</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hasCustomPrompt="1"/>
          </p:nvPr>
        </p:nvSpPr>
        <p:spPr>
          <a:xfrm>
            <a:off x="4337660" y="4065752"/>
            <a:ext cx="3516680" cy="247650"/>
          </a:xfrm>
        </p:spPr>
        <p:txBody>
          <a:bodyPr/>
          <a:lstStyle>
            <a:lvl1pPr>
              <a:defRPr b="1"/>
            </a:lvl1pPr>
          </a:lstStyle>
          <a:p>
            <a:pPr lvl="0"/>
            <a:r>
              <a:rPr lang="nl-NL" noProof="0"/>
              <a:t>Klik om kop toe te voegen</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hasCustomPrompt="1"/>
          </p:nvPr>
        </p:nvSpPr>
        <p:spPr>
          <a:xfrm>
            <a:off x="8022067" y="4065752"/>
            <a:ext cx="3516680"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89797539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2_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59" y="1595"/>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p:nvPr/>
                    </p:nvPicPr>
                    <p:blipFill>
                      <a:blip r:embed="rId4"/>
                      <a:stretch>
                        <a:fillRect/>
                      </a:stretch>
                    </p:blipFill>
                    <p:spPr>
                      <a:xfrm>
                        <a:off x="1959" y="1595"/>
                        <a:ext cx="1953" cy="1587"/>
                      </a:xfrm>
                      <a:prstGeom prst="rect">
                        <a:avLst/>
                      </a:prstGeom>
                    </p:spPr>
                  </p:pic>
                </p:oleObj>
              </mc:Fallback>
            </mc:AlternateContent>
          </a:graphicData>
        </a:graphic>
      </p:graphicFrame>
    </p:spTree>
    <p:extLst>
      <p:ext uri="{BB962C8B-B14F-4D97-AF65-F5344CB8AC3E}">
        <p14:creationId xmlns:p14="http://schemas.microsoft.com/office/powerpoint/2010/main" val="96870886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Box (3) Charts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hasCustomPrompt="1"/>
          </p:nvPr>
        </p:nvSpPr>
        <p:spPr>
          <a:xfrm>
            <a:off x="666750" y="1611881"/>
            <a:ext cx="3516680"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hasCustomPrompt="1"/>
          </p:nvPr>
        </p:nvSpPr>
        <p:spPr>
          <a:xfrm>
            <a:off x="4337660" y="1611881"/>
            <a:ext cx="3516680" cy="247650"/>
          </a:xfrm>
        </p:spPr>
        <p:txBody>
          <a:bodyPr/>
          <a:lstStyle>
            <a:lvl1pPr>
              <a:defRPr b="1"/>
            </a:lvl1pPr>
          </a:lstStyle>
          <a:p>
            <a:pPr lvl="0"/>
            <a:r>
              <a:rPr lang="nl-NL" noProof="0"/>
              <a:t>Klik om kop toe te voegen</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hasCustomPrompt="1"/>
          </p:nvPr>
        </p:nvSpPr>
        <p:spPr>
          <a:xfrm>
            <a:off x="8022067" y="1611881"/>
            <a:ext cx="3516680" cy="247650"/>
          </a:xfrm>
        </p:spPr>
        <p:txBody>
          <a:bodyPr/>
          <a:lstStyle>
            <a:lvl1pPr>
              <a:defRPr b="1"/>
            </a:lvl1pPr>
          </a:lstStyle>
          <a:p>
            <a:pPr lvl="0"/>
            <a:r>
              <a:rPr lang="nl-NL" noProof="0"/>
              <a:t>Klik om kop toe te voegen</a:t>
            </a:r>
          </a:p>
        </p:txBody>
      </p:sp>
      <p:sp>
        <p:nvSpPr>
          <p:cNvPr id="11" name="Text Placeholder 8">
            <a:extLst>
              <a:ext uri="{FF2B5EF4-FFF2-40B4-BE49-F238E27FC236}">
                <a16:creationId xmlns:a16="http://schemas.microsoft.com/office/drawing/2014/main" id="{56D51069-A0EF-4ED9-AFB6-7C5FA0BAD0A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Tree>
    <p:extLst>
      <p:ext uri="{BB962C8B-B14F-4D97-AF65-F5344CB8AC3E}">
        <p14:creationId xmlns:p14="http://schemas.microsoft.com/office/powerpoint/2010/main" val="77641593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title">
  <p:cSld name="Titeldia rood">
    <p:spTree>
      <p:nvGrpSpPr>
        <p:cNvPr id="1" name=""/>
        <p:cNvGrpSpPr/>
        <p:nvPr/>
      </p:nvGrpSpPr>
      <p:grpSpPr>
        <a:xfrm>
          <a:off x="0" y="0"/>
          <a:ext cx="0" cy="0"/>
          <a:chOff x="0" y="0"/>
          <a:chExt cx="0" cy="0"/>
        </a:xfrm>
      </p:grpSpPr>
      <p:sp>
        <p:nvSpPr>
          <p:cNvPr id="9" name="Rectangle 5"/>
          <p:cNvSpPr>
            <a:spLocks noSelect="1" noChangeArrowheads="1"/>
          </p:cNvSpPr>
          <p:nvPr/>
        </p:nvSpPr>
        <p:spPr bwMode="ltGray">
          <a:xfrm>
            <a:off x="0" y="1"/>
            <a:ext cx="12183533" cy="6854825"/>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0" name="Rectangle 6"/>
          <p:cNvSpPr>
            <a:spLocks noSelect="1" noChangeArrowheads="1"/>
          </p:cNvSpPr>
          <p:nvPr/>
        </p:nvSpPr>
        <p:spPr bwMode="white">
          <a:xfrm>
            <a:off x="0" y="1589"/>
            <a:ext cx="1049867" cy="68548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sz="1800" dirty="0"/>
          </a:p>
        </p:txBody>
      </p:sp>
      <p:grpSp>
        <p:nvGrpSpPr>
          <p:cNvPr id="5" name="Groep 4"/>
          <p:cNvGrpSpPr>
            <a:grpSpLocks noSelect="1"/>
          </p:cNvGrpSpPr>
          <p:nvPr userDrawn="1"/>
        </p:nvGrpSpPr>
        <p:grpSpPr bwMode="black">
          <a:xfrm>
            <a:off x="243417" y="163513"/>
            <a:ext cx="3418416" cy="1447800"/>
            <a:chOff x="182563" y="163513"/>
            <a:chExt cx="2563812" cy="1447800"/>
          </a:xfrm>
        </p:grpSpPr>
        <p:sp>
          <p:nvSpPr>
            <p:cNvPr id="11" name="Freeform 7"/>
            <p:cNvSpPr>
              <a:spLocks noSelect="1"/>
            </p:cNvSpPr>
            <p:nvPr/>
          </p:nvSpPr>
          <p:spPr bwMode="black">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2" name="Freeform 8"/>
            <p:cNvSpPr>
              <a:spLocks noSelect="1"/>
            </p:cNvSpPr>
            <p:nvPr/>
          </p:nvSpPr>
          <p:spPr bwMode="black">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3" name="Freeform 9"/>
            <p:cNvSpPr>
              <a:spLocks noSelect="1"/>
            </p:cNvSpPr>
            <p:nvPr/>
          </p:nvSpPr>
          <p:spPr bwMode="black">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4" name="Freeform 10"/>
            <p:cNvSpPr>
              <a:spLocks noSelect="1"/>
            </p:cNvSpPr>
            <p:nvPr/>
          </p:nvSpPr>
          <p:spPr bwMode="black">
            <a:xfrm>
              <a:off x="1031875" y="184151"/>
              <a:ext cx="214313" cy="241300"/>
            </a:xfrm>
            <a:custGeom>
              <a:avLst/>
              <a:gdLst/>
              <a:ahLst/>
              <a:cxnLst>
                <a:cxn ang="0">
                  <a:pos x="966" y="976"/>
                </a:cxn>
                <a:cxn ang="0">
                  <a:pos x="542" y="1077"/>
                </a:cxn>
                <a:cxn ang="0">
                  <a:pos x="0" y="543"/>
                </a:cxn>
                <a:cxn ang="0">
                  <a:pos x="542" y="0"/>
                </a:cxn>
                <a:cxn ang="0">
                  <a:pos x="946" y="129"/>
                </a:cxn>
                <a:cxn ang="0">
                  <a:pos x="811" y="265"/>
                </a:cxn>
                <a:cxn ang="0">
                  <a:pos x="543" y="165"/>
                </a:cxn>
                <a:cxn ang="0">
                  <a:pos x="191" y="531"/>
                </a:cxn>
                <a:cxn ang="0">
                  <a:pos x="543" y="912"/>
                </a:cxn>
                <a:cxn ang="0">
                  <a:pos x="784" y="859"/>
                </a:cxn>
                <a:cxn ang="0">
                  <a:pos x="784" y="617"/>
                </a:cxn>
                <a:cxn ang="0">
                  <a:pos x="574" y="617"/>
                </a:cxn>
                <a:cxn ang="0">
                  <a:pos x="574" y="452"/>
                </a:cxn>
                <a:cxn ang="0">
                  <a:pos x="966" y="452"/>
                </a:cxn>
                <a:cxn ang="0">
                  <a:pos x="966" y="976"/>
                </a:cxn>
              </a:cxnLst>
              <a:rect l="0" t="0" r="r" b="b"/>
              <a:pathLst>
                <a:path w="966" h="1077">
                  <a:moveTo>
                    <a:pt x="966" y="976"/>
                  </a:moveTo>
                  <a:cubicBezTo>
                    <a:pt x="842" y="1043"/>
                    <a:pt x="700" y="1077"/>
                    <a:pt x="542" y="1077"/>
                  </a:cubicBezTo>
                  <a:cubicBezTo>
                    <a:pt x="226" y="1077"/>
                    <a:pt x="0" y="863"/>
                    <a:pt x="0" y="543"/>
                  </a:cubicBezTo>
                  <a:cubicBezTo>
                    <a:pt x="0" y="214"/>
                    <a:pt x="226" y="0"/>
                    <a:pt x="542" y="0"/>
                  </a:cubicBezTo>
                  <a:cubicBezTo>
                    <a:pt x="698" y="0"/>
                    <a:pt x="839" y="33"/>
                    <a:pt x="946" y="129"/>
                  </a:cubicBezTo>
                  <a:cubicBezTo>
                    <a:pt x="811" y="265"/>
                    <a:pt x="811" y="265"/>
                    <a:pt x="811" y="265"/>
                  </a:cubicBezTo>
                  <a:cubicBezTo>
                    <a:pt x="746" y="201"/>
                    <a:pt x="646" y="165"/>
                    <a:pt x="543" y="165"/>
                  </a:cubicBezTo>
                  <a:cubicBezTo>
                    <a:pt x="332" y="165"/>
                    <a:pt x="191" y="327"/>
                    <a:pt x="191" y="531"/>
                  </a:cubicBezTo>
                  <a:cubicBezTo>
                    <a:pt x="191" y="750"/>
                    <a:pt x="332" y="912"/>
                    <a:pt x="543" y="912"/>
                  </a:cubicBezTo>
                  <a:cubicBezTo>
                    <a:pt x="636" y="912"/>
                    <a:pt x="720" y="895"/>
                    <a:pt x="784" y="859"/>
                  </a:cubicBezTo>
                  <a:cubicBezTo>
                    <a:pt x="784" y="617"/>
                    <a:pt x="784" y="617"/>
                    <a:pt x="784" y="617"/>
                  </a:cubicBezTo>
                  <a:cubicBezTo>
                    <a:pt x="574" y="617"/>
                    <a:pt x="574" y="617"/>
                    <a:pt x="574" y="617"/>
                  </a:cubicBezTo>
                  <a:cubicBezTo>
                    <a:pt x="574" y="452"/>
                    <a:pt x="574" y="452"/>
                    <a:pt x="574" y="452"/>
                  </a:cubicBezTo>
                  <a:cubicBezTo>
                    <a:pt x="966" y="452"/>
                    <a:pt x="966" y="452"/>
                    <a:pt x="966" y="452"/>
                  </a:cubicBezTo>
                  <a:lnTo>
                    <a:pt x="966" y="9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5" name="Freeform 11"/>
            <p:cNvSpPr>
              <a:spLocks noSelect="1"/>
            </p:cNvSpPr>
            <p:nvPr/>
          </p:nvSpPr>
          <p:spPr bwMode="black">
            <a:xfrm>
              <a:off x="1284288" y="260351"/>
              <a:ext cx="157163" cy="163513"/>
            </a:xfrm>
            <a:custGeom>
              <a:avLst/>
              <a:gdLst/>
              <a:ahLst/>
              <a:cxnLst>
                <a:cxn ang="0">
                  <a:pos x="174" y="426"/>
                </a:cxn>
                <a:cxn ang="0">
                  <a:pos x="361"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1"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6" name="Freeform 12"/>
            <p:cNvSpPr>
              <a:spLocks noSelect="1"/>
            </p:cNvSpPr>
            <p:nvPr/>
          </p:nvSpPr>
          <p:spPr bwMode="black">
            <a:xfrm>
              <a:off x="1476375" y="260351"/>
              <a:ext cx="239713" cy="158750"/>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2"/>
                </a:cxn>
                <a:cxn ang="0">
                  <a:pos x="904" y="712"/>
                </a:cxn>
                <a:cxn ang="0">
                  <a:pos x="904" y="318"/>
                </a:cxn>
                <a:cxn ang="0">
                  <a:pos x="775" y="156"/>
                </a:cxn>
                <a:cxn ang="0">
                  <a:pos x="626" y="336"/>
                </a:cxn>
                <a:cxn ang="0">
                  <a:pos x="626" y="712"/>
                </a:cxn>
                <a:cxn ang="0">
                  <a:pos x="452" y="712"/>
                </a:cxn>
                <a:cxn ang="0">
                  <a:pos x="452" y="298"/>
                </a:cxn>
                <a:cxn ang="0">
                  <a:pos x="333" y="156"/>
                </a:cxn>
                <a:cxn ang="0">
                  <a:pos x="174" y="333"/>
                </a:cxn>
                <a:cxn ang="0">
                  <a:pos x="174" y="712"/>
                </a:cxn>
                <a:cxn ang="0">
                  <a:pos x="0" y="712"/>
                </a:cxn>
                <a:cxn ang="0">
                  <a:pos x="0" y="17"/>
                </a:cxn>
              </a:cxnLst>
              <a:rect l="0" t="0" r="r" b="b"/>
              <a:pathLst>
                <a:path w="1078" h="712">
                  <a:moveTo>
                    <a:pt x="0" y="17"/>
                  </a:moveTo>
                  <a:cubicBezTo>
                    <a:pt x="165" y="17"/>
                    <a:pt x="165" y="17"/>
                    <a:pt x="165" y="17"/>
                  </a:cubicBezTo>
                  <a:cubicBezTo>
                    <a:pt x="165" y="126"/>
                    <a:pt x="165" y="126"/>
                    <a:pt x="165" y="126"/>
                  </a:cubicBezTo>
                  <a:cubicBezTo>
                    <a:pt x="168" y="126"/>
                    <a:pt x="168" y="126"/>
                    <a:pt x="168" y="126"/>
                  </a:cubicBezTo>
                  <a:cubicBezTo>
                    <a:pt x="198" y="61"/>
                    <a:pt x="265" y="0"/>
                    <a:pt x="381" y="0"/>
                  </a:cubicBezTo>
                  <a:cubicBezTo>
                    <a:pt x="488" y="0"/>
                    <a:pt x="562" y="42"/>
                    <a:pt x="598" y="129"/>
                  </a:cubicBezTo>
                  <a:cubicBezTo>
                    <a:pt x="649" y="40"/>
                    <a:pt x="723" y="0"/>
                    <a:pt x="827" y="0"/>
                  </a:cubicBezTo>
                  <a:cubicBezTo>
                    <a:pt x="1013" y="0"/>
                    <a:pt x="1078" y="132"/>
                    <a:pt x="1078" y="298"/>
                  </a:cubicBezTo>
                  <a:cubicBezTo>
                    <a:pt x="1078" y="712"/>
                    <a:pt x="1078" y="712"/>
                    <a:pt x="1078" y="712"/>
                  </a:cubicBezTo>
                  <a:cubicBezTo>
                    <a:pt x="904" y="712"/>
                    <a:pt x="904" y="712"/>
                    <a:pt x="904" y="712"/>
                  </a:cubicBezTo>
                  <a:cubicBezTo>
                    <a:pt x="904" y="318"/>
                    <a:pt x="904" y="318"/>
                    <a:pt x="904" y="318"/>
                  </a:cubicBezTo>
                  <a:cubicBezTo>
                    <a:pt x="904" y="231"/>
                    <a:pt x="878" y="156"/>
                    <a:pt x="775" y="156"/>
                  </a:cubicBezTo>
                  <a:cubicBezTo>
                    <a:pt x="666" y="156"/>
                    <a:pt x="626" y="246"/>
                    <a:pt x="626" y="336"/>
                  </a:cubicBezTo>
                  <a:cubicBezTo>
                    <a:pt x="626" y="712"/>
                    <a:pt x="626" y="712"/>
                    <a:pt x="626" y="712"/>
                  </a:cubicBezTo>
                  <a:cubicBezTo>
                    <a:pt x="452" y="712"/>
                    <a:pt x="452" y="712"/>
                    <a:pt x="452" y="712"/>
                  </a:cubicBezTo>
                  <a:cubicBezTo>
                    <a:pt x="452" y="298"/>
                    <a:pt x="452" y="298"/>
                    <a:pt x="452" y="298"/>
                  </a:cubicBezTo>
                  <a:cubicBezTo>
                    <a:pt x="452" y="213"/>
                    <a:pt x="417"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7" name="Freeform 13"/>
            <p:cNvSpPr>
              <a:spLocks noSelect="1"/>
            </p:cNvSpPr>
            <p:nvPr/>
          </p:nvSpPr>
          <p:spPr bwMode="black">
            <a:xfrm>
              <a:off x="1751013" y="260351"/>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5" y="528"/>
                    <a:pt x="264" y="591"/>
                    <a:pt x="361" y="591"/>
                  </a:cubicBezTo>
                  <a:cubicBezTo>
                    <a:pt x="448" y="591"/>
                    <a:pt x="504" y="550"/>
                    <a:pt x="548"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8" name="Freeform 14"/>
            <p:cNvSpPr>
              <a:spLocks noSelect="1"/>
            </p:cNvSpPr>
            <p:nvPr/>
          </p:nvSpPr>
          <p:spPr bwMode="black">
            <a:xfrm>
              <a:off x="1936750" y="260351"/>
              <a:ext cx="157163" cy="163513"/>
            </a:xfrm>
            <a:custGeom>
              <a:avLst/>
              <a:gdLst/>
              <a:ahLst/>
              <a:cxnLst>
                <a:cxn ang="0">
                  <a:pos x="174" y="426"/>
                </a:cxn>
                <a:cxn ang="0">
                  <a:pos x="360"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8"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9" name="Freeform 15"/>
            <p:cNvSpPr>
              <a:spLocks noSelect="1"/>
            </p:cNvSpPr>
            <p:nvPr/>
          </p:nvSpPr>
          <p:spPr bwMode="black">
            <a:xfrm>
              <a:off x="2128838" y="260351"/>
              <a:ext cx="142875" cy="158750"/>
            </a:xfrm>
            <a:custGeom>
              <a:avLst/>
              <a:gdLst/>
              <a:ahLst/>
              <a:cxnLst>
                <a:cxn ang="0">
                  <a:pos x="0" y="17"/>
                </a:cxn>
                <a:cxn ang="0">
                  <a:pos x="165" y="17"/>
                </a:cxn>
                <a:cxn ang="0">
                  <a:pos x="165" y="129"/>
                </a:cxn>
                <a:cxn ang="0">
                  <a:pos x="168" y="129"/>
                </a:cxn>
                <a:cxn ang="0">
                  <a:pos x="381" y="0"/>
                </a:cxn>
                <a:cxn ang="0">
                  <a:pos x="635" y="273"/>
                </a:cxn>
                <a:cxn ang="0">
                  <a:pos x="635" y="712"/>
                </a:cxn>
                <a:cxn ang="0">
                  <a:pos x="461" y="712"/>
                </a:cxn>
                <a:cxn ang="0">
                  <a:pos x="461" y="360"/>
                </a:cxn>
                <a:cxn ang="0">
                  <a:pos x="333" y="156"/>
                </a:cxn>
                <a:cxn ang="0">
                  <a:pos x="174" y="333"/>
                </a:cxn>
                <a:cxn ang="0">
                  <a:pos x="174" y="712"/>
                </a:cxn>
                <a:cxn ang="0">
                  <a:pos x="0" y="712"/>
                </a:cxn>
                <a:cxn ang="0">
                  <a:pos x="0" y="17"/>
                </a:cxn>
              </a:cxnLst>
              <a:rect l="0" t="0" r="r" b="b"/>
              <a:pathLst>
                <a:path w="635" h="712">
                  <a:moveTo>
                    <a:pt x="0" y="17"/>
                  </a:moveTo>
                  <a:cubicBezTo>
                    <a:pt x="165" y="17"/>
                    <a:pt x="165" y="17"/>
                    <a:pt x="165" y="17"/>
                  </a:cubicBezTo>
                  <a:cubicBezTo>
                    <a:pt x="165" y="129"/>
                    <a:pt x="165" y="129"/>
                    <a:pt x="165" y="129"/>
                  </a:cubicBezTo>
                  <a:cubicBezTo>
                    <a:pt x="168" y="129"/>
                    <a:pt x="168" y="129"/>
                    <a:pt x="168" y="129"/>
                  </a:cubicBezTo>
                  <a:cubicBezTo>
                    <a:pt x="200" y="59"/>
                    <a:pt x="265" y="0"/>
                    <a:pt x="381" y="0"/>
                  </a:cubicBezTo>
                  <a:cubicBezTo>
                    <a:pt x="568" y="0"/>
                    <a:pt x="635" y="132"/>
                    <a:pt x="635" y="273"/>
                  </a:cubicBezTo>
                  <a:cubicBezTo>
                    <a:pt x="635" y="712"/>
                    <a:pt x="635" y="712"/>
                    <a:pt x="635" y="712"/>
                  </a:cubicBezTo>
                  <a:cubicBezTo>
                    <a:pt x="461" y="712"/>
                    <a:pt x="461" y="712"/>
                    <a:pt x="461" y="712"/>
                  </a:cubicBezTo>
                  <a:cubicBezTo>
                    <a:pt x="461" y="360"/>
                    <a:pt x="461" y="360"/>
                    <a:pt x="461" y="360"/>
                  </a:cubicBezTo>
                  <a:cubicBezTo>
                    <a:pt x="461" y="284"/>
                    <a:pt x="455"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0" name="Freeform 16"/>
            <p:cNvSpPr>
              <a:spLocks noSelect="1"/>
            </p:cNvSpPr>
            <p:nvPr/>
          </p:nvSpPr>
          <p:spPr bwMode="black">
            <a:xfrm>
              <a:off x="2297113" y="219076"/>
              <a:ext cx="112713" cy="204788"/>
            </a:xfrm>
            <a:custGeom>
              <a:avLst/>
              <a:gdLst/>
              <a:ahLst/>
              <a:cxnLst>
                <a:cxn ang="0">
                  <a:pos x="0" y="349"/>
                </a:cxn>
                <a:cxn ang="0">
                  <a:pos x="0" y="201"/>
                </a:cxn>
                <a:cxn ang="0">
                  <a:pos x="143" y="201"/>
                </a:cxn>
                <a:cxn ang="0">
                  <a:pos x="143" y="0"/>
                </a:cxn>
                <a:cxn ang="0">
                  <a:pos x="317" y="0"/>
                </a:cxn>
                <a:cxn ang="0">
                  <a:pos x="317" y="201"/>
                </a:cxn>
                <a:cxn ang="0">
                  <a:pos x="508" y="201"/>
                </a:cxn>
                <a:cxn ang="0">
                  <a:pos x="508" y="349"/>
                </a:cxn>
                <a:cxn ang="0">
                  <a:pos x="317" y="349"/>
                </a:cxn>
                <a:cxn ang="0">
                  <a:pos x="317" y="653"/>
                </a:cxn>
                <a:cxn ang="0">
                  <a:pos x="414" y="766"/>
                </a:cxn>
                <a:cxn ang="0">
                  <a:pos x="508" y="744"/>
                </a:cxn>
                <a:cxn ang="0">
                  <a:pos x="508" y="891"/>
                </a:cxn>
                <a:cxn ang="0">
                  <a:pos x="371" y="914"/>
                </a:cxn>
                <a:cxn ang="0">
                  <a:pos x="143" y="668"/>
                </a:cxn>
                <a:cxn ang="0">
                  <a:pos x="143" y="349"/>
                </a:cxn>
                <a:cxn ang="0">
                  <a:pos x="0" y="349"/>
                </a:cxn>
              </a:cxnLst>
              <a:rect l="0" t="0" r="r" b="b"/>
              <a:pathLst>
                <a:path w="508"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8" y="201"/>
                    <a:pt x="508" y="201"/>
                    <a:pt x="508" y="201"/>
                  </a:cubicBezTo>
                  <a:cubicBezTo>
                    <a:pt x="508" y="349"/>
                    <a:pt x="508" y="349"/>
                    <a:pt x="508" y="349"/>
                  </a:cubicBezTo>
                  <a:cubicBezTo>
                    <a:pt x="317" y="349"/>
                    <a:pt x="317" y="349"/>
                    <a:pt x="317" y="349"/>
                  </a:cubicBezTo>
                  <a:cubicBezTo>
                    <a:pt x="317" y="653"/>
                    <a:pt x="317" y="653"/>
                    <a:pt x="317" y="653"/>
                  </a:cubicBezTo>
                  <a:cubicBezTo>
                    <a:pt x="317" y="723"/>
                    <a:pt x="337" y="766"/>
                    <a:pt x="414" y="766"/>
                  </a:cubicBezTo>
                  <a:cubicBezTo>
                    <a:pt x="444" y="766"/>
                    <a:pt x="486" y="760"/>
                    <a:pt x="508" y="744"/>
                  </a:cubicBezTo>
                  <a:cubicBezTo>
                    <a:pt x="508" y="891"/>
                    <a:pt x="508" y="891"/>
                    <a:pt x="508" y="891"/>
                  </a:cubicBezTo>
                  <a:cubicBezTo>
                    <a:pt x="472" y="908"/>
                    <a:pt x="411" y="914"/>
                    <a:pt x="371" y="914"/>
                  </a:cubicBezTo>
                  <a:cubicBezTo>
                    <a:pt x="186"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1" name="Freeform 17"/>
            <p:cNvSpPr>
              <a:spLocks noSelect="1"/>
            </p:cNvSpPr>
            <p:nvPr/>
          </p:nvSpPr>
          <p:spPr bwMode="black">
            <a:xfrm>
              <a:off x="2433638" y="260351"/>
              <a:ext cx="157163" cy="163513"/>
            </a:xfrm>
            <a:custGeom>
              <a:avLst/>
              <a:gdLst/>
              <a:ahLst/>
              <a:cxnLst>
                <a:cxn ang="0">
                  <a:pos x="173" y="426"/>
                </a:cxn>
                <a:cxn ang="0">
                  <a:pos x="360" y="591"/>
                </a:cxn>
                <a:cxn ang="0">
                  <a:pos x="547" y="497"/>
                </a:cxn>
                <a:cxn ang="0">
                  <a:pos x="672" y="591"/>
                </a:cxn>
                <a:cxn ang="0">
                  <a:pos x="378" y="730"/>
                </a:cxn>
                <a:cxn ang="0">
                  <a:pos x="0" y="365"/>
                </a:cxn>
                <a:cxn ang="0">
                  <a:pos x="378" y="0"/>
                </a:cxn>
                <a:cxn ang="0">
                  <a:pos x="704" y="378"/>
                </a:cxn>
                <a:cxn ang="0">
                  <a:pos x="704" y="426"/>
                </a:cxn>
                <a:cxn ang="0">
                  <a:pos x="173" y="426"/>
                </a:cxn>
                <a:cxn ang="0">
                  <a:pos x="530" y="295"/>
                </a:cxn>
                <a:cxn ang="0">
                  <a:pos x="353" y="130"/>
                </a:cxn>
                <a:cxn ang="0">
                  <a:pos x="173" y="295"/>
                </a:cxn>
                <a:cxn ang="0">
                  <a:pos x="530" y="295"/>
                </a:cxn>
              </a:cxnLst>
              <a:rect l="0" t="0" r="r" b="b"/>
              <a:pathLst>
                <a:path w="704" h="730">
                  <a:moveTo>
                    <a:pt x="173"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3" y="426"/>
                  </a:lnTo>
                  <a:close/>
                  <a:moveTo>
                    <a:pt x="530" y="295"/>
                  </a:moveTo>
                  <a:cubicBezTo>
                    <a:pt x="528" y="194"/>
                    <a:pt x="462" y="130"/>
                    <a:pt x="353" y="130"/>
                  </a:cubicBezTo>
                  <a:cubicBezTo>
                    <a:pt x="250" y="130"/>
                    <a:pt x="186" y="195"/>
                    <a:pt x="173"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2" name="Freeform 18"/>
            <p:cNvSpPr>
              <a:spLocks noSelect="1"/>
            </p:cNvSpPr>
            <p:nvPr/>
          </p:nvSpPr>
          <p:spPr bwMode="black">
            <a:xfrm>
              <a:off x="1017588" y="530226"/>
              <a:ext cx="233363" cy="230188"/>
            </a:xfrm>
            <a:custGeom>
              <a:avLst/>
              <a:gdLst/>
              <a:ahLst/>
              <a:cxnLst>
                <a:cxn ang="0">
                  <a:pos x="63" y="0"/>
                </a:cxn>
                <a:cxn ang="0">
                  <a:pos x="85" y="0"/>
                </a:cxn>
                <a:cxn ang="0">
                  <a:pos x="147" y="145"/>
                </a:cxn>
                <a:cxn ang="0">
                  <a:pos x="118" y="145"/>
                </a:cxn>
                <a:cxn ang="0">
                  <a:pos x="105" y="112"/>
                </a:cxn>
                <a:cxn ang="0">
                  <a:pos x="42" y="112"/>
                </a:cxn>
                <a:cxn ang="0">
                  <a:pos x="29" y="145"/>
                </a:cxn>
                <a:cxn ang="0">
                  <a:pos x="0" y="145"/>
                </a:cxn>
                <a:cxn ang="0">
                  <a:pos x="63" y="0"/>
                </a:cxn>
                <a:cxn ang="0">
                  <a:pos x="96" y="90"/>
                </a:cxn>
                <a:cxn ang="0">
                  <a:pos x="74" y="31"/>
                </a:cxn>
                <a:cxn ang="0">
                  <a:pos x="51" y="90"/>
                </a:cxn>
                <a:cxn ang="0">
                  <a:pos x="96" y="90"/>
                </a:cxn>
              </a:cxnLst>
              <a:rect l="0" t="0" r="r" b="b"/>
              <a:pathLst>
                <a:path w="147" h="145">
                  <a:moveTo>
                    <a:pt x="63" y="0"/>
                  </a:moveTo>
                  <a:lnTo>
                    <a:pt x="85" y="0"/>
                  </a:lnTo>
                  <a:lnTo>
                    <a:pt x="147" y="145"/>
                  </a:lnTo>
                  <a:lnTo>
                    <a:pt x="118" y="145"/>
                  </a:lnTo>
                  <a:lnTo>
                    <a:pt x="105" y="112"/>
                  </a:lnTo>
                  <a:lnTo>
                    <a:pt x="42" y="112"/>
                  </a:lnTo>
                  <a:lnTo>
                    <a:pt x="29" y="145"/>
                  </a:lnTo>
                  <a:lnTo>
                    <a:pt x="0" y="145"/>
                  </a:lnTo>
                  <a:lnTo>
                    <a:pt x="63" y="0"/>
                  </a:lnTo>
                  <a:close/>
                  <a:moveTo>
                    <a:pt x="96" y="90"/>
                  </a:moveTo>
                  <a:lnTo>
                    <a:pt x="74" y="31"/>
                  </a:lnTo>
                  <a:lnTo>
                    <a:pt x="51" y="90"/>
                  </a:lnTo>
                  <a:lnTo>
                    <a:pt x="96" y="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3" name="Freeform 19"/>
            <p:cNvSpPr>
              <a:spLocks noSelect="1"/>
            </p:cNvSpPr>
            <p:nvPr/>
          </p:nvSpPr>
          <p:spPr bwMode="black">
            <a:xfrm>
              <a:off x="1271588" y="600076"/>
              <a:ext cx="241300" cy="160338"/>
            </a:xfrm>
            <a:custGeom>
              <a:avLst/>
              <a:gdLst/>
              <a:ahLst/>
              <a:cxnLst>
                <a:cxn ang="0">
                  <a:pos x="0" y="17"/>
                </a:cxn>
                <a:cxn ang="0">
                  <a:pos x="165" y="17"/>
                </a:cxn>
                <a:cxn ang="0">
                  <a:pos x="165" y="126"/>
                </a:cxn>
                <a:cxn ang="0">
                  <a:pos x="168" y="126"/>
                </a:cxn>
                <a:cxn ang="0">
                  <a:pos x="381" y="0"/>
                </a:cxn>
                <a:cxn ang="0">
                  <a:pos x="599"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9"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7"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4" name="Freeform 20"/>
            <p:cNvSpPr>
              <a:spLocks noSelect="1"/>
            </p:cNvSpPr>
            <p:nvPr/>
          </p:nvSpPr>
          <p:spPr bwMode="black">
            <a:xfrm>
              <a:off x="1541463" y="600076"/>
              <a:ext cx="127000" cy="163513"/>
            </a:xfrm>
            <a:custGeom>
              <a:avLst/>
              <a:gdLst/>
              <a:ahLst/>
              <a:cxnLst>
                <a:cxn ang="0">
                  <a:pos x="433" y="210"/>
                </a:cxn>
                <a:cxn ang="0">
                  <a:pos x="297" y="139"/>
                </a:cxn>
                <a:cxn ang="0">
                  <a:pos x="195" y="213"/>
                </a:cxn>
                <a:cxn ang="0">
                  <a:pos x="570" y="507"/>
                </a:cxn>
                <a:cxn ang="0">
                  <a:pos x="271" y="730"/>
                </a:cxn>
                <a:cxn ang="0">
                  <a:pos x="0" y="623"/>
                </a:cxn>
                <a:cxn ang="0">
                  <a:pos x="116" y="514"/>
                </a:cxn>
                <a:cxn ang="0">
                  <a:pos x="281" y="600"/>
                </a:cxn>
                <a:cxn ang="0">
                  <a:pos x="397" y="520"/>
                </a:cxn>
                <a:cxn ang="0">
                  <a:pos x="21" y="224"/>
                </a:cxn>
                <a:cxn ang="0">
                  <a:pos x="301" y="0"/>
                </a:cxn>
                <a:cxn ang="0">
                  <a:pos x="549" y="106"/>
                </a:cxn>
                <a:cxn ang="0">
                  <a:pos x="433" y="210"/>
                </a:cxn>
              </a:cxnLst>
              <a:rect l="0" t="0" r="r" b="b"/>
              <a:pathLst>
                <a:path w="570" h="730">
                  <a:moveTo>
                    <a:pt x="433" y="210"/>
                  </a:moveTo>
                  <a:cubicBezTo>
                    <a:pt x="399" y="164"/>
                    <a:pt x="356" y="139"/>
                    <a:pt x="297" y="139"/>
                  </a:cubicBezTo>
                  <a:cubicBezTo>
                    <a:pt x="250" y="139"/>
                    <a:pt x="195" y="161"/>
                    <a:pt x="195" y="213"/>
                  </a:cubicBezTo>
                  <a:cubicBezTo>
                    <a:pt x="195" y="337"/>
                    <a:pt x="570" y="236"/>
                    <a:pt x="570" y="507"/>
                  </a:cubicBezTo>
                  <a:cubicBezTo>
                    <a:pt x="570" y="672"/>
                    <a:pt x="413" y="730"/>
                    <a:pt x="271" y="730"/>
                  </a:cubicBezTo>
                  <a:cubicBezTo>
                    <a:pt x="163" y="730"/>
                    <a:pt x="71" y="702"/>
                    <a:pt x="0" y="623"/>
                  </a:cubicBezTo>
                  <a:cubicBezTo>
                    <a:pt x="116" y="514"/>
                    <a:pt x="116" y="514"/>
                    <a:pt x="116" y="514"/>
                  </a:cubicBezTo>
                  <a:cubicBezTo>
                    <a:pt x="161" y="563"/>
                    <a:pt x="207" y="600"/>
                    <a:pt x="281" y="600"/>
                  </a:cubicBezTo>
                  <a:cubicBezTo>
                    <a:pt x="331" y="600"/>
                    <a:pt x="397" y="575"/>
                    <a:pt x="397" y="520"/>
                  </a:cubicBezTo>
                  <a:cubicBezTo>
                    <a:pt x="397" y="376"/>
                    <a:pt x="21" y="489"/>
                    <a:pt x="21" y="224"/>
                  </a:cubicBezTo>
                  <a:cubicBezTo>
                    <a:pt x="21" y="69"/>
                    <a:pt x="161" y="0"/>
                    <a:pt x="301" y="0"/>
                  </a:cubicBezTo>
                  <a:cubicBezTo>
                    <a:pt x="394" y="0"/>
                    <a:pt x="492" y="29"/>
                    <a:pt x="549" y="106"/>
                  </a:cubicBezTo>
                  <a:lnTo>
                    <a:pt x="433" y="2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5" name="Freeform 21"/>
            <p:cNvSpPr>
              <a:spLocks noSelect="1"/>
            </p:cNvSpPr>
            <p:nvPr/>
          </p:nvSpPr>
          <p:spPr bwMode="black">
            <a:xfrm>
              <a:off x="1679575" y="560388"/>
              <a:ext cx="114300" cy="203200"/>
            </a:xfrm>
            <a:custGeom>
              <a:avLst/>
              <a:gdLst/>
              <a:ahLst/>
              <a:cxnLst>
                <a:cxn ang="0">
                  <a:pos x="0" y="349"/>
                </a:cxn>
                <a:cxn ang="0">
                  <a:pos x="0" y="201"/>
                </a:cxn>
                <a:cxn ang="0">
                  <a:pos x="143" y="201"/>
                </a:cxn>
                <a:cxn ang="0">
                  <a:pos x="143" y="0"/>
                </a:cxn>
                <a:cxn ang="0">
                  <a:pos x="317" y="0"/>
                </a:cxn>
                <a:cxn ang="0">
                  <a:pos x="317" y="201"/>
                </a:cxn>
                <a:cxn ang="0">
                  <a:pos x="509" y="201"/>
                </a:cxn>
                <a:cxn ang="0">
                  <a:pos x="509" y="349"/>
                </a:cxn>
                <a:cxn ang="0">
                  <a:pos x="317" y="349"/>
                </a:cxn>
                <a:cxn ang="0">
                  <a:pos x="317" y="653"/>
                </a:cxn>
                <a:cxn ang="0">
                  <a:pos x="414" y="766"/>
                </a:cxn>
                <a:cxn ang="0">
                  <a:pos x="509" y="744"/>
                </a:cxn>
                <a:cxn ang="0">
                  <a:pos x="509" y="891"/>
                </a:cxn>
                <a:cxn ang="0">
                  <a:pos x="371" y="914"/>
                </a:cxn>
                <a:cxn ang="0">
                  <a:pos x="143" y="668"/>
                </a:cxn>
                <a:cxn ang="0">
                  <a:pos x="143" y="349"/>
                </a:cxn>
                <a:cxn ang="0">
                  <a:pos x="0" y="349"/>
                </a:cxn>
              </a:cxnLst>
              <a:rect l="0" t="0" r="r" b="b"/>
              <a:pathLst>
                <a:path w="509"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9" y="201"/>
                    <a:pt x="509" y="201"/>
                    <a:pt x="509" y="201"/>
                  </a:cubicBezTo>
                  <a:cubicBezTo>
                    <a:pt x="509" y="349"/>
                    <a:pt x="509" y="349"/>
                    <a:pt x="509" y="349"/>
                  </a:cubicBezTo>
                  <a:cubicBezTo>
                    <a:pt x="317" y="349"/>
                    <a:pt x="317" y="349"/>
                    <a:pt x="317" y="349"/>
                  </a:cubicBezTo>
                  <a:cubicBezTo>
                    <a:pt x="317" y="653"/>
                    <a:pt x="317" y="653"/>
                    <a:pt x="317" y="653"/>
                  </a:cubicBezTo>
                  <a:cubicBezTo>
                    <a:pt x="317" y="723"/>
                    <a:pt x="338" y="766"/>
                    <a:pt x="414" y="766"/>
                  </a:cubicBezTo>
                  <a:cubicBezTo>
                    <a:pt x="445" y="766"/>
                    <a:pt x="487" y="760"/>
                    <a:pt x="509" y="744"/>
                  </a:cubicBezTo>
                  <a:cubicBezTo>
                    <a:pt x="509" y="891"/>
                    <a:pt x="509" y="891"/>
                    <a:pt x="509" y="891"/>
                  </a:cubicBezTo>
                  <a:cubicBezTo>
                    <a:pt x="472" y="908"/>
                    <a:pt x="412" y="914"/>
                    <a:pt x="371" y="914"/>
                  </a:cubicBezTo>
                  <a:cubicBezTo>
                    <a:pt x="187"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6" name="Freeform 22"/>
            <p:cNvSpPr>
              <a:spLocks noSelect="1"/>
            </p:cNvSpPr>
            <p:nvPr/>
          </p:nvSpPr>
          <p:spPr bwMode="black">
            <a:xfrm>
              <a:off x="1816100" y="600076"/>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6" y="529"/>
                    <a:pt x="264" y="591"/>
                    <a:pt x="361" y="591"/>
                  </a:cubicBezTo>
                  <a:cubicBezTo>
                    <a:pt x="448" y="591"/>
                    <a:pt x="504" y="550"/>
                    <a:pt x="548" y="497"/>
                  </a:cubicBezTo>
                  <a:cubicBezTo>
                    <a:pt x="672" y="591"/>
                    <a:pt x="672" y="591"/>
                    <a:pt x="672" y="591"/>
                  </a:cubicBezTo>
                  <a:cubicBezTo>
                    <a:pt x="591" y="691"/>
                    <a:pt x="488" y="730"/>
                    <a:pt x="378" y="730"/>
                  </a:cubicBezTo>
                  <a:cubicBezTo>
                    <a:pt x="168" y="730"/>
                    <a:pt x="0" y="584"/>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7" name="Freeform 23"/>
            <p:cNvSpPr>
              <a:spLocks noSelect="1"/>
            </p:cNvSpPr>
            <p:nvPr/>
          </p:nvSpPr>
          <p:spPr bwMode="black">
            <a:xfrm>
              <a:off x="2009775" y="600076"/>
              <a:ext cx="98425" cy="160338"/>
            </a:xfrm>
            <a:custGeom>
              <a:avLst/>
              <a:gdLst/>
              <a:ahLst/>
              <a:cxnLst>
                <a:cxn ang="0">
                  <a:pos x="0" y="17"/>
                </a:cxn>
                <a:cxn ang="0">
                  <a:pos x="174" y="17"/>
                </a:cxn>
                <a:cxn ang="0">
                  <a:pos x="174" y="127"/>
                </a:cxn>
                <a:cxn ang="0">
                  <a:pos x="177" y="127"/>
                </a:cxn>
                <a:cxn ang="0">
                  <a:pos x="383" y="0"/>
                </a:cxn>
                <a:cxn ang="0">
                  <a:pos x="445" y="10"/>
                </a:cxn>
                <a:cxn ang="0">
                  <a:pos x="445" y="178"/>
                </a:cxn>
                <a:cxn ang="0">
                  <a:pos x="361" y="165"/>
                </a:cxn>
                <a:cxn ang="0">
                  <a:pos x="174" y="340"/>
                </a:cxn>
                <a:cxn ang="0">
                  <a:pos x="174" y="713"/>
                </a:cxn>
                <a:cxn ang="0">
                  <a:pos x="0" y="713"/>
                </a:cxn>
                <a:cxn ang="0">
                  <a:pos x="0" y="17"/>
                </a:cxn>
              </a:cxnLst>
              <a:rect l="0" t="0" r="r" b="b"/>
              <a:pathLst>
                <a:path w="445" h="713">
                  <a:moveTo>
                    <a:pt x="0" y="17"/>
                  </a:moveTo>
                  <a:cubicBezTo>
                    <a:pt x="174" y="17"/>
                    <a:pt x="174" y="17"/>
                    <a:pt x="174" y="17"/>
                  </a:cubicBezTo>
                  <a:cubicBezTo>
                    <a:pt x="174" y="127"/>
                    <a:pt x="174" y="127"/>
                    <a:pt x="174" y="127"/>
                  </a:cubicBezTo>
                  <a:cubicBezTo>
                    <a:pt x="177" y="127"/>
                    <a:pt x="177" y="127"/>
                    <a:pt x="177" y="127"/>
                  </a:cubicBezTo>
                  <a:cubicBezTo>
                    <a:pt x="215" y="48"/>
                    <a:pt x="292" y="0"/>
                    <a:pt x="383" y="0"/>
                  </a:cubicBezTo>
                  <a:cubicBezTo>
                    <a:pt x="405" y="0"/>
                    <a:pt x="425" y="4"/>
                    <a:pt x="445" y="10"/>
                  </a:cubicBezTo>
                  <a:cubicBezTo>
                    <a:pt x="445" y="178"/>
                    <a:pt x="445" y="178"/>
                    <a:pt x="445" y="178"/>
                  </a:cubicBezTo>
                  <a:cubicBezTo>
                    <a:pt x="416" y="171"/>
                    <a:pt x="389" y="165"/>
                    <a:pt x="361" y="165"/>
                  </a:cubicBezTo>
                  <a:cubicBezTo>
                    <a:pt x="198" y="165"/>
                    <a:pt x="174" y="303"/>
                    <a:pt x="174" y="340"/>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8" name="Freeform 24"/>
            <p:cNvSpPr>
              <a:spLocks noSelect="1"/>
            </p:cNvSpPr>
            <p:nvPr/>
          </p:nvSpPr>
          <p:spPr bwMode="black">
            <a:xfrm>
              <a:off x="2122488" y="515938"/>
              <a:ext cx="166688" cy="247650"/>
            </a:xfrm>
            <a:custGeom>
              <a:avLst/>
              <a:gdLst/>
              <a:ahLst/>
              <a:cxnLst>
                <a:cxn ang="0">
                  <a:pos x="585" y="991"/>
                </a:cxn>
                <a:cxn ang="0">
                  <a:pos x="582" y="991"/>
                </a:cxn>
                <a:cxn ang="0">
                  <a:pos x="343" y="1113"/>
                </a:cxn>
                <a:cxn ang="0">
                  <a:pos x="0" y="748"/>
                </a:cxn>
                <a:cxn ang="0">
                  <a:pos x="336" y="383"/>
                </a:cxn>
                <a:cxn ang="0">
                  <a:pos x="572" y="489"/>
                </a:cxn>
                <a:cxn ang="0">
                  <a:pos x="576" y="489"/>
                </a:cxn>
                <a:cxn ang="0">
                  <a:pos x="576" y="0"/>
                </a:cxn>
                <a:cxn ang="0">
                  <a:pos x="750" y="0"/>
                </a:cxn>
                <a:cxn ang="0">
                  <a:pos x="750" y="1096"/>
                </a:cxn>
                <a:cxn ang="0">
                  <a:pos x="585" y="1096"/>
                </a:cxn>
                <a:cxn ang="0">
                  <a:pos x="585" y="991"/>
                </a:cxn>
                <a:cxn ang="0">
                  <a:pos x="378" y="956"/>
                </a:cxn>
                <a:cxn ang="0">
                  <a:pos x="582" y="748"/>
                </a:cxn>
                <a:cxn ang="0">
                  <a:pos x="378" y="539"/>
                </a:cxn>
                <a:cxn ang="0">
                  <a:pos x="174" y="748"/>
                </a:cxn>
                <a:cxn ang="0">
                  <a:pos x="378" y="956"/>
                </a:cxn>
              </a:cxnLst>
              <a:rect l="0" t="0" r="r" b="b"/>
              <a:pathLst>
                <a:path w="750" h="1113">
                  <a:moveTo>
                    <a:pt x="585" y="991"/>
                  </a:moveTo>
                  <a:cubicBezTo>
                    <a:pt x="582" y="991"/>
                    <a:pt x="582" y="991"/>
                    <a:pt x="582" y="991"/>
                  </a:cubicBezTo>
                  <a:cubicBezTo>
                    <a:pt x="531" y="1075"/>
                    <a:pt x="440" y="1113"/>
                    <a:pt x="343" y="1113"/>
                  </a:cubicBezTo>
                  <a:cubicBezTo>
                    <a:pt x="129" y="1113"/>
                    <a:pt x="0" y="954"/>
                    <a:pt x="0" y="748"/>
                  </a:cubicBezTo>
                  <a:cubicBezTo>
                    <a:pt x="0" y="542"/>
                    <a:pt x="137" y="383"/>
                    <a:pt x="336" y="383"/>
                  </a:cubicBezTo>
                  <a:cubicBezTo>
                    <a:pt x="466" y="383"/>
                    <a:pt x="536" y="444"/>
                    <a:pt x="572" y="489"/>
                  </a:cubicBezTo>
                  <a:cubicBezTo>
                    <a:pt x="576" y="489"/>
                    <a:pt x="576" y="489"/>
                    <a:pt x="576" y="489"/>
                  </a:cubicBezTo>
                  <a:cubicBezTo>
                    <a:pt x="576" y="0"/>
                    <a:pt x="576" y="0"/>
                    <a:pt x="576" y="0"/>
                  </a:cubicBezTo>
                  <a:cubicBezTo>
                    <a:pt x="750" y="0"/>
                    <a:pt x="750" y="0"/>
                    <a:pt x="750" y="0"/>
                  </a:cubicBezTo>
                  <a:cubicBezTo>
                    <a:pt x="750" y="1096"/>
                    <a:pt x="750" y="1096"/>
                    <a:pt x="750" y="1096"/>
                  </a:cubicBezTo>
                  <a:cubicBezTo>
                    <a:pt x="585" y="1096"/>
                    <a:pt x="585" y="1096"/>
                    <a:pt x="585" y="1096"/>
                  </a:cubicBezTo>
                  <a:lnTo>
                    <a:pt x="585" y="991"/>
                  </a:lnTo>
                  <a:close/>
                  <a:moveTo>
                    <a:pt x="378" y="956"/>
                  </a:moveTo>
                  <a:cubicBezTo>
                    <a:pt x="505" y="956"/>
                    <a:pt x="582" y="857"/>
                    <a:pt x="582" y="748"/>
                  </a:cubicBezTo>
                  <a:cubicBezTo>
                    <a:pt x="582" y="639"/>
                    <a:pt x="505" y="539"/>
                    <a:pt x="378" y="539"/>
                  </a:cubicBezTo>
                  <a:cubicBezTo>
                    <a:pt x="250" y="539"/>
                    <a:pt x="174" y="639"/>
                    <a:pt x="174" y="748"/>
                  </a:cubicBezTo>
                  <a:cubicBezTo>
                    <a:pt x="174" y="857"/>
                    <a:pt x="250" y="956"/>
                    <a:pt x="378" y="956"/>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9" name="Freeform 25"/>
            <p:cNvSpPr>
              <a:spLocks noSelect="1"/>
            </p:cNvSpPr>
            <p:nvPr/>
          </p:nvSpPr>
          <p:spPr bwMode="black">
            <a:xfrm>
              <a:off x="2322513" y="600076"/>
              <a:ext cx="142875" cy="163513"/>
            </a:xfrm>
            <a:custGeom>
              <a:avLst/>
              <a:gdLst/>
              <a:ahLst/>
              <a:cxnLst>
                <a:cxn ang="0">
                  <a:pos x="481" y="617"/>
                </a:cxn>
                <a:cxn ang="0">
                  <a:pos x="477" y="617"/>
                </a:cxn>
                <a:cxn ang="0">
                  <a:pos x="254" y="730"/>
                </a:cxn>
                <a:cxn ang="0">
                  <a:pos x="0" y="521"/>
                </a:cxn>
                <a:cxn ang="0">
                  <a:pos x="437" y="279"/>
                </a:cxn>
                <a:cxn ang="0">
                  <a:pos x="481" y="279"/>
                </a:cxn>
                <a:cxn ang="0">
                  <a:pos x="481" y="261"/>
                </a:cxn>
                <a:cxn ang="0">
                  <a:pos x="322" y="130"/>
                </a:cxn>
                <a:cxn ang="0">
                  <a:pos x="136" y="203"/>
                </a:cxn>
                <a:cxn ang="0">
                  <a:pos x="45" y="111"/>
                </a:cxn>
                <a:cxn ang="0">
                  <a:pos x="340" y="0"/>
                </a:cxn>
                <a:cxn ang="0">
                  <a:pos x="637" y="313"/>
                </a:cxn>
                <a:cxn ang="0">
                  <a:pos x="637" y="713"/>
                </a:cxn>
                <a:cxn ang="0">
                  <a:pos x="481" y="713"/>
                </a:cxn>
                <a:cxn ang="0">
                  <a:pos x="481" y="617"/>
                </a:cxn>
                <a:cxn ang="0">
                  <a:pos x="471" y="401"/>
                </a:cxn>
                <a:cxn ang="0">
                  <a:pos x="435" y="401"/>
                </a:cxn>
                <a:cxn ang="0">
                  <a:pos x="174" y="508"/>
                </a:cxn>
                <a:cxn ang="0">
                  <a:pos x="295" y="600"/>
                </a:cxn>
                <a:cxn ang="0">
                  <a:pos x="471" y="440"/>
                </a:cxn>
                <a:cxn ang="0">
                  <a:pos x="471" y="401"/>
                </a:cxn>
              </a:cxnLst>
              <a:rect l="0" t="0" r="r" b="b"/>
              <a:pathLst>
                <a:path w="637" h="730">
                  <a:moveTo>
                    <a:pt x="481" y="617"/>
                  </a:moveTo>
                  <a:cubicBezTo>
                    <a:pt x="477" y="617"/>
                    <a:pt x="477" y="617"/>
                    <a:pt x="477" y="617"/>
                  </a:cubicBezTo>
                  <a:cubicBezTo>
                    <a:pt x="427" y="695"/>
                    <a:pt x="346" y="730"/>
                    <a:pt x="254" y="730"/>
                  </a:cubicBezTo>
                  <a:cubicBezTo>
                    <a:pt x="125" y="730"/>
                    <a:pt x="0" y="659"/>
                    <a:pt x="0" y="521"/>
                  </a:cubicBezTo>
                  <a:cubicBezTo>
                    <a:pt x="0" y="295"/>
                    <a:pt x="264" y="279"/>
                    <a:pt x="437" y="279"/>
                  </a:cubicBezTo>
                  <a:cubicBezTo>
                    <a:pt x="481" y="279"/>
                    <a:pt x="481" y="279"/>
                    <a:pt x="481" y="279"/>
                  </a:cubicBezTo>
                  <a:cubicBezTo>
                    <a:pt x="481" y="261"/>
                    <a:pt x="481" y="261"/>
                    <a:pt x="481" y="261"/>
                  </a:cubicBezTo>
                  <a:cubicBezTo>
                    <a:pt x="481" y="175"/>
                    <a:pt x="414" y="130"/>
                    <a:pt x="322" y="130"/>
                  </a:cubicBezTo>
                  <a:cubicBezTo>
                    <a:pt x="249" y="130"/>
                    <a:pt x="182" y="159"/>
                    <a:pt x="136" y="203"/>
                  </a:cubicBezTo>
                  <a:cubicBezTo>
                    <a:pt x="45" y="111"/>
                    <a:pt x="45" y="111"/>
                    <a:pt x="45" y="111"/>
                  </a:cubicBezTo>
                  <a:cubicBezTo>
                    <a:pt x="122" y="33"/>
                    <a:pt x="230" y="0"/>
                    <a:pt x="340" y="0"/>
                  </a:cubicBezTo>
                  <a:cubicBezTo>
                    <a:pt x="637" y="0"/>
                    <a:pt x="637" y="214"/>
                    <a:pt x="637" y="313"/>
                  </a:cubicBezTo>
                  <a:cubicBezTo>
                    <a:pt x="637" y="713"/>
                    <a:pt x="637" y="713"/>
                    <a:pt x="637" y="713"/>
                  </a:cubicBezTo>
                  <a:cubicBezTo>
                    <a:pt x="481" y="713"/>
                    <a:pt x="481" y="713"/>
                    <a:pt x="481" y="713"/>
                  </a:cubicBezTo>
                  <a:lnTo>
                    <a:pt x="481" y="617"/>
                  </a:lnTo>
                  <a:close/>
                  <a:moveTo>
                    <a:pt x="471" y="401"/>
                  </a:moveTo>
                  <a:cubicBezTo>
                    <a:pt x="435" y="401"/>
                    <a:pt x="435" y="401"/>
                    <a:pt x="435" y="401"/>
                  </a:cubicBezTo>
                  <a:cubicBezTo>
                    <a:pt x="339" y="401"/>
                    <a:pt x="174" y="408"/>
                    <a:pt x="174" y="508"/>
                  </a:cubicBezTo>
                  <a:cubicBezTo>
                    <a:pt x="174" y="572"/>
                    <a:pt x="239" y="600"/>
                    <a:pt x="295" y="600"/>
                  </a:cubicBezTo>
                  <a:cubicBezTo>
                    <a:pt x="414" y="600"/>
                    <a:pt x="471" y="537"/>
                    <a:pt x="471" y="440"/>
                  </a:cubicBezTo>
                  <a:lnTo>
                    <a:pt x="471" y="40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0" name="Freeform 26"/>
            <p:cNvSpPr>
              <a:spLocks noSelect="1"/>
            </p:cNvSpPr>
            <p:nvPr/>
          </p:nvSpPr>
          <p:spPr bwMode="black">
            <a:xfrm>
              <a:off x="2505075" y="600076"/>
              <a:ext cx="241300" cy="160338"/>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8"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6"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grpSp>
      <p:sp>
        <p:nvSpPr>
          <p:cNvPr id="2" name="Titel 1"/>
          <p:cNvSpPr>
            <a:spLocks noGrp="1" noSelect="1"/>
          </p:cNvSpPr>
          <p:nvPr userDrawn="1">
            <p:ph type="ctrTitle" hasCustomPrompt="1"/>
          </p:nvPr>
        </p:nvSpPr>
        <p:spPr bwMode="gray">
          <a:xfrm>
            <a:off x="1308060" y="1750071"/>
            <a:ext cx="9792000" cy="1836000"/>
          </a:xfrm>
        </p:spPr>
        <p:txBody>
          <a:bodyPr anchor="t" anchorCtr="0"/>
          <a:lstStyle>
            <a:lvl1pPr algn="l">
              <a:defRPr sz="5500">
                <a:solidFill>
                  <a:schemeClr val="bg1"/>
                </a:solidFill>
              </a:defRPr>
            </a:lvl1pPr>
          </a:lstStyle>
          <a:p>
            <a:r>
              <a:rPr lang="nl-NL" noProof="1"/>
              <a:t>Titel</a:t>
            </a:r>
          </a:p>
        </p:txBody>
      </p:sp>
      <p:sp>
        <p:nvSpPr>
          <p:cNvPr id="3" name="Ondertitel 2"/>
          <p:cNvSpPr>
            <a:spLocks noGrp="1" noSelect="1"/>
          </p:cNvSpPr>
          <p:nvPr userDrawn="1">
            <p:ph type="subTitle" idx="1" hasCustomPrompt="1"/>
          </p:nvPr>
        </p:nvSpPr>
        <p:spPr bwMode="gray">
          <a:xfrm>
            <a:off x="1308060" y="3594908"/>
            <a:ext cx="9792000" cy="1752600"/>
          </a:xfrm>
        </p:spPr>
        <p:txBody>
          <a:bodyPr/>
          <a:lstStyle>
            <a:lvl1pPr marL="0" indent="0" algn="l">
              <a:buNone/>
              <a:defRPr sz="3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jaar / subtitel</a:t>
            </a:r>
          </a:p>
        </p:txBody>
      </p:sp>
      <p:sp>
        <p:nvSpPr>
          <p:cNvPr id="4" name="***Tijdelijke aanduiding voor datum 3"/>
          <p:cNvSpPr>
            <a:spLocks noGrp="1" noSelect="1"/>
          </p:cNvSpPr>
          <p:nvPr userDrawn="1">
            <p:ph type="dt" sz="half" idx="10"/>
          </p:nvPr>
        </p:nvSpPr>
        <p:spPr bwMode="gray">
          <a:xfrm>
            <a:off x="1182800" y="6357010"/>
            <a:ext cx="2844800" cy="365125"/>
          </a:xfrm>
          <a:prstGeom prst="rect">
            <a:avLst/>
          </a:prstGeom>
        </p:spPr>
        <p:txBody>
          <a:bodyPr/>
          <a:lstStyle>
            <a:lvl1pPr algn="l">
              <a:defRPr sz="1750" b="1">
                <a:solidFill>
                  <a:schemeClr val="bg1"/>
                </a:solidFill>
              </a:defRPr>
            </a:lvl1pPr>
          </a:lstStyle>
          <a:p>
            <a:endParaRPr lang="nl-NL" noProof="1"/>
          </a:p>
        </p:txBody>
      </p:sp>
    </p:spTree>
    <p:extLst>
      <p:ext uri="{BB962C8B-B14F-4D97-AF65-F5344CB8AC3E}">
        <p14:creationId xmlns:p14="http://schemas.microsoft.com/office/powerpoint/2010/main" val="182071021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Aangepaste indeling">
    <p:spTree>
      <p:nvGrpSpPr>
        <p:cNvPr id="1" name=""/>
        <p:cNvGrpSpPr/>
        <p:nvPr/>
      </p:nvGrpSpPr>
      <p:grpSpPr>
        <a:xfrm>
          <a:off x="0" y="0"/>
          <a:ext cx="0" cy="0"/>
          <a:chOff x="0" y="0"/>
          <a:chExt cx="0" cy="0"/>
        </a:xfrm>
      </p:grpSpPr>
      <p:sp>
        <p:nvSpPr>
          <p:cNvPr id="5" name="Tijdelijke aanduiding voor inhoud 2"/>
          <p:cNvSpPr>
            <a:spLocks noGrp="1"/>
          </p:cNvSpPr>
          <p:nvPr>
            <p:ph idx="1"/>
          </p:nvPr>
        </p:nvSpPr>
        <p:spPr>
          <a:xfrm>
            <a:off x="1007539" y="2060577"/>
            <a:ext cx="10657417" cy="4084637"/>
          </a:xfrm>
        </p:spPr>
        <p:txBody>
          <a:bodyPr/>
          <a:lstStyle>
            <a:lvl3pPr marL="628635" indent="-180970">
              <a:defRPr/>
            </a:lvl3pPr>
            <a:lvl4pPr marL="628635" indent="0">
              <a:defRPr sz="1600" b="0"/>
            </a:lvl4pPr>
            <a:lvl5pPr marL="628635" indent="0">
              <a:defRPr sz="1400"/>
            </a:lvl5pPr>
          </a:lstStyle>
          <a:p>
            <a:pPr lvl="0"/>
            <a:r>
              <a:rPr lang="nl-NL" noProof="1"/>
              <a:t>Klik om de modelstijlen te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6" name="Titel 5"/>
          <p:cNvSpPr>
            <a:spLocks noGrp="1"/>
          </p:cNvSpPr>
          <p:nvPr>
            <p:ph type="title" hasCustomPrompt="1"/>
          </p:nvPr>
        </p:nvSpPr>
        <p:spPr>
          <a:xfrm>
            <a:off x="1007539" y="158755"/>
            <a:ext cx="10657417" cy="1470025"/>
          </a:xfrm>
        </p:spPr>
        <p:txBody>
          <a:bodyPr anchor="ctr"/>
          <a:lstStyle>
            <a:lvl1pPr>
              <a:defRPr/>
            </a:lvl1pPr>
          </a:lstStyle>
          <a:p>
            <a:r>
              <a:rPr lang="nl-NL"/>
              <a:t>Kop</a:t>
            </a:r>
          </a:p>
        </p:txBody>
      </p:sp>
      <p:sp>
        <p:nvSpPr>
          <p:cNvPr id="4" name="Tekstvak 3">
            <a:extLst>
              <a:ext uri="{FF2B5EF4-FFF2-40B4-BE49-F238E27FC236}">
                <a16:creationId xmlns:a16="http://schemas.microsoft.com/office/drawing/2014/main" id="{E2FCFCD1-3D04-B84A-AEC3-8E0AF11C161F}"/>
              </a:ext>
            </a:extLst>
          </p:cNvPr>
          <p:cNvSpPr txBox="1"/>
          <p:nvPr userDrawn="1"/>
        </p:nvSpPr>
        <p:spPr>
          <a:xfrm>
            <a:off x="11487837" y="6627168"/>
            <a:ext cx="729071" cy="230832"/>
          </a:xfrm>
          <a:prstGeom prst="rect">
            <a:avLst/>
          </a:prstGeom>
          <a:noFill/>
        </p:spPr>
        <p:txBody>
          <a:bodyPr wrap="square" rtlCol="0">
            <a:spAutoFit/>
          </a:bodyPr>
          <a:lstStyle/>
          <a:p>
            <a:pPr algn="ctr"/>
            <a:fld id="{A9180189-B802-467E-8FBA-406262D99975}" type="slidenum">
              <a:rPr lang="en-US" sz="900" smtClean="0">
                <a:solidFill>
                  <a:srgbClr val="6E6C66"/>
                </a:solidFill>
                <a:latin typeface="Roboto Light" panose="02000000000000000000" pitchFamily="2" charset="0"/>
                <a:ea typeface="Roboto Light" panose="02000000000000000000" pitchFamily="2" charset="0"/>
              </a:rPr>
              <a:pPr algn="ctr"/>
              <a:t>‹nr.›</a:t>
            </a:fld>
            <a:endParaRPr lang="en-GB" sz="900">
              <a:solidFill>
                <a:schemeClr val="bg1"/>
              </a:solidFill>
              <a:latin typeface="Roboto Light" panose="02000000000000000000" pitchFamily="2" charset="0"/>
              <a:ea typeface="Roboto Light" panose="02000000000000000000" pitchFamily="2" charset="0"/>
            </a:endParaRPr>
          </a:p>
        </p:txBody>
      </p:sp>
    </p:spTree>
    <p:extLst>
      <p:ext uri="{BB962C8B-B14F-4D97-AF65-F5344CB8AC3E}">
        <p14:creationId xmlns:p14="http://schemas.microsoft.com/office/powerpoint/2010/main" val="38719381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8" y="1592263"/>
            <a:ext cx="10866440" cy="4716461"/>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90338101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hasCustomPrompt="1"/>
          </p:nvPr>
        </p:nvSpPr>
        <p:spPr>
          <a:xfrm>
            <a:off x="666750" y="1611881"/>
            <a:ext cx="3516680"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hasCustomPrompt="1"/>
          </p:nvPr>
        </p:nvSpPr>
        <p:spPr>
          <a:xfrm>
            <a:off x="4337660" y="1611881"/>
            <a:ext cx="3516680" cy="247650"/>
          </a:xfrm>
        </p:spPr>
        <p:txBody>
          <a:bodyPr/>
          <a:lstStyle>
            <a:lvl1pPr>
              <a:defRPr b="1"/>
            </a:lvl1pPr>
          </a:lstStyle>
          <a:p>
            <a:pPr lvl="0"/>
            <a:r>
              <a:rPr lang="nl-NL" noProof="0"/>
              <a:t>Klik om kop toe te voegen</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hasCustomPrompt="1"/>
          </p:nvPr>
        </p:nvSpPr>
        <p:spPr>
          <a:xfrm>
            <a:off x="8022067" y="1611881"/>
            <a:ext cx="3516680" cy="247650"/>
          </a:xfrm>
        </p:spPr>
        <p:txBody>
          <a:bodyPr/>
          <a:lstStyle>
            <a:lvl1pPr>
              <a:defRPr b="1"/>
            </a:lvl1pPr>
          </a:lstStyle>
          <a:p>
            <a:pPr lvl="0"/>
            <a:r>
              <a:rPr lang="nl-NL" noProof="0"/>
              <a:t>Klik om kop toe te voegen</a:t>
            </a:r>
          </a:p>
        </p:txBody>
      </p:sp>
      <p:sp>
        <p:nvSpPr>
          <p:cNvPr id="11" name="Text Placeholder 8">
            <a:extLst>
              <a:ext uri="{FF2B5EF4-FFF2-40B4-BE49-F238E27FC236}">
                <a16:creationId xmlns:a16="http://schemas.microsoft.com/office/drawing/2014/main" id="{56D51069-A0EF-4ED9-AFB6-7C5FA0BAD0A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Tree>
    <p:extLst>
      <p:ext uri="{BB962C8B-B14F-4D97-AF65-F5344CB8AC3E}">
        <p14:creationId xmlns:p14="http://schemas.microsoft.com/office/powerpoint/2010/main" val="389450898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3741979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206350" y="1592263"/>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01923034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3933374" y="1592263"/>
            <a:ext cx="7605374"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4163526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66749" y="1610863"/>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4902239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hasCustomPrompt="1"/>
          </p:nvPr>
        </p:nvSpPr>
        <p:spPr>
          <a:xfrm>
            <a:off x="666747"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hasCustomPrompt="1"/>
          </p:nvPr>
        </p:nvSpPr>
        <p:spPr>
          <a:xfrm>
            <a:off x="4344407"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hasCustomPrompt="1"/>
          </p:nvPr>
        </p:nvSpPr>
        <p:spPr>
          <a:xfrm>
            <a:off x="8008570"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hasCustomPrompt="1"/>
          </p:nvPr>
        </p:nvSpPr>
        <p:spPr>
          <a:xfrm>
            <a:off x="666747"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hasCustomPrompt="1"/>
          </p:nvPr>
        </p:nvSpPr>
        <p:spPr>
          <a:xfrm>
            <a:off x="4344407"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hasCustomPrompt="1"/>
          </p:nvPr>
        </p:nvSpPr>
        <p:spPr>
          <a:xfrm>
            <a:off x="8008570"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4734311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hasCustomPrompt="1"/>
          </p:nvPr>
        </p:nvSpPr>
        <p:spPr>
          <a:xfrm>
            <a:off x="666750" y="1611881"/>
            <a:ext cx="5332398" cy="247650"/>
          </a:xfrm>
        </p:spPr>
        <p:txBody>
          <a:bodyPr/>
          <a:lstStyle>
            <a:lvl1pPr>
              <a:defRPr b="1"/>
            </a:lvl1pPr>
          </a:lstStyle>
          <a:p>
            <a:pPr lvl="0"/>
            <a:r>
              <a:rPr lang="nl-NL" noProof="0"/>
              <a:t>Klik om kop toe te voegen</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206350" y="1611881"/>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94194065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hasCustomPrompt="1"/>
          </p:nvPr>
        </p:nvSpPr>
        <p:spPr>
          <a:xfrm>
            <a:off x="666747" y="1614179"/>
            <a:ext cx="5331600" cy="306388"/>
          </a:xfrm>
          <a:solidFill>
            <a:schemeClr val="tx2"/>
          </a:solidFill>
          <a:ln w="19050">
            <a:solidFill>
              <a:schemeClr val="accent1"/>
            </a:solidFill>
          </a:ln>
        </p:spPr>
        <p:txBody>
          <a:bodyPr anchor="ctr">
            <a:noAutofit/>
          </a:bodyPr>
          <a:lstStyle>
            <a:lvl1pPr algn="l">
              <a:defRPr b="1">
                <a:solidFill>
                  <a:schemeClr val="bg1"/>
                </a:solidFill>
              </a:defRPr>
            </a:lvl1pPr>
          </a:lstStyle>
          <a:p>
            <a:pPr lvl="0"/>
            <a:r>
              <a:rPr lang="nl-NL" noProof="0"/>
              <a:t>Klik om kop toe te voegen</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91440" tIns="45720" rIns="91440" bIns="4572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hasCustomPrompt="1"/>
          </p:nvPr>
        </p:nvSpPr>
        <p:spPr>
          <a:xfrm>
            <a:off x="6207148" y="1614179"/>
            <a:ext cx="5331600" cy="306388"/>
          </a:xfrm>
          <a:solidFill>
            <a:schemeClr val="tx2"/>
          </a:solidFill>
          <a:ln w="19050">
            <a:solidFill>
              <a:schemeClr val="accent1"/>
            </a:solidFill>
          </a:ln>
        </p:spPr>
        <p:txBody>
          <a:bodyPr vert="horz" lIns="91440" tIns="45720" rIns="91440" bIns="45720" rtlCol="0" anchor="ctr">
            <a:noAutofit/>
          </a:bodyPr>
          <a:lstStyle>
            <a:lvl1pPr algn="l">
              <a:defRPr lang="nl-NL" b="1" dirty="0">
                <a:solidFill>
                  <a:schemeClr val="bg1"/>
                </a:solidFill>
              </a:defRPr>
            </a:lvl1pPr>
          </a:lstStyle>
          <a:p>
            <a:pPr lvl="0"/>
            <a:r>
              <a:rPr lang="nl-NL" noProof="0"/>
              <a:t>Klik om kop toe te voegen</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91440" tIns="45720" rIns="91440" bIns="4572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29966989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41987063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Box (3) Charts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hasCustomPrompt="1"/>
          </p:nvPr>
        </p:nvSpPr>
        <p:spPr>
          <a:xfrm>
            <a:off x="666750" y="1611881"/>
            <a:ext cx="3516680"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hasCustomPrompt="1"/>
          </p:nvPr>
        </p:nvSpPr>
        <p:spPr>
          <a:xfrm>
            <a:off x="4337660" y="1611881"/>
            <a:ext cx="3516680" cy="247650"/>
          </a:xfrm>
        </p:spPr>
        <p:txBody>
          <a:bodyPr/>
          <a:lstStyle>
            <a:lvl1pPr>
              <a:defRPr b="1"/>
            </a:lvl1pPr>
          </a:lstStyle>
          <a:p>
            <a:pPr lvl="0"/>
            <a:r>
              <a:rPr lang="nl-NL" noProof="0"/>
              <a:t>Klik om kop toe te voegen</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hasCustomPrompt="1"/>
          </p:nvPr>
        </p:nvSpPr>
        <p:spPr>
          <a:xfrm>
            <a:off x="8022067" y="1611881"/>
            <a:ext cx="3516680"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402694534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hasCustomPrompt="1"/>
          </p:nvPr>
        </p:nvSpPr>
        <p:spPr>
          <a:xfrm>
            <a:off x="666747"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hasCustomPrompt="1"/>
          </p:nvPr>
        </p:nvSpPr>
        <p:spPr>
          <a:xfrm>
            <a:off x="4344407"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hasCustomPrompt="1"/>
          </p:nvPr>
        </p:nvSpPr>
        <p:spPr>
          <a:xfrm>
            <a:off x="8008570"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96154441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12142777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hasCustomPrompt="1"/>
          </p:nvPr>
        </p:nvSpPr>
        <p:spPr>
          <a:xfrm>
            <a:off x="666747" y="1611881"/>
            <a:ext cx="5332398" cy="247650"/>
          </a:xfrm>
        </p:spPr>
        <p:txBody>
          <a:bodyPr/>
          <a:lstStyle>
            <a:lvl1pPr>
              <a:defRPr b="1"/>
            </a:lvl1pPr>
          </a:lstStyle>
          <a:p>
            <a:pPr lvl="0"/>
            <a:r>
              <a:rPr lang="nl-NL" noProof="0"/>
              <a:t>Klik om kop toe te voegen</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hasCustomPrompt="1"/>
          </p:nvPr>
        </p:nvSpPr>
        <p:spPr>
          <a:xfrm>
            <a:off x="6192852" y="1611881"/>
            <a:ext cx="5332398" cy="247650"/>
          </a:xfrm>
        </p:spPr>
        <p:txBody>
          <a:bodyPr/>
          <a:lstStyle>
            <a:lvl1pPr>
              <a:defRPr b="1"/>
            </a:lvl1pPr>
          </a:lstStyle>
          <a:p>
            <a:pPr lvl="0"/>
            <a:r>
              <a:rPr lang="nl-NL" noProof="0"/>
              <a:t>Klik om kop toe te voegen</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hasCustomPrompt="1"/>
          </p:nvPr>
        </p:nvSpPr>
        <p:spPr>
          <a:xfrm>
            <a:off x="666747" y="4034805"/>
            <a:ext cx="5332398"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hasCustomPrompt="1"/>
          </p:nvPr>
        </p:nvSpPr>
        <p:spPr>
          <a:xfrm>
            <a:off x="6192852" y="4034805"/>
            <a:ext cx="5332398"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87835489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hasCustomPrompt="1"/>
          </p:nvPr>
        </p:nvSpPr>
        <p:spPr>
          <a:xfrm>
            <a:off x="666747"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hasCustomPrompt="1"/>
          </p:nvPr>
        </p:nvSpPr>
        <p:spPr>
          <a:xfrm>
            <a:off x="6192051"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hasCustomPrompt="1"/>
          </p:nvPr>
        </p:nvSpPr>
        <p:spPr>
          <a:xfrm>
            <a:off x="666747" y="4078538"/>
            <a:ext cx="5331600" cy="306388"/>
          </a:xfrm>
          <a:solidFill>
            <a:schemeClr val="tx2"/>
          </a:solidFill>
          <a:ln w="19050">
            <a:solidFill>
              <a:schemeClr val="accent1"/>
            </a:solidFill>
          </a:ln>
        </p:spPr>
        <p:txBody>
          <a:bodyPr vert="horz" lIns="91440" tIns="45720" rIns="91440" bIns="45720" rtlCol="0" anchor="ctr">
            <a:noAutofit/>
          </a:bodyPr>
          <a:lstStyle>
            <a:lvl1pPr>
              <a:defRPr lang="nl-NL" b="1"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hasCustomPrompt="1"/>
          </p:nvPr>
        </p:nvSpPr>
        <p:spPr>
          <a:xfrm>
            <a:off x="6192051" y="4078538"/>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42144465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17145689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hasCustomPrompt="1"/>
          </p:nvPr>
        </p:nvSpPr>
        <p:spPr>
          <a:xfrm>
            <a:off x="666750" y="1611881"/>
            <a:ext cx="3516680" cy="247650"/>
          </a:xfrm>
        </p:spPr>
        <p:txBody>
          <a:bodyPr/>
          <a:lstStyle>
            <a:lvl1pPr>
              <a:defRPr b="1"/>
            </a:lvl1pPr>
          </a:lstStyle>
          <a:p>
            <a:pPr lvl="0"/>
            <a:r>
              <a:rPr lang="nl-NL" noProof="0"/>
              <a:t>Klik om kop toe te voegen</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hasCustomPrompt="1"/>
          </p:nvPr>
        </p:nvSpPr>
        <p:spPr>
          <a:xfrm>
            <a:off x="4337660" y="1611881"/>
            <a:ext cx="3516680" cy="247650"/>
          </a:xfrm>
        </p:spPr>
        <p:txBody>
          <a:bodyPr/>
          <a:lstStyle>
            <a:lvl1pPr>
              <a:defRPr b="1"/>
            </a:lvl1pPr>
          </a:lstStyle>
          <a:p>
            <a:pPr lvl="0"/>
            <a:r>
              <a:rPr lang="nl-NL" noProof="0"/>
              <a:t>Klik om kop toe te voegen</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hasCustomPrompt="1"/>
          </p:nvPr>
        </p:nvSpPr>
        <p:spPr>
          <a:xfrm>
            <a:off x="8022067" y="1611881"/>
            <a:ext cx="3516680" cy="247650"/>
          </a:xfrm>
        </p:spPr>
        <p:txBody>
          <a:bodyPr/>
          <a:lstStyle>
            <a:lvl1pPr>
              <a:defRPr b="1"/>
            </a:lvl1pPr>
          </a:lstStyle>
          <a:p>
            <a:pPr lvl="0"/>
            <a:r>
              <a:rPr lang="nl-NL" noProof="0"/>
              <a:t>Klik om kop toe te voegen</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hasCustomPrompt="1"/>
          </p:nvPr>
        </p:nvSpPr>
        <p:spPr>
          <a:xfrm>
            <a:off x="666750" y="4065752"/>
            <a:ext cx="3516680" cy="247650"/>
          </a:xfrm>
        </p:spPr>
        <p:txBody>
          <a:bodyPr/>
          <a:lstStyle>
            <a:lvl1pPr>
              <a:defRPr b="1"/>
            </a:lvl1pPr>
          </a:lstStyle>
          <a:p>
            <a:pPr lvl="0"/>
            <a:r>
              <a:rPr lang="nl-NL" noProof="0"/>
              <a:t>Klik om kop toe te voegen</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hasCustomPrompt="1"/>
          </p:nvPr>
        </p:nvSpPr>
        <p:spPr>
          <a:xfrm>
            <a:off x="4337660" y="4065752"/>
            <a:ext cx="3516680" cy="247650"/>
          </a:xfrm>
        </p:spPr>
        <p:txBody>
          <a:bodyPr/>
          <a:lstStyle>
            <a:lvl1pPr>
              <a:defRPr b="1"/>
            </a:lvl1pPr>
          </a:lstStyle>
          <a:p>
            <a:pPr lvl="0"/>
            <a:r>
              <a:rPr lang="nl-NL" noProof="0"/>
              <a:t>Klik om kop toe te voegen</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hasCustomPrompt="1"/>
          </p:nvPr>
        </p:nvSpPr>
        <p:spPr>
          <a:xfrm>
            <a:off x="8022067" y="4065752"/>
            <a:ext cx="3516680"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25248538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ox (6)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bg1">
                <a:lumMod val="75000"/>
              </a:schemeClr>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hasCustomPrompt="1"/>
          </p:nvPr>
        </p:nvSpPr>
        <p:spPr>
          <a:xfrm>
            <a:off x="666747" y="1614179"/>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hasCustomPrompt="1"/>
          </p:nvPr>
        </p:nvSpPr>
        <p:spPr>
          <a:xfrm>
            <a:off x="4344407" y="1614179"/>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hasCustomPrompt="1"/>
          </p:nvPr>
        </p:nvSpPr>
        <p:spPr>
          <a:xfrm>
            <a:off x="8008570" y="1614179"/>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hasCustomPrompt="1"/>
          </p:nvPr>
        </p:nvSpPr>
        <p:spPr>
          <a:xfrm>
            <a:off x="666747" y="4078955"/>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hasCustomPrompt="1"/>
          </p:nvPr>
        </p:nvSpPr>
        <p:spPr>
          <a:xfrm>
            <a:off x="4344407" y="4078955"/>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hasCustomPrompt="1"/>
          </p:nvPr>
        </p:nvSpPr>
        <p:spPr>
          <a:xfrm>
            <a:off x="8008570" y="4078955"/>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9" name="Text Placeholder 13">
            <a:extLst>
              <a:ext uri="{FF2B5EF4-FFF2-40B4-BE49-F238E27FC236}">
                <a16:creationId xmlns:a16="http://schemas.microsoft.com/office/drawing/2014/main" id="{EFE79D6A-F6C5-6849-B796-CE6FAE6E4065}"/>
              </a:ext>
            </a:extLst>
          </p:cNvPr>
          <p:cNvSpPr>
            <a:spLocks noGrp="1"/>
          </p:cNvSpPr>
          <p:nvPr>
            <p:ph type="body" sz="quarter" idx="30" hasCustomPrompt="1"/>
          </p:nvPr>
        </p:nvSpPr>
        <p:spPr>
          <a:xfrm>
            <a:off x="4344407" y="1920567"/>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4" name="Titel 13">
            <a:extLst>
              <a:ext uri="{FF2B5EF4-FFF2-40B4-BE49-F238E27FC236}">
                <a16:creationId xmlns:a16="http://schemas.microsoft.com/office/drawing/2014/main" id="{6C8594F3-A967-F045-B5A9-9BEE68F9765E}"/>
              </a:ext>
            </a:extLst>
          </p:cNvPr>
          <p:cNvSpPr>
            <a:spLocks noGrp="1"/>
          </p:cNvSpPr>
          <p:nvPr>
            <p:ph type="title"/>
          </p:nvPr>
        </p:nvSpPr>
        <p:spPr/>
        <p:txBody>
          <a:bodyPr/>
          <a:lstStyle/>
          <a:p>
            <a:r>
              <a:rPr lang="nl-NL"/>
              <a:t>Klik om stijl te bewerken</a:t>
            </a:r>
          </a:p>
        </p:txBody>
      </p:sp>
      <p:sp>
        <p:nvSpPr>
          <p:cNvPr id="32" name="Tijdelijke aanduiding voor tekst 31">
            <a:extLst>
              <a:ext uri="{FF2B5EF4-FFF2-40B4-BE49-F238E27FC236}">
                <a16:creationId xmlns:a16="http://schemas.microsoft.com/office/drawing/2014/main" id="{C8A33D3D-C2A1-5046-B99C-27C8BD8FD542}"/>
              </a:ext>
            </a:extLst>
          </p:cNvPr>
          <p:cNvSpPr>
            <a:spLocks noGrp="1"/>
          </p:cNvSpPr>
          <p:nvPr>
            <p:ph type="body" sz="quarter" idx="32" hasCustomPrompt="1"/>
          </p:nvPr>
        </p:nvSpPr>
        <p:spPr>
          <a:xfrm>
            <a:off x="5330132" y="1920567"/>
            <a:ext cx="2530957" cy="528719"/>
          </a:xfrm>
        </p:spPr>
        <p:txBody>
          <a:bodyPr/>
          <a:lstStyle/>
          <a:p>
            <a:pPr lvl="0"/>
            <a:r>
              <a:rPr lang="nl-NL"/>
              <a:t>Vul hier de naam van het spoor in</a:t>
            </a:r>
          </a:p>
        </p:txBody>
      </p:sp>
      <p:sp>
        <p:nvSpPr>
          <p:cNvPr id="33" name="Tijdelijke aanduiding voor tekst 31">
            <a:extLst>
              <a:ext uri="{FF2B5EF4-FFF2-40B4-BE49-F238E27FC236}">
                <a16:creationId xmlns:a16="http://schemas.microsoft.com/office/drawing/2014/main" id="{12E940E8-2604-274B-9FEB-8DB06B912C8E}"/>
              </a:ext>
            </a:extLst>
          </p:cNvPr>
          <p:cNvSpPr>
            <a:spLocks noGrp="1"/>
          </p:cNvSpPr>
          <p:nvPr>
            <p:ph type="body" sz="quarter" idx="33" hasCustomPrompt="1"/>
          </p:nvPr>
        </p:nvSpPr>
        <p:spPr>
          <a:xfrm>
            <a:off x="5330132" y="2471042"/>
            <a:ext cx="2530957" cy="1332000"/>
          </a:xfrm>
        </p:spPr>
        <p:txBody>
          <a:bodyPr/>
          <a:lstStyle/>
          <a:p>
            <a:pPr lvl="0"/>
            <a:r>
              <a:rPr lang="nl-NL"/>
              <a:t>Vul hier de namen van de deliverables / producten die de hoogste prioriteit hebben in</a:t>
            </a:r>
          </a:p>
        </p:txBody>
      </p:sp>
      <p:sp>
        <p:nvSpPr>
          <p:cNvPr id="34" name="Text Placeholder 13">
            <a:extLst>
              <a:ext uri="{FF2B5EF4-FFF2-40B4-BE49-F238E27FC236}">
                <a16:creationId xmlns:a16="http://schemas.microsoft.com/office/drawing/2014/main" id="{ECC0528E-8DB4-B64B-A0C3-C0D9A5B58EA0}"/>
              </a:ext>
            </a:extLst>
          </p:cNvPr>
          <p:cNvSpPr>
            <a:spLocks noGrp="1"/>
          </p:cNvSpPr>
          <p:nvPr>
            <p:ph type="body" sz="quarter" idx="34" hasCustomPrompt="1"/>
          </p:nvPr>
        </p:nvSpPr>
        <p:spPr>
          <a:xfrm>
            <a:off x="8008570" y="1920567"/>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35" name="Tijdelijke aanduiding voor tekst 31">
            <a:extLst>
              <a:ext uri="{FF2B5EF4-FFF2-40B4-BE49-F238E27FC236}">
                <a16:creationId xmlns:a16="http://schemas.microsoft.com/office/drawing/2014/main" id="{7299C9D8-A9E6-9847-8CD6-CEED00F4F50F}"/>
              </a:ext>
            </a:extLst>
          </p:cNvPr>
          <p:cNvSpPr>
            <a:spLocks noGrp="1"/>
          </p:cNvSpPr>
          <p:nvPr>
            <p:ph type="body" sz="quarter" idx="35" hasCustomPrompt="1"/>
          </p:nvPr>
        </p:nvSpPr>
        <p:spPr>
          <a:xfrm>
            <a:off x="8994295" y="1920567"/>
            <a:ext cx="2530957" cy="528719"/>
          </a:xfrm>
        </p:spPr>
        <p:txBody>
          <a:bodyPr/>
          <a:lstStyle/>
          <a:p>
            <a:pPr lvl="0"/>
            <a:r>
              <a:rPr lang="nl-NL"/>
              <a:t>Vul hier de naam van het spoor in</a:t>
            </a:r>
          </a:p>
        </p:txBody>
      </p:sp>
      <p:sp>
        <p:nvSpPr>
          <p:cNvPr id="36" name="Tijdelijke aanduiding voor tekst 31">
            <a:extLst>
              <a:ext uri="{FF2B5EF4-FFF2-40B4-BE49-F238E27FC236}">
                <a16:creationId xmlns:a16="http://schemas.microsoft.com/office/drawing/2014/main" id="{A2A4DFCA-C6D2-BE49-891C-97428721B5F5}"/>
              </a:ext>
            </a:extLst>
          </p:cNvPr>
          <p:cNvSpPr>
            <a:spLocks noGrp="1"/>
          </p:cNvSpPr>
          <p:nvPr>
            <p:ph type="body" sz="quarter" idx="36" hasCustomPrompt="1"/>
          </p:nvPr>
        </p:nvSpPr>
        <p:spPr>
          <a:xfrm>
            <a:off x="8994295" y="2471042"/>
            <a:ext cx="2530957" cy="1332000"/>
          </a:xfrm>
        </p:spPr>
        <p:txBody>
          <a:bodyPr/>
          <a:lstStyle/>
          <a:p>
            <a:pPr lvl="0"/>
            <a:r>
              <a:rPr lang="nl-NL"/>
              <a:t>Vul hier de namen van de deliverables / producten die de hoogste prioriteit hebben in</a:t>
            </a:r>
          </a:p>
        </p:txBody>
      </p:sp>
      <p:sp>
        <p:nvSpPr>
          <p:cNvPr id="37" name="Text Placeholder 13">
            <a:extLst>
              <a:ext uri="{FF2B5EF4-FFF2-40B4-BE49-F238E27FC236}">
                <a16:creationId xmlns:a16="http://schemas.microsoft.com/office/drawing/2014/main" id="{5BA2E9D3-775A-E04E-B7B3-1221232547B4}"/>
              </a:ext>
            </a:extLst>
          </p:cNvPr>
          <p:cNvSpPr>
            <a:spLocks noGrp="1"/>
          </p:cNvSpPr>
          <p:nvPr>
            <p:ph type="body" sz="quarter" idx="37" hasCustomPrompt="1"/>
          </p:nvPr>
        </p:nvSpPr>
        <p:spPr>
          <a:xfrm>
            <a:off x="666747" y="4394267"/>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38" name="Tijdelijke aanduiding voor tekst 31">
            <a:extLst>
              <a:ext uri="{FF2B5EF4-FFF2-40B4-BE49-F238E27FC236}">
                <a16:creationId xmlns:a16="http://schemas.microsoft.com/office/drawing/2014/main" id="{701F0C1A-0774-F74E-9815-70C0F11D876B}"/>
              </a:ext>
            </a:extLst>
          </p:cNvPr>
          <p:cNvSpPr>
            <a:spLocks noGrp="1"/>
          </p:cNvSpPr>
          <p:nvPr>
            <p:ph type="body" sz="quarter" idx="38" hasCustomPrompt="1"/>
          </p:nvPr>
        </p:nvSpPr>
        <p:spPr>
          <a:xfrm>
            <a:off x="1652472" y="4394267"/>
            <a:ext cx="2530957" cy="528719"/>
          </a:xfrm>
        </p:spPr>
        <p:txBody>
          <a:bodyPr/>
          <a:lstStyle/>
          <a:p>
            <a:pPr lvl="0"/>
            <a:r>
              <a:rPr lang="nl-NL"/>
              <a:t>Vul hier de naam van het spoor in</a:t>
            </a:r>
          </a:p>
        </p:txBody>
      </p:sp>
      <p:sp>
        <p:nvSpPr>
          <p:cNvPr id="39" name="Tijdelijke aanduiding voor tekst 31">
            <a:extLst>
              <a:ext uri="{FF2B5EF4-FFF2-40B4-BE49-F238E27FC236}">
                <a16:creationId xmlns:a16="http://schemas.microsoft.com/office/drawing/2014/main" id="{78B70E5B-174C-0942-82E6-BB80CB9B6941}"/>
              </a:ext>
            </a:extLst>
          </p:cNvPr>
          <p:cNvSpPr>
            <a:spLocks noGrp="1"/>
          </p:cNvSpPr>
          <p:nvPr>
            <p:ph type="body" sz="quarter" idx="39" hasCustomPrompt="1"/>
          </p:nvPr>
        </p:nvSpPr>
        <p:spPr>
          <a:xfrm>
            <a:off x="1652472" y="4944742"/>
            <a:ext cx="2530957" cy="1332000"/>
          </a:xfrm>
        </p:spPr>
        <p:txBody>
          <a:bodyPr/>
          <a:lstStyle/>
          <a:p>
            <a:pPr lvl="0"/>
            <a:r>
              <a:rPr lang="nl-NL"/>
              <a:t>Vul hier de namen van de deliverables / producten die de hoogste prioriteit hebben in</a:t>
            </a:r>
          </a:p>
        </p:txBody>
      </p:sp>
      <p:sp>
        <p:nvSpPr>
          <p:cNvPr id="40" name="Text Placeholder 13">
            <a:extLst>
              <a:ext uri="{FF2B5EF4-FFF2-40B4-BE49-F238E27FC236}">
                <a16:creationId xmlns:a16="http://schemas.microsoft.com/office/drawing/2014/main" id="{0EC698CF-2A9A-D743-A8F4-EAE104236558}"/>
              </a:ext>
            </a:extLst>
          </p:cNvPr>
          <p:cNvSpPr>
            <a:spLocks noGrp="1"/>
          </p:cNvSpPr>
          <p:nvPr>
            <p:ph type="body" sz="quarter" idx="40" hasCustomPrompt="1"/>
          </p:nvPr>
        </p:nvSpPr>
        <p:spPr>
          <a:xfrm>
            <a:off x="4344407" y="4386009"/>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41" name="Tijdelijke aanduiding voor tekst 31">
            <a:extLst>
              <a:ext uri="{FF2B5EF4-FFF2-40B4-BE49-F238E27FC236}">
                <a16:creationId xmlns:a16="http://schemas.microsoft.com/office/drawing/2014/main" id="{AD447351-8D7A-F545-ADDD-221E1554A1AF}"/>
              </a:ext>
            </a:extLst>
          </p:cNvPr>
          <p:cNvSpPr>
            <a:spLocks noGrp="1"/>
          </p:cNvSpPr>
          <p:nvPr>
            <p:ph type="body" sz="quarter" idx="41" hasCustomPrompt="1"/>
          </p:nvPr>
        </p:nvSpPr>
        <p:spPr>
          <a:xfrm>
            <a:off x="5330132" y="4386009"/>
            <a:ext cx="2530957" cy="528719"/>
          </a:xfrm>
        </p:spPr>
        <p:txBody>
          <a:bodyPr/>
          <a:lstStyle/>
          <a:p>
            <a:pPr lvl="0"/>
            <a:r>
              <a:rPr lang="nl-NL"/>
              <a:t>Vul hier de naam van het spoor in</a:t>
            </a:r>
          </a:p>
        </p:txBody>
      </p:sp>
      <p:sp>
        <p:nvSpPr>
          <p:cNvPr id="42" name="Tijdelijke aanduiding voor tekst 31">
            <a:extLst>
              <a:ext uri="{FF2B5EF4-FFF2-40B4-BE49-F238E27FC236}">
                <a16:creationId xmlns:a16="http://schemas.microsoft.com/office/drawing/2014/main" id="{3528DB85-850E-FD47-A6E6-F9D925AB7167}"/>
              </a:ext>
            </a:extLst>
          </p:cNvPr>
          <p:cNvSpPr>
            <a:spLocks noGrp="1"/>
          </p:cNvSpPr>
          <p:nvPr>
            <p:ph type="body" sz="quarter" idx="42" hasCustomPrompt="1"/>
          </p:nvPr>
        </p:nvSpPr>
        <p:spPr>
          <a:xfrm>
            <a:off x="5330132" y="4936484"/>
            <a:ext cx="2530957" cy="1332000"/>
          </a:xfrm>
        </p:spPr>
        <p:txBody>
          <a:bodyPr/>
          <a:lstStyle/>
          <a:p>
            <a:pPr lvl="0"/>
            <a:r>
              <a:rPr lang="nl-NL"/>
              <a:t>Vul hier de namen van de deliverables / producten die de hoogste prioriteit hebben in</a:t>
            </a:r>
          </a:p>
        </p:txBody>
      </p:sp>
      <p:sp>
        <p:nvSpPr>
          <p:cNvPr id="43" name="Text Placeholder 13">
            <a:extLst>
              <a:ext uri="{FF2B5EF4-FFF2-40B4-BE49-F238E27FC236}">
                <a16:creationId xmlns:a16="http://schemas.microsoft.com/office/drawing/2014/main" id="{F3836A49-97FE-F144-BFE3-4FC1B4CF0408}"/>
              </a:ext>
            </a:extLst>
          </p:cNvPr>
          <p:cNvSpPr>
            <a:spLocks noGrp="1"/>
          </p:cNvSpPr>
          <p:nvPr>
            <p:ph type="body" sz="quarter" idx="43" hasCustomPrompt="1"/>
          </p:nvPr>
        </p:nvSpPr>
        <p:spPr>
          <a:xfrm>
            <a:off x="8008570" y="4385714"/>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44" name="Tijdelijke aanduiding voor tekst 31">
            <a:extLst>
              <a:ext uri="{FF2B5EF4-FFF2-40B4-BE49-F238E27FC236}">
                <a16:creationId xmlns:a16="http://schemas.microsoft.com/office/drawing/2014/main" id="{F31A3FF5-FAC1-F24E-8B72-14033D89B1D7}"/>
              </a:ext>
            </a:extLst>
          </p:cNvPr>
          <p:cNvSpPr>
            <a:spLocks noGrp="1"/>
          </p:cNvSpPr>
          <p:nvPr>
            <p:ph type="body" sz="quarter" idx="44" hasCustomPrompt="1"/>
          </p:nvPr>
        </p:nvSpPr>
        <p:spPr>
          <a:xfrm>
            <a:off x="8994295" y="4385714"/>
            <a:ext cx="2530957" cy="528719"/>
          </a:xfrm>
        </p:spPr>
        <p:txBody>
          <a:bodyPr/>
          <a:lstStyle/>
          <a:p>
            <a:pPr lvl="0"/>
            <a:r>
              <a:rPr lang="nl-NL"/>
              <a:t>Vul hier de naam van het spoor in</a:t>
            </a:r>
          </a:p>
        </p:txBody>
      </p:sp>
      <p:sp>
        <p:nvSpPr>
          <p:cNvPr id="45" name="Tijdelijke aanduiding voor tekst 31">
            <a:extLst>
              <a:ext uri="{FF2B5EF4-FFF2-40B4-BE49-F238E27FC236}">
                <a16:creationId xmlns:a16="http://schemas.microsoft.com/office/drawing/2014/main" id="{C93D5F3F-0707-954E-A7B4-BD34C15AFADB}"/>
              </a:ext>
            </a:extLst>
          </p:cNvPr>
          <p:cNvSpPr>
            <a:spLocks noGrp="1"/>
          </p:cNvSpPr>
          <p:nvPr>
            <p:ph type="body" sz="quarter" idx="45" hasCustomPrompt="1"/>
          </p:nvPr>
        </p:nvSpPr>
        <p:spPr>
          <a:xfrm>
            <a:off x="8994295" y="4936189"/>
            <a:ext cx="2530957" cy="1332000"/>
          </a:xfrm>
        </p:spPr>
        <p:txBody>
          <a:bodyPr/>
          <a:lstStyle/>
          <a:p>
            <a:pPr lvl="0"/>
            <a:r>
              <a:rPr lang="nl-NL"/>
              <a:t>Vul hier de namen van de deliverables / producten die de hoogste prioriteit hebben in</a:t>
            </a:r>
          </a:p>
        </p:txBody>
      </p:sp>
    </p:spTree>
    <p:extLst>
      <p:ext uri="{BB962C8B-B14F-4D97-AF65-F5344CB8AC3E}">
        <p14:creationId xmlns:p14="http://schemas.microsoft.com/office/powerpoint/2010/main" val="187533144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hasCustomPrompt="1"/>
          </p:nvPr>
        </p:nvSpPr>
        <p:spPr>
          <a:xfrm>
            <a:off x="666747"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hasCustomPrompt="1"/>
          </p:nvPr>
        </p:nvSpPr>
        <p:spPr>
          <a:xfrm>
            <a:off x="4344407"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hasCustomPrompt="1"/>
          </p:nvPr>
        </p:nvSpPr>
        <p:spPr>
          <a:xfrm>
            <a:off x="8008570"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hasCustomPrompt="1"/>
          </p:nvPr>
        </p:nvSpPr>
        <p:spPr>
          <a:xfrm>
            <a:off x="666747"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hasCustomPrompt="1"/>
          </p:nvPr>
        </p:nvSpPr>
        <p:spPr>
          <a:xfrm>
            <a:off x="4344407"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hasCustomPrompt="1"/>
          </p:nvPr>
        </p:nvSpPr>
        <p:spPr>
          <a:xfrm>
            <a:off x="8008570"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89470570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ver No Pic">
    <p:spTree>
      <p:nvGrpSpPr>
        <p:cNvPr id="1" name=""/>
        <p:cNvGrpSpPr/>
        <p:nvPr/>
      </p:nvGrpSpPr>
      <p:grpSpPr>
        <a:xfrm>
          <a:off x="0" y="0"/>
          <a:ext cx="0" cy="0"/>
          <a:chOff x="0" y="0"/>
          <a:chExt cx="0" cy="0"/>
        </a:xfrm>
      </p:grpSpPr>
      <p:sp>
        <p:nvSpPr>
          <p:cNvPr id="6" name="Rectangle 5"/>
          <p:cNvSpPr/>
          <p:nvPr userDrawn="1"/>
        </p:nvSpPr>
        <p:spPr>
          <a:xfrm>
            <a:off x="658813" y="0"/>
            <a:ext cx="115331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7" name="Tijdelijke aanduiding voor titel 1"/>
          <p:cNvSpPr>
            <a:spLocks noGrp="1"/>
          </p:cNvSpPr>
          <p:nvPr>
            <p:ph type="ctrTitle" hasCustomPrompt="1"/>
          </p:nvPr>
        </p:nvSpPr>
        <p:spPr>
          <a:xfrm>
            <a:off x="989445" y="1758950"/>
            <a:ext cx="9789584"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8" name="Tijdelijke aanduiding voor tekst 2"/>
          <p:cNvSpPr>
            <a:spLocks noGrp="1"/>
          </p:cNvSpPr>
          <p:nvPr>
            <p:ph type="body" idx="1" hasCustomPrompt="1"/>
          </p:nvPr>
        </p:nvSpPr>
        <p:spPr>
          <a:xfrm>
            <a:off x="989445" y="3602038"/>
            <a:ext cx="9789584"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Tree>
    <p:extLst>
      <p:ext uri="{BB962C8B-B14F-4D97-AF65-F5344CB8AC3E}">
        <p14:creationId xmlns:p14="http://schemas.microsoft.com/office/powerpoint/2010/main" val="386651942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sp>
        <p:nvSpPr>
          <p:cNvPr id="6" name="Rectangle 5"/>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
        <p:nvSpPr>
          <p:cNvPr id="9" name="Rectangle 8">
            <a:extLst>
              <a:ext uri="{FF2B5EF4-FFF2-40B4-BE49-F238E27FC236}">
                <a16:creationId xmlns:a16="http://schemas.microsoft.com/office/drawing/2014/main" id="{C8EE59D7-E2D5-4CAC-9E3A-721293572BE1}"/>
              </a:ext>
            </a:extLst>
          </p:cNvPr>
          <p:cNvSpPr/>
          <p:nvPr userDrawn="1"/>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endParaRPr lang="nl-NL" noProof="0"/>
          </a:p>
        </p:txBody>
      </p:sp>
    </p:spTree>
    <p:extLst>
      <p:ext uri="{BB962C8B-B14F-4D97-AF65-F5344CB8AC3E}">
        <p14:creationId xmlns:p14="http://schemas.microsoft.com/office/powerpoint/2010/main" val="226514508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endParaRPr lang="nl-NL" noProof="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6916882"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6916882" cy="3973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Tree>
    <p:extLst>
      <p:ext uri="{BB962C8B-B14F-4D97-AF65-F5344CB8AC3E}">
        <p14:creationId xmlns:p14="http://schemas.microsoft.com/office/powerpoint/2010/main" val="395666383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a:lstStyle>
            <a:lvl1pPr>
              <a:defRPr sz="4000" b="1" u="none"/>
            </a:lvl1pPr>
          </a:lstStyle>
          <a:p>
            <a:pPr lvl="0"/>
            <a:r>
              <a:rPr lang="nl-NL" noProof="0"/>
              <a:t>Klik om hoofdstuknummer in te voegen</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a:lstStyle>
            <a:lvl1pPr>
              <a:defRPr sz="5400" b="1">
                <a:solidFill>
                  <a:schemeClr val="tx2"/>
                </a:solidFill>
              </a:defRPr>
            </a:lvl1pPr>
          </a:lstStyle>
          <a:p>
            <a:pPr lvl="0"/>
            <a:r>
              <a:rPr lang="nl-NL" noProof="0"/>
              <a:t>Klik om hoofdstuk titel in te voegen</a:t>
            </a:r>
          </a:p>
        </p:txBody>
      </p:sp>
    </p:spTree>
    <p:extLst>
      <p:ext uri="{BB962C8B-B14F-4D97-AF65-F5344CB8AC3E}">
        <p14:creationId xmlns:p14="http://schemas.microsoft.com/office/powerpoint/2010/main" val="392326959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userDrawn="1"/>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noProof="0">
              <a:solidFill>
                <a:srgbClr val="000000"/>
              </a:solidFill>
              <a:latin typeface="Corbel" panose="020B0503020204020204" pitchFamily="34" charset="0"/>
            </a:endParaRPr>
          </a:p>
        </p:txBody>
      </p:sp>
      <p:sp>
        <p:nvSpPr>
          <p:cNvPr id="2" name="Title 1"/>
          <p:cNvSpPr>
            <a:spLocks noGrp="1"/>
          </p:cNvSpPr>
          <p:nvPr>
            <p:ph type="title" hasCustomPrompt="1"/>
          </p:nvPr>
        </p:nvSpPr>
        <p:spPr>
          <a:xfrm rot="16200000">
            <a:off x="-1789060" y="2468072"/>
            <a:ext cx="6579421" cy="1643271"/>
          </a:xfrm>
          <a:prstGeom prst="rect">
            <a:avLst/>
          </a:prstGeom>
        </p:spPr>
        <p:txBody>
          <a:bodyPr/>
          <a:lstStyle>
            <a:lvl1pPr algn="ctr">
              <a:defRPr sz="5400">
                <a:solidFill>
                  <a:schemeClr val="tx2"/>
                </a:solidFill>
              </a:defRPr>
            </a:lvl1pPr>
          </a:lstStyle>
          <a:p>
            <a:r>
              <a:rPr lang="nl-NL" noProof="0"/>
              <a:t>Klik om titel in te voegen</a:t>
            </a:r>
          </a:p>
        </p:txBody>
      </p:sp>
      <p:sp>
        <p:nvSpPr>
          <p:cNvPr id="7" name="Footer Placeholder 6"/>
          <p:cNvSpPr>
            <a:spLocks noGrp="1"/>
          </p:cNvSpPr>
          <p:nvPr>
            <p:ph type="ftr" sz="quarter" idx="13"/>
          </p:nvPr>
        </p:nvSpPr>
        <p:spPr>
          <a:xfrm>
            <a:off x="679015" y="6579420"/>
            <a:ext cx="10011773" cy="225188"/>
          </a:xfrm>
          <a:prstGeom prst="rect">
            <a:avLst/>
          </a:prstGeom>
        </p:spPr>
        <p:txBody>
          <a:bodyPr/>
          <a:lstStyle>
            <a:lvl1pPr>
              <a:defRPr sz="1000">
                <a:latin typeface="Corbel" panose="020B0503020204020204" pitchFamily="34" charset="0"/>
              </a:defRPr>
            </a:lvl1pPr>
          </a:lstStyle>
          <a:p>
            <a:r>
              <a:rPr lang="nl-NL"/>
              <a:t>Informatiebijeenkomst 26 juli 2021 Europese Aanbesteding SVWI</a:t>
            </a:r>
          </a:p>
        </p:txBody>
      </p:sp>
      <p:sp>
        <p:nvSpPr>
          <p:cNvPr id="17" name="Slide Number Placeholder 5">
            <a:extLst>
              <a:ext uri="{FF2B5EF4-FFF2-40B4-BE49-F238E27FC236}">
                <a16:creationId xmlns:a16="http://schemas.microsoft.com/office/drawing/2014/main" id="{8F05B933-2137-41C1-8E87-28DFD097E66E}"/>
              </a:ext>
            </a:extLst>
          </p:cNvPr>
          <p:cNvSpPr>
            <a:spLocks noGrp="1"/>
          </p:cNvSpPr>
          <p:nvPr>
            <p:ph type="sldNum" sz="quarter" idx="12"/>
          </p:nvPr>
        </p:nvSpPr>
        <p:spPr>
          <a:xfrm>
            <a:off x="10845404" y="6579420"/>
            <a:ext cx="813612" cy="225188"/>
          </a:xfrm>
          <a:prstGeom prst="rect">
            <a:avLst/>
          </a:prstGeom>
        </p:spPr>
        <p:txBody>
          <a:bodyPr/>
          <a:lstStyle>
            <a:lvl1pPr algn="ctr">
              <a:defRPr sz="1050">
                <a:latin typeface="Corbel" panose="020B0503020204020204" pitchFamily="34" charset="0"/>
              </a:defRPr>
            </a:lvl1pPr>
          </a:lstStyle>
          <a:p>
            <a:fld id="{9493FAB8-1E51-48C1-887E-A59978B24DF9}" type="slidenum">
              <a:rPr lang="nl-NL" noProof="0" smtClean="0"/>
              <a:pPr/>
              <a:t>‹nr.›</a:t>
            </a:fld>
            <a:endParaRPr lang="nl-NL" noProof="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Tree>
    <p:extLst>
      <p:ext uri="{BB962C8B-B14F-4D97-AF65-F5344CB8AC3E}">
        <p14:creationId xmlns:p14="http://schemas.microsoft.com/office/powerpoint/2010/main" val="1621640023"/>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endParaRPr lang="nl-NL" noProof="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a:defRPr sz="2000" b="1">
                <a:solidFill>
                  <a:srgbClr val="000000"/>
                </a:solidFill>
              </a:defRPr>
            </a:lvl1pPr>
          </a:lstStyle>
          <a:p>
            <a:pPr lvl="0"/>
            <a:r>
              <a:rPr lang="nl-NL" noProof="0"/>
              <a:t>Klik om titel in te voegen</a:t>
            </a:r>
          </a:p>
        </p:txBody>
      </p:sp>
    </p:spTree>
    <p:extLst>
      <p:ext uri="{BB962C8B-B14F-4D97-AF65-F5344CB8AC3E}">
        <p14:creationId xmlns:p14="http://schemas.microsoft.com/office/powerpoint/2010/main" val="225592591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endParaRPr lang="nl-NL" noProof="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nl-NL" noProof="0"/>
              <a:t>Klik om titel in te voegen</a:t>
            </a:r>
          </a:p>
        </p:txBody>
      </p:sp>
    </p:spTree>
    <p:extLst>
      <p:ext uri="{BB962C8B-B14F-4D97-AF65-F5344CB8AC3E}">
        <p14:creationId xmlns:p14="http://schemas.microsoft.com/office/powerpoint/2010/main" val="132481431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solidFill>
                  <a:schemeClr val="tx2"/>
                </a:solidFill>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endParaRPr lang="nl-NL" noProof="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endParaRPr lang="nl-NL" noProof="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endParaRPr lang="nl-NL" noProof="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endParaRPr lang="nl-NL" noProof="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endParaRPr lang="nl-NL" noProof="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endParaRPr lang="nl-NL" noProof="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endParaRPr lang="nl-NL" noProof="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endParaRPr lang="nl-NL" noProof="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endParaRPr lang="nl-NL" noProof="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endParaRPr lang="nl-NL" noProof="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endParaRPr lang="nl-NL" noProof="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endParaRPr lang="nl-NL" noProof="0"/>
          </a:p>
        </p:txBody>
      </p:sp>
    </p:spTree>
    <p:extLst>
      <p:ext uri="{BB962C8B-B14F-4D97-AF65-F5344CB8AC3E}">
        <p14:creationId xmlns:p14="http://schemas.microsoft.com/office/powerpoint/2010/main" val="291190010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solidFill>
                  <a:schemeClr val="tx2"/>
                </a:solidFill>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endParaRPr lang="nl-NL" noProof="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endParaRPr lang="nl-NL" noProof="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endParaRPr lang="nl-NL" noProof="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endParaRPr lang="nl-NL" noProof="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endParaRPr lang="nl-NL" noProof="0"/>
          </a:p>
        </p:txBody>
      </p:sp>
    </p:spTree>
    <p:extLst>
      <p:ext uri="{BB962C8B-B14F-4D97-AF65-F5344CB8AC3E}">
        <p14:creationId xmlns:p14="http://schemas.microsoft.com/office/powerpoint/2010/main" val="715655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8" y="1592263"/>
            <a:ext cx="10866440" cy="4716461"/>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40207263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No Pic">
    <p:spTree>
      <p:nvGrpSpPr>
        <p:cNvPr id="1" name=""/>
        <p:cNvGrpSpPr/>
        <p:nvPr/>
      </p:nvGrpSpPr>
      <p:grpSpPr>
        <a:xfrm>
          <a:off x="0" y="0"/>
          <a:ext cx="0" cy="0"/>
          <a:chOff x="0" y="0"/>
          <a:chExt cx="0" cy="0"/>
        </a:xfrm>
      </p:grpSpPr>
      <p:sp>
        <p:nvSpPr>
          <p:cNvPr id="6" name="Rectangle 5"/>
          <p:cNvSpPr/>
          <p:nvPr userDrawn="1"/>
        </p:nvSpPr>
        <p:spPr>
          <a:xfrm>
            <a:off x="658813" y="0"/>
            <a:ext cx="115331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7" name="Tijdelijke aanduiding voor titel 1"/>
          <p:cNvSpPr>
            <a:spLocks noGrp="1"/>
          </p:cNvSpPr>
          <p:nvPr>
            <p:ph type="ctrTitle" hasCustomPrompt="1"/>
          </p:nvPr>
        </p:nvSpPr>
        <p:spPr>
          <a:xfrm>
            <a:off x="989445" y="1758950"/>
            <a:ext cx="9789584"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8" name="Tijdelijke aanduiding voor tekst 2"/>
          <p:cNvSpPr>
            <a:spLocks noGrp="1"/>
          </p:cNvSpPr>
          <p:nvPr>
            <p:ph type="body" idx="1" hasCustomPrompt="1"/>
          </p:nvPr>
        </p:nvSpPr>
        <p:spPr>
          <a:xfrm>
            <a:off x="989445" y="3602038"/>
            <a:ext cx="9789584"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Tree>
    <p:extLst>
      <p:ext uri="{BB962C8B-B14F-4D97-AF65-F5344CB8AC3E}">
        <p14:creationId xmlns:p14="http://schemas.microsoft.com/office/powerpoint/2010/main" val="140996822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endParaRPr lang="nl-NL" noProof="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endParaRPr lang="nl-NL" noProof="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endParaRPr lang="nl-NL" noProof="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endParaRPr lang="nl-NL" noProof="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endParaRPr lang="nl-NL" noProof="0"/>
          </a:p>
        </p:txBody>
      </p:sp>
    </p:spTree>
    <p:extLst>
      <p:ext uri="{BB962C8B-B14F-4D97-AF65-F5344CB8AC3E}">
        <p14:creationId xmlns:p14="http://schemas.microsoft.com/office/powerpoint/2010/main" val="85017847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endParaRPr lang="nl-NL" noProof="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endParaRPr lang="nl-NL" noProof="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endParaRPr lang="nl-NL" noProof="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endParaRPr lang="nl-NL" noProof="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endParaRPr lang="nl-NL" noProof="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endParaRPr lang="nl-NL" noProof="0"/>
          </a:p>
        </p:txBody>
      </p:sp>
    </p:spTree>
    <p:extLst>
      <p:ext uri="{BB962C8B-B14F-4D97-AF65-F5344CB8AC3E}">
        <p14:creationId xmlns:p14="http://schemas.microsoft.com/office/powerpoint/2010/main" val="40970511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Pic (6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endParaRPr lang="nl-NL" noProof="0"/>
          </a:p>
        </p:txBody>
      </p:sp>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endParaRPr lang="nl-NL" noProof="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endParaRPr lang="nl-NL" noProof="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endParaRPr lang="nl-NL" noProof="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endParaRPr lang="nl-NL" noProof="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endParaRPr lang="nl-NL" noProof="0"/>
          </a:p>
        </p:txBody>
      </p:sp>
    </p:spTree>
    <p:extLst>
      <p:ext uri="{BB962C8B-B14F-4D97-AF65-F5344CB8AC3E}">
        <p14:creationId xmlns:p14="http://schemas.microsoft.com/office/powerpoint/2010/main" val="171517370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419369" y="1751832"/>
            <a:ext cx="1978923" cy="1978923"/>
          </a:xfrm>
          <a:prstGeom prst="ellipse">
            <a:avLst/>
          </a:prstGeom>
          <a:ln w="76200">
            <a:noFill/>
          </a:ln>
        </p:spPr>
        <p:txBody>
          <a:bodyPr/>
          <a:lstStyle>
            <a:lvl1pPr>
              <a:defRPr/>
            </a:lvl1pPr>
          </a:lstStyle>
          <a:p>
            <a:r>
              <a:rPr lang="nl-NL" noProof="0"/>
              <a:t>Picture</a:t>
            </a:r>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endParaRPr lang="nl-NL" noProof="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endParaRPr lang="nl-NL" noProof="0"/>
          </a:p>
        </p:txBody>
      </p:sp>
    </p:spTree>
    <p:extLst>
      <p:ext uri="{BB962C8B-B14F-4D97-AF65-F5344CB8AC3E}">
        <p14:creationId xmlns:p14="http://schemas.microsoft.com/office/powerpoint/2010/main" val="359712923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endParaRPr lang="nl-NL" noProof="0"/>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endParaRPr lang="nl-NL" noProof="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endParaRPr lang="nl-NL" noProof="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endParaRPr lang="nl-NL" noProof="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endParaRPr lang="nl-NL" noProof="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endParaRPr lang="nl-NL" noProof="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endParaRPr lang="nl-NL" noProof="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endParaRPr lang="nl-NL" noProof="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endParaRPr lang="nl-NL" noProof="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endParaRPr lang="nl-NL" noProof="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endParaRPr lang="nl-NL" noProof="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172431" y="1670050"/>
            <a:ext cx="2320190" cy="791465"/>
          </a:xfrm>
        </p:spPr>
        <p:txBody>
          <a:bodyPr/>
          <a:lstStyle>
            <a:lvl1pPr>
              <a:defRPr/>
            </a:lvl1pPr>
          </a:lstStyle>
          <a:p>
            <a:pPr lvl="0"/>
            <a:r>
              <a:rPr lang="nl-NL" noProof="0"/>
              <a:t>Klik om tekst in te voegen</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hasCustomPrompt="1"/>
          </p:nvPr>
        </p:nvSpPr>
        <p:spPr>
          <a:xfrm>
            <a:off x="5172431" y="2612782"/>
            <a:ext cx="2320190" cy="791465"/>
          </a:xfrm>
        </p:spPr>
        <p:txBody>
          <a:bodyPr/>
          <a:lstStyle>
            <a:lvl1pPr>
              <a:defRPr/>
            </a:lvl1pPr>
          </a:lstStyle>
          <a:p>
            <a:pPr lvl="0"/>
            <a:r>
              <a:rPr lang="nl-NL" noProof="0"/>
              <a:t>Klik om tekst in te voegen</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hasCustomPrompt="1"/>
          </p:nvPr>
        </p:nvSpPr>
        <p:spPr>
          <a:xfrm>
            <a:off x="5172431" y="3554761"/>
            <a:ext cx="2320190" cy="791465"/>
          </a:xfrm>
        </p:spPr>
        <p:txBody>
          <a:bodyPr/>
          <a:lstStyle>
            <a:lvl1pPr>
              <a:defRPr/>
            </a:lvl1pPr>
          </a:lstStyle>
          <a:p>
            <a:pPr lvl="0"/>
            <a:r>
              <a:rPr lang="nl-NL" noProof="0"/>
              <a:t>Klik om tekst in te voegen</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hasCustomPrompt="1"/>
          </p:nvPr>
        </p:nvSpPr>
        <p:spPr>
          <a:xfrm>
            <a:off x="5172431" y="4496740"/>
            <a:ext cx="2320190" cy="791465"/>
          </a:xfrm>
        </p:spPr>
        <p:txBody>
          <a:bodyPr/>
          <a:lstStyle>
            <a:lvl1pPr>
              <a:defRPr/>
            </a:lvl1pPr>
          </a:lstStyle>
          <a:p>
            <a:pPr lvl="0"/>
            <a:r>
              <a:rPr lang="nl-NL" noProof="0"/>
              <a:t>Klik om tekst in te voegen</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hasCustomPrompt="1"/>
          </p:nvPr>
        </p:nvSpPr>
        <p:spPr>
          <a:xfrm>
            <a:off x="5172431" y="5438719"/>
            <a:ext cx="2320190" cy="791465"/>
          </a:xfrm>
        </p:spPr>
        <p:txBody>
          <a:bodyPr/>
          <a:lstStyle>
            <a:lvl1pPr>
              <a:defRPr/>
            </a:lvl1pPr>
          </a:lstStyle>
          <a:p>
            <a:pPr lvl="0"/>
            <a:r>
              <a:rPr lang="nl-NL" noProof="0"/>
              <a:t>Klik om tekst in te voegen</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hasCustomPrompt="1"/>
          </p:nvPr>
        </p:nvSpPr>
        <p:spPr>
          <a:xfrm>
            <a:off x="8876823" y="1670050"/>
            <a:ext cx="2320190" cy="791465"/>
          </a:xfrm>
        </p:spPr>
        <p:txBody>
          <a:bodyPr/>
          <a:lstStyle>
            <a:lvl1pPr>
              <a:defRPr/>
            </a:lvl1pPr>
          </a:lstStyle>
          <a:p>
            <a:pPr lvl="0"/>
            <a:r>
              <a:rPr lang="nl-NL" noProof="0"/>
              <a:t>Klik om tekst in te voegen</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hasCustomPrompt="1"/>
          </p:nvPr>
        </p:nvSpPr>
        <p:spPr>
          <a:xfrm>
            <a:off x="8876823" y="2612782"/>
            <a:ext cx="2320190" cy="791465"/>
          </a:xfrm>
        </p:spPr>
        <p:txBody>
          <a:bodyPr/>
          <a:lstStyle>
            <a:lvl1pPr>
              <a:defRPr/>
            </a:lvl1pPr>
          </a:lstStyle>
          <a:p>
            <a:pPr lvl="0"/>
            <a:r>
              <a:rPr lang="nl-NL" noProof="0"/>
              <a:t>Klik om tekst in te voegen</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hasCustomPrompt="1"/>
          </p:nvPr>
        </p:nvSpPr>
        <p:spPr>
          <a:xfrm>
            <a:off x="8876823" y="3554761"/>
            <a:ext cx="2320190" cy="791465"/>
          </a:xfrm>
        </p:spPr>
        <p:txBody>
          <a:bodyPr/>
          <a:lstStyle>
            <a:lvl1pPr>
              <a:defRPr/>
            </a:lvl1pPr>
          </a:lstStyle>
          <a:p>
            <a:pPr lvl="0"/>
            <a:r>
              <a:rPr lang="nl-NL" noProof="0"/>
              <a:t>Klik om tekst in te voegen</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hasCustomPrompt="1"/>
          </p:nvPr>
        </p:nvSpPr>
        <p:spPr>
          <a:xfrm>
            <a:off x="8876823" y="4496740"/>
            <a:ext cx="2320190" cy="791465"/>
          </a:xfrm>
        </p:spPr>
        <p:txBody>
          <a:bodyPr/>
          <a:lstStyle>
            <a:lvl1pPr>
              <a:defRPr/>
            </a:lvl1pPr>
          </a:lstStyle>
          <a:p>
            <a:pPr lvl="0"/>
            <a:r>
              <a:rPr lang="nl-NL" noProof="0"/>
              <a:t>Klik om tekst in te voegen</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hasCustomPrompt="1"/>
          </p:nvPr>
        </p:nvSpPr>
        <p:spPr>
          <a:xfrm>
            <a:off x="8876823" y="5438719"/>
            <a:ext cx="2320190" cy="791465"/>
          </a:xfrm>
        </p:spPr>
        <p:txBody>
          <a:bodyPr/>
          <a:lstStyle>
            <a:lvl1pPr marL="0" marR="0" indent="0" algn="l" defTabSz="685800" rtl="0" eaLnBrk="1" fontAlgn="auto" latinLnBrk="0" hangingPunct="1">
              <a:lnSpc>
                <a:spcPct val="90000"/>
              </a:lnSpc>
              <a:spcBef>
                <a:spcPts val="750"/>
              </a:spcBef>
              <a:spcAft>
                <a:spcPts val="0"/>
              </a:spcAft>
              <a:buClr>
                <a:srgbClr val="FF0000"/>
              </a:buClr>
              <a:buSzTx/>
              <a:buFontTx/>
              <a:buNone/>
              <a:tabLst/>
              <a:defRPr/>
            </a:lvl1pPr>
          </a:lstStyle>
          <a:p>
            <a:pPr lvl="0"/>
            <a:r>
              <a:rPr lang="nl-NL" noProof="0"/>
              <a:t>Klik om tekst in te voegen</a:t>
            </a:r>
          </a:p>
        </p:txBody>
      </p:sp>
    </p:spTree>
    <p:extLst>
      <p:ext uri="{BB962C8B-B14F-4D97-AF65-F5344CB8AC3E}">
        <p14:creationId xmlns:p14="http://schemas.microsoft.com/office/powerpoint/2010/main" val="168946328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FF0000"/>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BEC2BF9-FEFE-4A1B-9B69-4DDBDF0C89D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9" name="Object 8" hidden="1">
                        <a:extLst>
                          <a:ext uri="{FF2B5EF4-FFF2-40B4-BE49-F238E27FC236}">
                            <a16:creationId xmlns:a16="http://schemas.microsoft.com/office/drawing/2014/main" id="{6BEC2BF9-FEFE-4A1B-9B69-4DDBDF0C89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D7DBC9A-B04B-404A-8B5E-B87220D3BB8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1" i="0" baseline="0" dirty="0">
              <a:latin typeface="Corbel" panose="020B0503020204020204" pitchFamily="34" charset="0"/>
              <a:ea typeface="+mj-ea"/>
              <a:cs typeface="+mj-cs"/>
              <a:sym typeface="Corbel" panose="020B0503020204020204" pitchFamily="34" charset="0"/>
            </a:endParaRPr>
          </a:p>
        </p:txBody>
      </p:sp>
      <p:pic>
        <p:nvPicPr>
          <p:cNvPr id="12" name="Picture 11">
            <a:extLst>
              <a:ext uri="{FF2B5EF4-FFF2-40B4-BE49-F238E27FC236}">
                <a16:creationId xmlns:a16="http://schemas.microsoft.com/office/drawing/2014/main" id="{85D5945B-D466-4062-835F-494FE4CD952E}"/>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b="15625"/>
          <a:stretch/>
        </p:blipFill>
        <p:spPr>
          <a:xfrm>
            <a:off x="1" y="-1"/>
            <a:ext cx="12192000" cy="6858001"/>
          </a:xfrm>
          <a:prstGeom prst="rect">
            <a:avLst/>
          </a:prstGeom>
        </p:spPr>
      </p:pic>
      <p:sp>
        <p:nvSpPr>
          <p:cNvPr id="17" name="Rectangle 16">
            <a:extLst>
              <a:ext uri="{FF2B5EF4-FFF2-40B4-BE49-F238E27FC236}">
                <a16:creationId xmlns:a16="http://schemas.microsoft.com/office/drawing/2014/main" id="{47E679ED-80B7-4967-9934-F88F04796C66}"/>
              </a:ext>
            </a:extLst>
          </p:cNvPr>
          <p:cNvSpPr/>
          <p:nvPr userDrawn="1"/>
        </p:nvSpPr>
        <p:spPr>
          <a:xfrm>
            <a:off x="0" y="-2"/>
            <a:ext cx="12192000" cy="7330965"/>
          </a:xfrm>
          <a:prstGeom prst="rect">
            <a:avLst/>
          </a:prstGeom>
          <a:gradFill>
            <a:gsLst>
              <a:gs pos="0">
                <a:schemeClr val="accent1">
                  <a:lumMod val="5000"/>
                  <a:lumOff val="95000"/>
                </a:schemeClr>
              </a:gs>
              <a:gs pos="4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5" name="Graphic 14">
            <a:extLst>
              <a:ext uri="{FF2B5EF4-FFF2-40B4-BE49-F238E27FC236}">
                <a16:creationId xmlns:a16="http://schemas.microsoft.com/office/drawing/2014/main" id="{DE205621-ED5E-4422-B8E7-515584C16C1B}"/>
              </a:ext>
            </a:extLst>
          </p:cNvPr>
          <p:cNvPicPr>
            <a:picLocks noChangeAspect="1"/>
          </p:cNvPicPr>
          <p:nvPr userDrawn="1"/>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9512" y="169023"/>
            <a:ext cx="427566" cy="1454306"/>
          </a:xfrm>
          <a:prstGeom prst="rect">
            <a:avLst/>
          </a:prstGeom>
        </p:spPr>
      </p:pic>
      <p:sp>
        <p:nvSpPr>
          <p:cNvPr id="2" name="Title 1">
            <a:extLst>
              <a:ext uri="{FF2B5EF4-FFF2-40B4-BE49-F238E27FC236}">
                <a16:creationId xmlns:a16="http://schemas.microsoft.com/office/drawing/2014/main" id="{94A1BAF4-4828-4CFD-86B5-052A278F054C}"/>
              </a:ext>
            </a:extLst>
          </p:cNvPr>
          <p:cNvSpPr>
            <a:spLocks noGrp="1"/>
          </p:cNvSpPr>
          <p:nvPr>
            <p:ph type="ctrTitle"/>
          </p:nvPr>
        </p:nvSpPr>
        <p:spPr>
          <a:xfrm>
            <a:off x="4510476" y="103595"/>
            <a:ext cx="7417228" cy="666409"/>
          </a:xfrm>
        </p:spPr>
        <p:txBody>
          <a:bodyPr anchor="t">
            <a:noAutofit/>
          </a:bodyPr>
          <a:lstStyle>
            <a:lvl1pPr algn="r">
              <a:defRPr sz="4400">
                <a:solidFill>
                  <a:srgbClr val="FF0000"/>
                </a:solidFill>
              </a:defRPr>
            </a:lvl1pPr>
          </a:lstStyle>
          <a:p>
            <a:r>
              <a:rPr lang="en-US"/>
              <a:t>Click to edit Master title style</a:t>
            </a:r>
            <a:endParaRPr lang="nl-NL" dirty="0"/>
          </a:p>
        </p:txBody>
      </p:sp>
      <p:sp>
        <p:nvSpPr>
          <p:cNvPr id="3" name="Subtitle 2">
            <a:extLst>
              <a:ext uri="{FF2B5EF4-FFF2-40B4-BE49-F238E27FC236}">
                <a16:creationId xmlns:a16="http://schemas.microsoft.com/office/drawing/2014/main" id="{0BB56C6F-48AD-46B9-9929-C88AB3E0BD8C}"/>
              </a:ext>
            </a:extLst>
          </p:cNvPr>
          <p:cNvSpPr>
            <a:spLocks noGrp="1"/>
          </p:cNvSpPr>
          <p:nvPr>
            <p:ph type="subTitle" idx="1"/>
          </p:nvPr>
        </p:nvSpPr>
        <p:spPr>
          <a:xfrm>
            <a:off x="4510476" y="867080"/>
            <a:ext cx="7417228" cy="666409"/>
          </a:xfrm>
        </p:spPr>
        <p:txBody>
          <a:bodyPr>
            <a:normAutofit/>
          </a:bodyPr>
          <a:lstStyle>
            <a:lvl1pPr marL="0" indent="0" algn="r">
              <a:buNone/>
              <a:defRPr sz="2000">
                <a:solidFill>
                  <a:srgbClr val="FF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dirty="0"/>
          </a:p>
        </p:txBody>
      </p:sp>
      <p:sp>
        <p:nvSpPr>
          <p:cNvPr id="4" name="Date Placeholder 3">
            <a:extLst>
              <a:ext uri="{FF2B5EF4-FFF2-40B4-BE49-F238E27FC236}">
                <a16:creationId xmlns:a16="http://schemas.microsoft.com/office/drawing/2014/main" id="{D6B5EA94-7868-4FD4-8BB9-937D0551D784}"/>
              </a:ext>
            </a:extLst>
          </p:cNvPr>
          <p:cNvSpPr>
            <a:spLocks noGrp="1"/>
          </p:cNvSpPr>
          <p:nvPr>
            <p:ph type="dt" sz="half" idx="10"/>
          </p:nvPr>
        </p:nvSpPr>
        <p:spPr/>
        <p:txBody>
          <a:bodyPr/>
          <a:lstStyle>
            <a:lvl1pPr>
              <a:defRPr>
                <a:solidFill>
                  <a:schemeClr val="bg1"/>
                </a:solidFill>
              </a:defRPr>
            </a:lvl1pPr>
          </a:lstStyle>
          <a:p>
            <a:endParaRPr lang="nl-NL"/>
          </a:p>
        </p:txBody>
      </p:sp>
      <p:sp>
        <p:nvSpPr>
          <p:cNvPr id="5" name="Footer Placeholder 4">
            <a:extLst>
              <a:ext uri="{FF2B5EF4-FFF2-40B4-BE49-F238E27FC236}">
                <a16:creationId xmlns:a16="http://schemas.microsoft.com/office/drawing/2014/main" id="{8B8A998E-05A6-40F1-9899-FA1D1E62D39F}"/>
              </a:ext>
            </a:extLst>
          </p:cNvPr>
          <p:cNvSpPr>
            <a:spLocks noGrp="1"/>
          </p:cNvSpPr>
          <p:nvPr>
            <p:ph type="ftr" sz="quarter" idx="11"/>
          </p:nvPr>
        </p:nvSpPr>
        <p:spPr/>
        <p:txBody>
          <a:bodyPr/>
          <a:lstStyle>
            <a:lvl1pPr>
              <a:defRPr>
                <a:solidFill>
                  <a:schemeClr val="bg1"/>
                </a:solidFill>
              </a:defRPr>
            </a:lvl1pPr>
          </a:lstStyle>
          <a:p>
            <a:r>
              <a:rPr lang="nl-NL"/>
              <a:t>Informatiebijeenkomst 26 juli 2021 Europese Aanbesteding SVWI</a:t>
            </a:r>
          </a:p>
        </p:txBody>
      </p:sp>
      <p:sp>
        <p:nvSpPr>
          <p:cNvPr id="6" name="Slide Number Placeholder 5">
            <a:extLst>
              <a:ext uri="{FF2B5EF4-FFF2-40B4-BE49-F238E27FC236}">
                <a16:creationId xmlns:a16="http://schemas.microsoft.com/office/drawing/2014/main" id="{171B113C-FB0C-4FFD-A0C2-D8E175E0D4AD}"/>
              </a:ext>
            </a:extLst>
          </p:cNvPr>
          <p:cNvSpPr>
            <a:spLocks noGrp="1"/>
          </p:cNvSpPr>
          <p:nvPr>
            <p:ph type="sldNum" sz="quarter" idx="12"/>
          </p:nvPr>
        </p:nvSpPr>
        <p:spPr/>
        <p:txBody>
          <a:bodyPr/>
          <a:lstStyle>
            <a:lvl1pPr>
              <a:defRPr>
                <a:solidFill>
                  <a:schemeClr val="bg1"/>
                </a:solidFill>
              </a:defRPr>
            </a:lvl1pPr>
          </a:lstStyle>
          <a:p>
            <a:fld id="{45A36E73-D08C-4B9F-8331-386BEED44587}" type="slidenum">
              <a:rPr lang="nl-NL" smtClean="0"/>
              <a:pPr/>
              <a:t>‹nr.›</a:t>
            </a:fld>
            <a:endParaRPr lang="nl-NL"/>
          </a:p>
        </p:txBody>
      </p:sp>
      <p:sp>
        <p:nvSpPr>
          <p:cNvPr id="7" name="TextBox 6">
            <a:extLst>
              <a:ext uri="{FF2B5EF4-FFF2-40B4-BE49-F238E27FC236}">
                <a16:creationId xmlns:a16="http://schemas.microsoft.com/office/drawing/2014/main" id="{C499DA92-3BDD-42E6-9073-A00F66CF5940}"/>
              </a:ext>
            </a:extLst>
          </p:cNvPr>
          <p:cNvSpPr txBox="1"/>
          <p:nvPr userDrawn="1"/>
        </p:nvSpPr>
        <p:spPr>
          <a:xfrm>
            <a:off x="894472" y="59351"/>
            <a:ext cx="3550920" cy="954107"/>
          </a:xfrm>
          <a:prstGeom prst="rect">
            <a:avLst/>
          </a:prstGeom>
          <a:noFill/>
        </p:spPr>
        <p:txBody>
          <a:bodyPr wrap="square" rtlCol="0">
            <a:spAutoFit/>
          </a:bodyPr>
          <a:lstStyle/>
          <a:p>
            <a:r>
              <a:rPr lang="nl-NL" sz="2800" b="1" dirty="0">
                <a:solidFill>
                  <a:srgbClr val="FF0000"/>
                </a:solidFill>
                <a:latin typeface="Corbel" panose="020B0503020204020204" pitchFamily="34" charset="0"/>
              </a:rPr>
              <a:t>Gemeente</a:t>
            </a:r>
          </a:p>
          <a:p>
            <a:r>
              <a:rPr lang="nl-NL" sz="2800" b="1" dirty="0">
                <a:solidFill>
                  <a:srgbClr val="FF0000"/>
                </a:solidFill>
                <a:latin typeface="Corbel" panose="020B0503020204020204" pitchFamily="34" charset="0"/>
              </a:rPr>
              <a:t>Amsterdam</a:t>
            </a:r>
          </a:p>
        </p:txBody>
      </p:sp>
    </p:spTree>
    <p:extLst>
      <p:ext uri="{BB962C8B-B14F-4D97-AF65-F5344CB8AC3E}">
        <p14:creationId xmlns:p14="http://schemas.microsoft.com/office/powerpoint/2010/main" val="8598283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6BDA21-C90C-42FB-AF15-DA2E6670FCDB}"/>
              </a:ext>
            </a:extLst>
          </p:cNvPr>
          <p:cNvSpPr>
            <a:spLocks noGrp="1"/>
          </p:cNvSpPr>
          <p:nvPr>
            <p:ph type="title"/>
          </p:nvPr>
        </p:nvSpPr>
        <p:spPr/>
        <p:txBody>
          <a:bodyPr/>
          <a:lstStyle/>
          <a:p>
            <a:r>
              <a:rPr lang="en-US"/>
              <a:t>Click to edit Master title style</a:t>
            </a:r>
            <a:endParaRPr lang="nl-NL"/>
          </a:p>
        </p:txBody>
      </p:sp>
      <p:sp>
        <p:nvSpPr>
          <p:cNvPr id="3" name="Footer Placeholder 2">
            <a:extLst>
              <a:ext uri="{FF2B5EF4-FFF2-40B4-BE49-F238E27FC236}">
                <a16:creationId xmlns:a16="http://schemas.microsoft.com/office/drawing/2014/main" id="{C206697D-8968-41CD-B371-2F352E99F9AC}"/>
              </a:ext>
            </a:extLst>
          </p:cNvPr>
          <p:cNvSpPr>
            <a:spLocks noGrp="1"/>
          </p:cNvSpPr>
          <p:nvPr>
            <p:ph type="ftr" sz="quarter" idx="10"/>
          </p:nvPr>
        </p:nvSpPr>
        <p:spPr/>
        <p:txBody>
          <a:bodyPr/>
          <a:lstStyle/>
          <a:p>
            <a:r>
              <a:rPr lang="nl-NL"/>
              <a:t>Informatiebijeenkomst 26 juli 2021 Europese Aanbesteding SVWI</a:t>
            </a:r>
          </a:p>
        </p:txBody>
      </p:sp>
      <p:sp>
        <p:nvSpPr>
          <p:cNvPr id="4" name="Slide Number Placeholder 3">
            <a:extLst>
              <a:ext uri="{FF2B5EF4-FFF2-40B4-BE49-F238E27FC236}">
                <a16:creationId xmlns:a16="http://schemas.microsoft.com/office/drawing/2014/main" id="{D6CB5A6E-1E50-4BDB-9F2A-8C92E27C4336}"/>
              </a:ext>
            </a:extLst>
          </p:cNvPr>
          <p:cNvSpPr>
            <a:spLocks noGrp="1"/>
          </p:cNvSpPr>
          <p:nvPr>
            <p:ph type="sldNum" sz="quarter" idx="11"/>
          </p:nvPr>
        </p:nvSpPr>
        <p:spPr/>
        <p:txBody>
          <a:bodyPr/>
          <a:lstStyle/>
          <a:p>
            <a:fld id="{992CD0B2-8AB2-4C6C-8876-E15753662C9B}" type="slidenum">
              <a:rPr lang="nl-NL" noProof="0" smtClean="0"/>
              <a:pPr/>
              <a:t>‹nr.›</a:t>
            </a:fld>
            <a:endParaRPr lang="nl-NL" noProof="0"/>
          </a:p>
        </p:txBody>
      </p:sp>
    </p:spTree>
    <p:extLst>
      <p:ext uri="{BB962C8B-B14F-4D97-AF65-F5344CB8AC3E}">
        <p14:creationId xmlns:p14="http://schemas.microsoft.com/office/powerpoint/2010/main" val="23662308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8" y="1592263"/>
            <a:ext cx="10866440" cy="4716461"/>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51679451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72485326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206350" y="1592263"/>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9680252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sp>
        <p:nvSpPr>
          <p:cNvPr id="6" name="Rectangle 5"/>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
        <p:nvSpPr>
          <p:cNvPr id="9" name="Rectangle 8">
            <a:extLst>
              <a:ext uri="{FF2B5EF4-FFF2-40B4-BE49-F238E27FC236}">
                <a16:creationId xmlns:a16="http://schemas.microsoft.com/office/drawing/2014/main" id="{C8EE59D7-E2D5-4CAC-9E3A-721293572BE1}"/>
              </a:ext>
            </a:extLst>
          </p:cNvPr>
          <p:cNvSpPr/>
          <p:nvPr userDrawn="1"/>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endParaRPr lang="nl-NL" noProof="0"/>
          </a:p>
        </p:txBody>
      </p:sp>
    </p:spTree>
    <p:extLst>
      <p:ext uri="{BB962C8B-B14F-4D97-AF65-F5344CB8AC3E}">
        <p14:creationId xmlns:p14="http://schemas.microsoft.com/office/powerpoint/2010/main" val="365178034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3933374" y="1592263"/>
            <a:ext cx="7605374"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95288562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66749" y="1610863"/>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65083328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hasCustomPrompt="1"/>
          </p:nvPr>
        </p:nvSpPr>
        <p:spPr>
          <a:xfrm>
            <a:off x="666750" y="1611881"/>
            <a:ext cx="5332398" cy="247650"/>
          </a:xfrm>
        </p:spPr>
        <p:txBody>
          <a:bodyPr/>
          <a:lstStyle>
            <a:lvl1pPr>
              <a:defRPr b="1"/>
            </a:lvl1pPr>
          </a:lstStyle>
          <a:p>
            <a:pPr lvl="0"/>
            <a:r>
              <a:rPr lang="nl-NL" noProof="0"/>
              <a:t>Klik om kop toe te voegen</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206350" y="1611881"/>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01562001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hasCustomPrompt="1"/>
          </p:nvPr>
        </p:nvSpPr>
        <p:spPr>
          <a:xfrm>
            <a:off x="666747" y="1614179"/>
            <a:ext cx="5331600" cy="306388"/>
          </a:xfrm>
          <a:solidFill>
            <a:schemeClr val="tx2"/>
          </a:solidFill>
          <a:ln w="19050">
            <a:solidFill>
              <a:schemeClr val="accent1"/>
            </a:solidFill>
          </a:ln>
        </p:spPr>
        <p:txBody>
          <a:bodyPr anchor="ctr">
            <a:noAutofit/>
          </a:bodyPr>
          <a:lstStyle>
            <a:lvl1pPr algn="l">
              <a:defRPr b="1">
                <a:solidFill>
                  <a:schemeClr val="bg1"/>
                </a:solidFill>
              </a:defRPr>
            </a:lvl1pPr>
          </a:lstStyle>
          <a:p>
            <a:pPr lvl="0"/>
            <a:r>
              <a:rPr lang="nl-NL" noProof="0"/>
              <a:t>Klik om kop toe te voegen</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91440" tIns="45720" rIns="91440" bIns="4572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hasCustomPrompt="1"/>
          </p:nvPr>
        </p:nvSpPr>
        <p:spPr>
          <a:xfrm>
            <a:off x="6207148" y="1614179"/>
            <a:ext cx="5331600" cy="306388"/>
          </a:xfrm>
          <a:solidFill>
            <a:schemeClr val="tx2"/>
          </a:solidFill>
          <a:ln w="19050">
            <a:solidFill>
              <a:schemeClr val="accent1"/>
            </a:solidFill>
          </a:ln>
        </p:spPr>
        <p:txBody>
          <a:bodyPr vert="horz" lIns="91440" tIns="45720" rIns="91440" bIns="45720" rtlCol="0" anchor="ctr">
            <a:noAutofit/>
          </a:bodyPr>
          <a:lstStyle>
            <a:lvl1pPr algn="l">
              <a:defRPr lang="nl-NL" b="1" dirty="0">
                <a:solidFill>
                  <a:schemeClr val="bg1"/>
                </a:solidFill>
              </a:defRPr>
            </a:lvl1pPr>
          </a:lstStyle>
          <a:p>
            <a:pPr lvl="0"/>
            <a:r>
              <a:rPr lang="nl-NL" noProof="0"/>
              <a:t>Klik om kop toe te voegen</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91440" tIns="45720" rIns="91440" bIns="4572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65917757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7547004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hasCustomPrompt="1"/>
          </p:nvPr>
        </p:nvSpPr>
        <p:spPr>
          <a:xfrm>
            <a:off x="666750" y="1611881"/>
            <a:ext cx="3516680"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hasCustomPrompt="1"/>
          </p:nvPr>
        </p:nvSpPr>
        <p:spPr>
          <a:xfrm>
            <a:off x="4337660" y="1611881"/>
            <a:ext cx="3516680" cy="247650"/>
          </a:xfrm>
        </p:spPr>
        <p:txBody>
          <a:bodyPr/>
          <a:lstStyle>
            <a:lvl1pPr>
              <a:defRPr b="1"/>
            </a:lvl1pPr>
          </a:lstStyle>
          <a:p>
            <a:pPr lvl="0"/>
            <a:r>
              <a:rPr lang="nl-NL" noProof="0"/>
              <a:t>Klik om kop toe te voegen</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hasCustomPrompt="1"/>
          </p:nvPr>
        </p:nvSpPr>
        <p:spPr>
          <a:xfrm>
            <a:off x="8022067" y="1611881"/>
            <a:ext cx="3516680"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136351293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hasCustomPrompt="1"/>
          </p:nvPr>
        </p:nvSpPr>
        <p:spPr>
          <a:xfrm>
            <a:off x="666747"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hasCustomPrompt="1"/>
          </p:nvPr>
        </p:nvSpPr>
        <p:spPr>
          <a:xfrm>
            <a:off x="4344407"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hasCustomPrompt="1"/>
          </p:nvPr>
        </p:nvSpPr>
        <p:spPr>
          <a:xfrm>
            <a:off x="8008570"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28516518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5594543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hasCustomPrompt="1"/>
          </p:nvPr>
        </p:nvSpPr>
        <p:spPr>
          <a:xfrm>
            <a:off x="666747" y="1611881"/>
            <a:ext cx="5332398" cy="247650"/>
          </a:xfrm>
        </p:spPr>
        <p:txBody>
          <a:bodyPr/>
          <a:lstStyle>
            <a:lvl1pPr>
              <a:defRPr b="1"/>
            </a:lvl1pPr>
          </a:lstStyle>
          <a:p>
            <a:pPr lvl="0"/>
            <a:r>
              <a:rPr lang="nl-NL" noProof="0"/>
              <a:t>Klik om kop toe te voegen</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hasCustomPrompt="1"/>
          </p:nvPr>
        </p:nvSpPr>
        <p:spPr>
          <a:xfrm>
            <a:off x="6192852" y="1611881"/>
            <a:ext cx="5332398" cy="247650"/>
          </a:xfrm>
        </p:spPr>
        <p:txBody>
          <a:bodyPr/>
          <a:lstStyle>
            <a:lvl1pPr>
              <a:defRPr b="1"/>
            </a:lvl1pPr>
          </a:lstStyle>
          <a:p>
            <a:pPr lvl="0"/>
            <a:r>
              <a:rPr lang="nl-NL" noProof="0"/>
              <a:t>Klik om kop toe te voegen</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hasCustomPrompt="1"/>
          </p:nvPr>
        </p:nvSpPr>
        <p:spPr>
          <a:xfrm>
            <a:off x="666747" y="4034805"/>
            <a:ext cx="5332398"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hasCustomPrompt="1"/>
          </p:nvPr>
        </p:nvSpPr>
        <p:spPr>
          <a:xfrm>
            <a:off x="6192852" y="4034805"/>
            <a:ext cx="5332398"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83741082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hasCustomPrompt="1"/>
          </p:nvPr>
        </p:nvSpPr>
        <p:spPr>
          <a:xfrm>
            <a:off x="666747"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hasCustomPrompt="1"/>
          </p:nvPr>
        </p:nvSpPr>
        <p:spPr>
          <a:xfrm>
            <a:off x="6192051"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hasCustomPrompt="1"/>
          </p:nvPr>
        </p:nvSpPr>
        <p:spPr>
          <a:xfrm>
            <a:off x="666747" y="4078538"/>
            <a:ext cx="5331600" cy="306388"/>
          </a:xfrm>
          <a:solidFill>
            <a:schemeClr val="tx2"/>
          </a:solidFill>
          <a:ln w="19050">
            <a:solidFill>
              <a:schemeClr val="accent1"/>
            </a:solidFill>
          </a:ln>
        </p:spPr>
        <p:txBody>
          <a:bodyPr vert="horz" lIns="91440" tIns="45720" rIns="91440" bIns="45720" rtlCol="0" anchor="ctr">
            <a:noAutofit/>
          </a:bodyPr>
          <a:lstStyle>
            <a:lvl1pPr>
              <a:defRPr lang="nl-NL" b="1"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hasCustomPrompt="1"/>
          </p:nvPr>
        </p:nvSpPr>
        <p:spPr>
          <a:xfrm>
            <a:off x="6192051" y="4078538"/>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3882191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endParaRPr lang="nl-NL" noProof="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6916882"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6916882" cy="3973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Tree>
    <p:extLst>
      <p:ext uri="{BB962C8B-B14F-4D97-AF65-F5344CB8AC3E}">
        <p14:creationId xmlns:p14="http://schemas.microsoft.com/office/powerpoint/2010/main" val="282303654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Box (4)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91440" tIns="45720" rIns="91440" bIns="45720" rtlCol="0">
            <a:noAutofit/>
          </a:bodyPr>
          <a:lstStyle>
            <a:lvl1pPr>
              <a:defRPr lang="en-US" dirty="0"/>
            </a:lvl1pPr>
            <a:lvl2pPr marL="285750" indent="-285750">
              <a:buFont typeface="Arial" panose="020B0604020202020204" pitchFamily="34" charset="0"/>
              <a:buChar char="•"/>
              <a:defRPr lang="en-US" dirty="0"/>
            </a:lvl2pPr>
            <a:lvl3pPr>
              <a:defRPr lang="en-US" dirty="0"/>
            </a:lvl3pPr>
            <a:lvl4pPr>
              <a:defRPr lang="en-US"/>
            </a:lvl4pPr>
            <a:lvl5pPr>
              <a:defRPr lang="nl-NL"/>
            </a:lvl5pPr>
          </a:lstStyle>
          <a:p>
            <a:pPr lvl="1"/>
            <a:r>
              <a:rPr lang="nl-NL" noProof="0"/>
              <a:t>Typ hier je antwoord</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91440" tIns="45720" rIns="91440" bIns="45720" rtlCol="0">
            <a:noAutofit/>
          </a:bodyPr>
          <a:lstStyle>
            <a:lvl1pPr>
              <a:defRPr lang="en-US" dirty="0"/>
            </a:lvl1pPr>
            <a:lvl2pPr marL="285750" indent="-285750">
              <a:buFont typeface="Arial" panose="020B0604020202020204" pitchFamily="34" charset="0"/>
              <a:buChar char="•"/>
              <a:defRPr lang="en-US" dirty="0"/>
            </a:lvl2pPr>
            <a:lvl3pPr>
              <a:defRPr lang="en-US" dirty="0"/>
            </a:lvl3pPr>
            <a:lvl4pPr>
              <a:defRPr lang="en-US" dirty="0"/>
            </a:lvl4pPr>
            <a:lvl5pPr>
              <a:defRPr lang="nl-NL" dirty="0"/>
            </a:lvl5pPr>
          </a:lstStyle>
          <a:p>
            <a:pPr lvl="1"/>
            <a:r>
              <a:rPr lang="nl-NL" noProof="0"/>
              <a:t>Typ hier je antwoord</a:t>
            </a:r>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hasCustomPrompt="1"/>
          </p:nvPr>
        </p:nvSpPr>
        <p:spPr>
          <a:xfrm>
            <a:off x="666747"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hasCustomPrompt="1"/>
          </p:nvPr>
        </p:nvSpPr>
        <p:spPr>
          <a:xfrm>
            <a:off x="6192051"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hasCustomPrompt="1"/>
          </p:nvPr>
        </p:nvSpPr>
        <p:spPr>
          <a:xfrm>
            <a:off x="666747" y="4078538"/>
            <a:ext cx="5331600" cy="306388"/>
          </a:xfrm>
          <a:solidFill>
            <a:schemeClr val="tx2"/>
          </a:solidFill>
          <a:ln w="19050">
            <a:solidFill>
              <a:schemeClr val="accent1"/>
            </a:solidFill>
          </a:ln>
        </p:spPr>
        <p:txBody>
          <a:bodyPr vert="horz" lIns="91440" tIns="45720" rIns="91440" bIns="45720" rtlCol="0" anchor="ctr">
            <a:noAutofit/>
          </a:bodyPr>
          <a:lstStyle>
            <a:lvl1pPr>
              <a:defRPr lang="nl-NL" b="1"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hasCustomPrompt="1"/>
          </p:nvPr>
        </p:nvSpPr>
        <p:spPr>
          <a:xfrm>
            <a:off x="6192051" y="4078538"/>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91440" tIns="45720" rIns="91440" bIns="45720" rtlCol="0">
            <a:noAutofit/>
          </a:bodyPr>
          <a:lstStyle>
            <a:lvl1pPr>
              <a:defRPr lang="en-US" dirty="0"/>
            </a:lvl1pPr>
            <a:lvl2pPr marL="285750" indent="-285750">
              <a:buFont typeface="Arial" panose="020B0604020202020204" pitchFamily="34" charset="0"/>
              <a:buChar char="•"/>
              <a:defRPr lang="en-US" dirty="0"/>
            </a:lvl2pPr>
            <a:lvl3pPr>
              <a:defRPr lang="en-US" dirty="0"/>
            </a:lvl3pPr>
            <a:lvl4pPr>
              <a:defRPr lang="en-US"/>
            </a:lvl4pPr>
            <a:lvl5pPr>
              <a:defRPr lang="nl-NL"/>
            </a:lvl5pPr>
          </a:lstStyle>
          <a:p>
            <a:pPr lvl="1"/>
            <a:r>
              <a:rPr lang="nl-NL" noProof="0"/>
              <a:t>Typ hier je antwoord</a:t>
            </a:r>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91440" tIns="45720" rIns="91440" bIns="45720" rtlCol="0">
            <a:noAutofit/>
          </a:bodyPr>
          <a:lstStyle>
            <a:lvl1pPr>
              <a:defRPr lang="en-US" dirty="0"/>
            </a:lvl1pPr>
            <a:lvl2pPr marL="285750" indent="-285750">
              <a:buFont typeface="Arial" panose="020B0604020202020204" pitchFamily="34" charset="0"/>
              <a:buChar char="•"/>
              <a:defRPr lang="en-US" dirty="0"/>
            </a:lvl2pPr>
            <a:lvl3pPr>
              <a:defRPr lang="en-US" dirty="0"/>
            </a:lvl3pPr>
            <a:lvl4pPr>
              <a:defRPr lang="en-US" dirty="0"/>
            </a:lvl4pPr>
            <a:lvl5pPr>
              <a:defRPr lang="nl-NL" dirty="0"/>
            </a:lvl5pPr>
          </a:lstStyle>
          <a:p>
            <a:pPr lvl="1"/>
            <a:r>
              <a:rPr lang="nl-NL" noProof="0"/>
              <a:t>Typ hier je antwoord</a:t>
            </a:r>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5274230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92768594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hasCustomPrompt="1"/>
          </p:nvPr>
        </p:nvSpPr>
        <p:spPr>
          <a:xfrm>
            <a:off x="666750" y="1611881"/>
            <a:ext cx="3516680" cy="247650"/>
          </a:xfrm>
        </p:spPr>
        <p:txBody>
          <a:bodyPr/>
          <a:lstStyle>
            <a:lvl1pPr>
              <a:defRPr b="1"/>
            </a:lvl1pPr>
          </a:lstStyle>
          <a:p>
            <a:pPr lvl="0"/>
            <a:r>
              <a:rPr lang="nl-NL" noProof="0"/>
              <a:t>Klik om kop toe te voegen</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hasCustomPrompt="1"/>
          </p:nvPr>
        </p:nvSpPr>
        <p:spPr>
          <a:xfrm>
            <a:off x="4337660" y="1611881"/>
            <a:ext cx="3516680" cy="247650"/>
          </a:xfrm>
        </p:spPr>
        <p:txBody>
          <a:bodyPr/>
          <a:lstStyle>
            <a:lvl1pPr>
              <a:defRPr b="1"/>
            </a:lvl1pPr>
          </a:lstStyle>
          <a:p>
            <a:pPr lvl="0"/>
            <a:r>
              <a:rPr lang="nl-NL" noProof="0"/>
              <a:t>Klik om kop toe te voegen</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hasCustomPrompt="1"/>
          </p:nvPr>
        </p:nvSpPr>
        <p:spPr>
          <a:xfrm>
            <a:off x="8022067" y="1611881"/>
            <a:ext cx="3516680" cy="247650"/>
          </a:xfrm>
        </p:spPr>
        <p:txBody>
          <a:bodyPr/>
          <a:lstStyle>
            <a:lvl1pPr>
              <a:defRPr b="1"/>
            </a:lvl1pPr>
          </a:lstStyle>
          <a:p>
            <a:pPr lvl="0"/>
            <a:r>
              <a:rPr lang="nl-NL" noProof="0"/>
              <a:t>Klik om kop toe te voegen</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hasCustomPrompt="1"/>
          </p:nvPr>
        </p:nvSpPr>
        <p:spPr>
          <a:xfrm>
            <a:off x="666750" y="4065752"/>
            <a:ext cx="3516680" cy="247650"/>
          </a:xfrm>
        </p:spPr>
        <p:txBody>
          <a:bodyPr/>
          <a:lstStyle>
            <a:lvl1pPr>
              <a:defRPr b="1"/>
            </a:lvl1pPr>
          </a:lstStyle>
          <a:p>
            <a:pPr lvl="0"/>
            <a:r>
              <a:rPr lang="nl-NL" noProof="0"/>
              <a:t>Klik om kop toe te voegen</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hasCustomPrompt="1"/>
          </p:nvPr>
        </p:nvSpPr>
        <p:spPr>
          <a:xfrm>
            <a:off x="4337660" y="4065752"/>
            <a:ext cx="3516680" cy="247650"/>
          </a:xfrm>
        </p:spPr>
        <p:txBody>
          <a:bodyPr/>
          <a:lstStyle>
            <a:lvl1pPr>
              <a:defRPr b="1"/>
            </a:lvl1pPr>
          </a:lstStyle>
          <a:p>
            <a:pPr lvl="0"/>
            <a:r>
              <a:rPr lang="nl-NL" noProof="0"/>
              <a:t>Klik om kop toe te voegen</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hasCustomPrompt="1"/>
          </p:nvPr>
        </p:nvSpPr>
        <p:spPr>
          <a:xfrm>
            <a:off x="8022067" y="4065752"/>
            <a:ext cx="3516680"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373563472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hasCustomPrompt="1"/>
          </p:nvPr>
        </p:nvSpPr>
        <p:spPr>
          <a:xfrm>
            <a:off x="666747"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hasCustomPrompt="1"/>
          </p:nvPr>
        </p:nvSpPr>
        <p:spPr>
          <a:xfrm>
            <a:off x="4344407"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hasCustomPrompt="1"/>
          </p:nvPr>
        </p:nvSpPr>
        <p:spPr>
          <a:xfrm>
            <a:off x="8008570"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hasCustomPrompt="1"/>
          </p:nvPr>
        </p:nvSpPr>
        <p:spPr>
          <a:xfrm>
            <a:off x="666747"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hasCustomPrompt="1"/>
          </p:nvPr>
        </p:nvSpPr>
        <p:spPr>
          <a:xfrm>
            <a:off x="4344407"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hasCustomPrompt="1"/>
          </p:nvPr>
        </p:nvSpPr>
        <p:spPr>
          <a:xfrm>
            <a:off x="8008570"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71936892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Box (6)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bg1">
                <a:lumMod val="75000"/>
              </a:schemeClr>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hasCustomPrompt="1"/>
          </p:nvPr>
        </p:nvSpPr>
        <p:spPr>
          <a:xfrm>
            <a:off x="666747" y="1614179"/>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hasCustomPrompt="1"/>
          </p:nvPr>
        </p:nvSpPr>
        <p:spPr>
          <a:xfrm>
            <a:off x="4344407" y="1614179"/>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hasCustomPrompt="1"/>
          </p:nvPr>
        </p:nvSpPr>
        <p:spPr>
          <a:xfrm>
            <a:off x="8008570" y="1614179"/>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hasCustomPrompt="1"/>
          </p:nvPr>
        </p:nvSpPr>
        <p:spPr>
          <a:xfrm>
            <a:off x="666747" y="4078955"/>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hasCustomPrompt="1"/>
          </p:nvPr>
        </p:nvSpPr>
        <p:spPr>
          <a:xfrm>
            <a:off x="4344407" y="4078955"/>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hasCustomPrompt="1"/>
          </p:nvPr>
        </p:nvSpPr>
        <p:spPr>
          <a:xfrm>
            <a:off x="8008570" y="4078955"/>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9" name="Text Placeholder 13">
            <a:extLst>
              <a:ext uri="{FF2B5EF4-FFF2-40B4-BE49-F238E27FC236}">
                <a16:creationId xmlns:a16="http://schemas.microsoft.com/office/drawing/2014/main" id="{EFE79D6A-F6C5-6849-B796-CE6FAE6E4065}"/>
              </a:ext>
            </a:extLst>
          </p:cNvPr>
          <p:cNvSpPr>
            <a:spLocks noGrp="1"/>
          </p:cNvSpPr>
          <p:nvPr>
            <p:ph type="body" sz="quarter" idx="30" hasCustomPrompt="1"/>
          </p:nvPr>
        </p:nvSpPr>
        <p:spPr>
          <a:xfrm>
            <a:off x="4344407" y="1920567"/>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4" name="Titel 13">
            <a:extLst>
              <a:ext uri="{FF2B5EF4-FFF2-40B4-BE49-F238E27FC236}">
                <a16:creationId xmlns:a16="http://schemas.microsoft.com/office/drawing/2014/main" id="{6C8594F3-A967-F045-B5A9-9BEE68F9765E}"/>
              </a:ext>
            </a:extLst>
          </p:cNvPr>
          <p:cNvSpPr>
            <a:spLocks noGrp="1"/>
          </p:cNvSpPr>
          <p:nvPr>
            <p:ph type="title"/>
          </p:nvPr>
        </p:nvSpPr>
        <p:spPr/>
        <p:txBody>
          <a:bodyPr/>
          <a:lstStyle/>
          <a:p>
            <a:r>
              <a:rPr lang="nl-NL"/>
              <a:t>Klik om stijl te bewerken</a:t>
            </a:r>
          </a:p>
        </p:txBody>
      </p:sp>
      <p:sp>
        <p:nvSpPr>
          <p:cNvPr id="32" name="Tijdelijke aanduiding voor tekst 31">
            <a:extLst>
              <a:ext uri="{FF2B5EF4-FFF2-40B4-BE49-F238E27FC236}">
                <a16:creationId xmlns:a16="http://schemas.microsoft.com/office/drawing/2014/main" id="{C8A33D3D-C2A1-5046-B99C-27C8BD8FD542}"/>
              </a:ext>
            </a:extLst>
          </p:cNvPr>
          <p:cNvSpPr>
            <a:spLocks noGrp="1"/>
          </p:cNvSpPr>
          <p:nvPr>
            <p:ph type="body" sz="quarter" idx="32" hasCustomPrompt="1"/>
          </p:nvPr>
        </p:nvSpPr>
        <p:spPr>
          <a:xfrm>
            <a:off x="5330132" y="1920567"/>
            <a:ext cx="2530957" cy="528719"/>
          </a:xfrm>
        </p:spPr>
        <p:txBody>
          <a:bodyPr/>
          <a:lstStyle/>
          <a:p>
            <a:pPr lvl="0"/>
            <a:r>
              <a:rPr lang="nl-NL"/>
              <a:t>Vul hier de naam van het spoor in</a:t>
            </a:r>
          </a:p>
        </p:txBody>
      </p:sp>
      <p:sp>
        <p:nvSpPr>
          <p:cNvPr id="33" name="Tijdelijke aanduiding voor tekst 31">
            <a:extLst>
              <a:ext uri="{FF2B5EF4-FFF2-40B4-BE49-F238E27FC236}">
                <a16:creationId xmlns:a16="http://schemas.microsoft.com/office/drawing/2014/main" id="{12E940E8-2604-274B-9FEB-8DB06B912C8E}"/>
              </a:ext>
            </a:extLst>
          </p:cNvPr>
          <p:cNvSpPr>
            <a:spLocks noGrp="1"/>
          </p:cNvSpPr>
          <p:nvPr>
            <p:ph type="body" sz="quarter" idx="33" hasCustomPrompt="1"/>
          </p:nvPr>
        </p:nvSpPr>
        <p:spPr>
          <a:xfrm>
            <a:off x="5330132" y="2471042"/>
            <a:ext cx="2530957" cy="1332000"/>
          </a:xfrm>
        </p:spPr>
        <p:txBody>
          <a:bodyPr/>
          <a:lstStyle/>
          <a:p>
            <a:pPr lvl="0"/>
            <a:r>
              <a:rPr lang="nl-NL"/>
              <a:t>Vul hier de namen van de deliverables / producten die de hoogste prioriteit hebben in</a:t>
            </a:r>
          </a:p>
        </p:txBody>
      </p:sp>
      <p:sp>
        <p:nvSpPr>
          <p:cNvPr id="34" name="Text Placeholder 13">
            <a:extLst>
              <a:ext uri="{FF2B5EF4-FFF2-40B4-BE49-F238E27FC236}">
                <a16:creationId xmlns:a16="http://schemas.microsoft.com/office/drawing/2014/main" id="{ECC0528E-8DB4-B64B-A0C3-C0D9A5B58EA0}"/>
              </a:ext>
            </a:extLst>
          </p:cNvPr>
          <p:cNvSpPr>
            <a:spLocks noGrp="1"/>
          </p:cNvSpPr>
          <p:nvPr>
            <p:ph type="body" sz="quarter" idx="34" hasCustomPrompt="1"/>
          </p:nvPr>
        </p:nvSpPr>
        <p:spPr>
          <a:xfrm>
            <a:off x="8008570" y="1920567"/>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35" name="Tijdelijke aanduiding voor tekst 31">
            <a:extLst>
              <a:ext uri="{FF2B5EF4-FFF2-40B4-BE49-F238E27FC236}">
                <a16:creationId xmlns:a16="http://schemas.microsoft.com/office/drawing/2014/main" id="{7299C9D8-A9E6-9847-8CD6-CEED00F4F50F}"/>
              </a:ext>
            </a:extLst>
          </p:cNvPr>
          <p:cNvSpPr>
            <a:spLocks noGrp="1"/>
          </p:cNvSpPr>
          <p:nvPr>
            <p:ph type="body" sz="quarter" idx="35" hasCustomPrompt="1"/>
          </p:nvPr>
        </p:nvSpPr>
        <p:spPr>
          <a:xfrm>
            <a:off x="8994295" y="1920567"/>
            <a:ext cx="2530957" cy="528719"/>
          </a:xfrm>
        </p:spPr>
        <p:txBody>
          <a:bodyPr/>
          <a:lstStyle/>
          <a:p>
            <a:pPr lvl="0"/>
            <a:r>
              <a:rPr lang="nl-NL"/>
              <a:t>Vul hier de naam van het spoor in</a:t>
            </a:r>
          </a:p>
        </p:txBody>
      </p:sp>
      <p:sp>
        <p:nvSpPr>
          <p:cNvPr id="36" name="Tijdelijke aanduiding voor tekst 31">
            <a:extLst>
              <a:ext uri="{FF2B5EF4-FFF2-40B4-BE49-F238E27FC236}">
                <a16:creationId xmlns:a16="http://schemas.microsoft.com/office/drawing/2014/main" id="{A2A4DFCA-C6D2-BE49-891C-97428721B5F5}"/>
              </a:ext>
            </a:extLst>
          </p:cNvPr>
          <p:cNvSpPr>
            <a:spLocks noGrp="1"/>
          </p:cNvSpPr>
          <p:nvPr>
            <p:ph type="body" sz="quarter" idx="36" hasCustomPrompt="1"/>
          </p:nvPr>
        </p:nvSpPr>
        <p:spPr>
          <a:xfrm>
            <a:off x="8994295" y="2471042"/>
            <a:ext cx="2530957" cy="1332000"/>
          </a:xfrm>
        </p:spPr>
        <p:txBody>
          <a:bodyPr/>
          <a:lstStyle/>
          <a:p>
            <a:pPr lvl="0"/>
            <a:r>
              <a:rPr lang="nl-NL"/>
              <a:t>Vul hier de namen van de deliverables / producten die de hoogste prioriteit hebben in</a:t>
            </a:r>
          </a:p>
        </p:txBody>
      </p:sp>
      <p:sp>
        <p:nvSpPr>
          <p:cNvPr id="37" name="Text Placeholder 13">
            <a:extLst>
              <a:ext uri="{FF2B5EF4-FFF2-40B4-BE49-F238E27FC236}">
                <a16:creationId xmlns:a16="http://schemas.microsoft.com/office/drawing/2014/main" id="{5BA2E9D3-775A-E04E-B7B3-1221232547B4}"/>
              </a:ext>
            </a:extLst>
          </p:cNvPr>
          <p:cNvSpPr>
            <a:spLocks noGrp="1"/>
          </p:cNvSpPr>
          <p:nvPr>
            <p:ph type="body" sz="quarter" idx="37" hasCustomPrompt="1"/>
          </p:nvPr>
        </p:nvSpPr>
        <p:spPr>
          <a:xfrm>
            <a:off x="666747" y="4394267"/>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38" name="Tijdelijke aanduiding voor tekst 31">
            <a:extLst>
              <a:ext uri="{FF2B5EF4-FFF2-40B4-BE49-F238E27FC236}">
                <a16:creationId xmlns:a16="http://schemas.microsoft.com/office/drawing/2014/main" id="{701F0C1A-0774-F74E-9815-70C0F11D876B}"/>
              </a:ext>
            </a:extLst>
          </p:cNvPr>
          <p:cNvSpPr>
            <a:spLocks noGrp="1"/>
          </p:cNvSpPr>
          <p:nvPr>
            <p:ph type="body" sz="quarter" idx="38" hasCustomPrompt="1"/>
          </p:nvPr>
        </p:nvSpPr>
        <p:spPr>
          <a:xfrm>
            <a:off x="1652472" y="4394267"/>
            <a:ext cx="2530957" cy="528719"/>
          </a:xfrm>
        </p:spPr>
        <p:txBody>
          <a:bodyPr/>
          <a:lstStyle/>
          <a:p>
            <a:pPr lvl="0"/>
            <a:r>
              <a:rPr lang="nl-NL"/>
              <a:t>Vul hier de naam van het spoor in</a:t>
            </a:r>
          </a:p>
        </p:txBody>
      </p:sp>
      <p:sp>
        <p:nvSpPr>
          <p:cNvPr id="39" name="Tijdelijke aanduiding voor tekst 31">
            <a:extLst>
              <a:ext uri="{FF2B5EF4-FFF2-40B4-BE49-F238E27FC236}">
                <a16:creationId xmlns:a16="http://schemas.microsoft.com/office/drawing/2014/main" id="{78B70E5B-174C-0942-82E6-BB80CB9B6941}"/>
              </a:ext>
            </a:extLst>
          </p:cNvPr>
          <p:cNvSpPr>
            <a:spLocks noGrp="1"/>
          </p:cNvSpPr>
          <p:nvPr>
            <p:ph type="body" sz="quarter" idx="39" hasCustomPrompt="1"/>
          </p:nvPr>
        </p:nvSpPr>
        <p:spPr>
          <a:xfrm>
            <a:off x="1652472" y="4944742"/>
            <a:ext cx="2530957" cy="1332000"/>
          </a:xfrm>
        </p:spPr>
        <p:txBody>
          <a:bodyPr/>
          <a:lstStyle/>
          <a:p>
            <a:pPr lvl="0"/>
            <a:r>
              <a:rPr lang="nl-NL"/>
              <a:t>Vul hier de namen van de deliverables / producten die de hoogste prioriteit hebben in</a:t>
            </a:r>
          </a:p>
        </p:txBody>
      </p:sp>
      <p:sp>
        <p:nvSpPr>
          <p:cNvPr id="40" name="Text Placeholder 13">
            <a:extLst>
              <a:ext uri="{FF2B5EF4-FFF2-40B4-BE49-F238E27FC236}">
                <a16:creationId xmlns:a16="http://schemas.microsoft.com/office/drawing/2014/main" id="{0EC698CF-2A9A-D743-A8F4-EAE104236558}"/>
              </a:ext>
            </a:extLst>
          </p:cNvPr>
          <p:cNvSpPr>
            <a:spLocks noGrp="1"/>
          </p:cNvSpPr>
          <p:nvPr>
            <p:ph type="body" sz="quarter" idx="40" hasCustomPrompt="1"/>
          </p:nvPr>
        </p:nvSpPr>
        <p:spPr>
          <a:xfrm>
            <a:off x="4344407" y="4386009"/>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41" name="Tijdelijke aanduiding voor tekst 31">
            <a:extLst>
              <a:ext uri="{FF2B5EF4-FFF2-40B4-BE49-F238E27FC236}">
                <a16:creationId xmlns:a16="http://schemas.microsoft.com/office/drawing/2014/main" id="{AD447351-8D7A-F545-ADDD-221E1554A1AF}"/>
              </a:ext>
            </a:extLst>
          </p:cNvPr>
          <p:cNvSpPr>
            <a:spLocks noGrp="1"/>
          </p:cNvSpPr>
          <p:nvPr>
            <p:ph type="body" sz="quarter" idx="41" hasCustomPrompt="1"/>
          </p:nvPr>
        </p:nvSpPr>
        <p:spPr>
          <a:xfrm>
            <a:off x="5330132" y="4386009"/>
            <a:ext cx="2530957" cy="528719"/>
          </a:xfrm>
        </p:spPr>
        <p:txBody>
          <a:bodyPr/>
          <a:lstStyle/>
          <a:p>
            <a:pPr lvl="0"/>
            <a:r>
              <a:rPr lang="nl-NL"/>
              <a:t>Vul hier de naam van het spoor in</a:t>
            </a:r>
          </a:p>
        </p:txBody>
      </p:sp>
      <p:sp>
        <p:nvSpPr>
          <p:cNvPr id="42" name="Tijdelijke aanduiding voor tekst 31">
            <a:extLst>
              <a:ext uri="{FF2B5EF4-FFF2-40B4-BE49-F238E27FC236}">
                <a16:creationId xmlns:a16="http://schemas.microsoft.com/office/drawing/2014/main" id="{3528DB85-850E-FD47-A6E6-F9D925AB7167}"/>
              </a:ext>
            </a:extLst>
          </p:cNvPr>
          <p:cNvSpPr>
            <a:spLocks noGrp="1"/>
          </p:cNvSpPr>
          <p:nvPr>
            <p:ph type="body" sz="quarter" idx="42" hasCustomPrompt="1"/>
          </p:nvPr>
        </p:nvSpPr>
        <p:spPr>
          <a:xfrm>
            <a:off x="5330132" y="4936484"/>
            <a:ext cx="2530957" cy="1332000"/>
          </a:xfrm>
        </p:spPr>
        <p:txBody>
          <a:bodyPr/>
          <a:lstStyle/>
          <a:p>
            <a:pPr lvl="0"/>
            <a:r>
              <a:rPr lang="nl-NL"/>
              <a:t>Vul hier de namen van de deliverables / producten die de hoogste prioriteit hebben in</a:t>
            </a:r>
          </a:p>
        </p:txBody>
      </p:sp>
      <p:sp>
        <p:nvSpPr>
          <p:cNvPr id="43" name="Text Placeholder 13">
            <a:extLst>
              <a:ext uri="{FF2B5EF4-FFF2-40B4-BE49-F238E27FC236}">
                <a16:creationId xmlns:a16="http://schemas.microsoft.com/office/drawing/2014/main" id="{F3836A49-97FE-F144-BFE3-4FC1B4CF0408}"/>
              </a:ext>
            </a:extLst>
          </p:cNvPr>
          <p:cNvSpPr>
            <a:spLocks noGrp="1"/>
          </p:cNvSpPr>
          <p:nvPr>
            <p:ph type="body" sz="quarter" idx="43" hasCustomPrompt="1"/>
          </p:nvPr>
        </p:nvSpPr>
        <p:spPr>
          <a:xfrm>
            <a:off x="8008570" y="4385714"/>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44" name="Tijdelijke aanduiding voor tekst 31">
            <a:extLst>
              <a:ext uri="{FF2B5EF4-FFF2-40B4-BE49-F238E27FC236}">
                <a16:creationId xmlns:a16="http://schemas.microsoft.com/office/drawing/2014/main" id="{F31A3FF5-FAC1-F24E-8B72-14033D89B1D7}"/>
              </a:ext>
            </a:extLst>
          </p:cNvPr>
          <p:cNvSpPr>
            <a:spLocks noGrp="1"/>
          </p:cNvSpPr>
          <p:nvPr>
            <p:ph type="body" sz="quarter" idx="44" hasCustomPrompt="1"/>
          </p:nvPr>
        </p:nvSpPr>
        <p:spPr>
          <a:xfrm>
            <a:off x="8994295" y="4385714"/>
            <a:ext cx="2530957" cy="528719"/>
          </a:xfrm>
        </p:spPr>
        <p:txBody>
          <a:bodyPr/>
          <a:lstStyle/>
          <a:p>
            <a:pPr lvl="0"/>
            <a:r>
              <a:rPr lang="nl-NL"/>
              <a:t>Vul hier de naam van het spoor in</a:t>
            </a:r>
          </a:p>
        </p:txBody>
      </p:sp>
      <p:sp>
        <p:nvSpPr>
          <p:cNvPr id="45" name="Tijdelijke aanduiding voor tekst 31">
            <a:extLst>
              <a:ext uri="{FF2B5EF4-FFF2-40B4-BE49-F238E27FC236}">
                <a16:creationId xmlns:a16="http://schemas.microsoft.com/office/drawing/2014/main" id="{C93D5F3F-0707-954E-A7B4-BD34C15AFADB}"/>
              </a:ext>
            </a:extLst>
          </p:cNvPr>
          <p:cNvSpPr>
            <a:spLocks noGrp="1"/>
          </p:cNvSpPr>
          <p:nvPr>
            <p:ph type="body" sz="quarter" idx="45" hasCustomPrompt="1"/>
          </p:nvPr>
        </p:nvSpPr>
        <p:spPr>
          <a:xfrm>
            <a:off x="8994295" y="4936189"/>
            <a:ext cx="2530957" cy="1332000"/>
          </a:xfrm>
        </p:spPr>
        <p:txBody>
          <a:bodyPr/>
          <a:lstStyle/>
          <a:p>
            <a:pPr lvl="0"/>
            <a:r>
              <a:rPr lang="nl-NL"/>
              <a:t>Vul hier de namen van de deliverables / producten die de hoogste prioriteit hebben in</a:t>
            </a:r>
          </a:p>
        </p:txBody>
      </p:sp>
    </p:spTree>
    <p:extLst>
      <p:ext uri="{BB962C8B-B14F-4D97-AF65-F5344CB8AC3E}">
        <p14:creationId xmlns:p14="http://schemas.microsoft.com/office/powerpoint/2010/main" val="235819528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ver No Pic">
    <p:spTree>
      <p:nvGrpSpPr>
        <p:cNvPr id="1" name=""/>
        <p:cNvGrpSpPr/>
        <p:nvPr/>
      </p:nvGrpSpPr>
      <p:grpSpPr>
        <a:xfrm>
          <a:off x="0" y="0"/>
          <a:ext cx="0" cy="0"/>
          <a:chOff x="0" y="0"/>
          <a:chExt cx="0" cy="0"/>
        </a:xfrm>
      </p:grpSpPr>
      <p:sp>
        <p:nvSpPr>
          <p:cNvPr id="6" name="Rectangle 5"/>
          <p:cNvSpPr/>
          <p:nvPr userDrawn="1"/>
        </p:nvSpPr>
        <p:spPr>
          <a:xfrm>
            <a:off x="658813" y="0"/>
            <a:ext cx="115331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7" name="Tijdelijke aanduiding voor titel 1"/>
          <p:cNvSpPr>
            <a:spLocks noGrp="1"/>
          </p:cNvSpPr>
          <p:nvPr>
            <p:ph type="ctrTitle" hasCustomPrompt="1"/>
          </p:nvPr>
        </p:nvSpPr>
        <p:spPr>
          <a:xfrm>
            <a:off x="989445" y="1758950"/>
            <a:ext cx="9789584"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8" name="Tijdelijke aanduiding voor tekst 2"/>
          <p:cNvSpPr>
            <a:spLocks noGrp="1"/>
          </p:cNvSpPr>
          <p:nvPr>
            <p:ph type="body" idx="1" hasCustomPrompt="1"/>
          </p:nvPr>
        </p:nvSpPr>
        <p:spPr>
          <a:xfrm>
            <a:off x="989445" y="3602038"/>
            <a:ext cx="9789584"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Tree>
    <p:extLst>
      <p:ext uri="{BB962C8B-B14F-4D97-AF65-F5344CB8AC3E}">
        <p14:creationId xmlns:p14="http://schemas.microsoft.com/office/powerpoint/2010/main" val="106624191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sp>
        <p:nvSpPr>
          <p:cNvPr id="6" name="Rectangle 5"/>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
        <p:nvSpPr>
          <p:cNvPr id="9" name="Rectangle 8">
            <a:extLst>
              <a:ext uri="{FF2B5EF4-FFF2-40B4-BE49-F238E27FC236}">
                <a16:creationId xmlns:a16="http://schemas.microsoft.com/office/drawing/2014/main" id="{C8EE59D7-E2D5-4CAC-9E3A-721293572BE1}"/>
              </a:ext>
            </a:extLst>
          </p:cNvPr>
          <p:cNvSpPr/>
          <p:nvPr userDrawn="1"/>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endParaRPr lang="nl-NL" noProof="0"/>
          </a:p>
        </p:txBody>
      </p:sp>
    </p:spTree>
    <p:extLst>
      <p:ext uri="{BB962C8B-B14F-4D97-AF65-F5344CB8AC3E}">
        <p14:creationId xmlns:p14="http://schemas.microsoft.com/office/powerpoint/2010/main" val="110060881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endParaRPr lang="nl-NL" noProof="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6916882"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6916882" cy="3973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Tree>
    <p:extLst>
      <p:ext uri="{BB962C8B-B14F-4D97-AF65-F5344CB8AC3E}">
        <p14:creationId xmlns:p14="http://schemas.microsoft.com/office/powerpoint/2010/main" val="259905440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a:lstStyle>
            <a:lvl1pPr>
              <a:defRPr sz="4000" b="1" u="none"/>
            </a:lvl1pPr>
          </a:lstStyle>
          <a:p>
            <a:pPr lvl="0"/>
            <a:r>
              <a:rPr lang="nl-NL" noProof="0"/>
              <a:t>Klik om hoofdstuknummer in te voegen</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a:lstStyle>
            <a:lvl1pPr>
              <a:defRPr sz="5400" b="1">
                <a:solidFill>
                  <a:schemeClr val="tx2"/>
                </a:solidFill>
              </a:defRPr>
            </a:lvl1pPr>
          </a:lstStyle>
          <a:p>
            <a:pPr lvl="0"/>
            <a:r>
              <a:rPr lang="nl-NL" noProof="0"/>
              <a:t>Klik om hoofdstuk titel in te voegen</a:t>
            </a:r>
          </a:p>
        </p:txBody>
      </p:sp>
    </p:spTree>
    <p:extLst>
      <p:ext uri="{BB962C8B-B14F-4D97-AF65-F5344CB8AC3E}">
        <p14:creationId xmlns:p14="http://schemas.microsoft.com/office/powerpoint/2010/main" val="236388511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userDrawn="1"/>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noProof="0">
              <a:solidFill>
                <a:srgbClr val="000000"/>
              </a:solidFill>
              <a:latin typeface="Corbel" panose="020B0503020204020204" pitchFamily="34" charset="0"/>
            </a:endParaRPr>
          </a:p>
        </p:txBody>
      </p:sp>
      <p:sp>
        <p:nvSpPr>
          <p:cNvPr id="2" name="Title 1"/>
          <p:cNvSpPr>
            <a:spLocks noGrp="1"/>
          </p:cNvSpPr>
          <p:nvPr>
            <p:ph type="title" hasCustomPrompt="1"/>
          </p:nvPr>
        </p:nvSpPr>
        <p:spPr>
          <a:xfrm rot="16200000">
            <a:off x="-1789060" y="2468072"/>
            <a:ext cx="6579421" cy="1643271"/>
          </a:xfrm>
          <a:prstGeom prst="rect">
            <a:avLst/>
          </a:prstGeom>
        </p:spPr>
        <p:txBody>
          <a:bodyPr/>
          <a:lstStyle>
            <a:lvl1pPr algn="ctr">
              <a:defRPr sz="5400">
                <a:solidFill>
                  <a:schemeClr val="tx2"/>
                </a:solidFill>
              </a:defRPr>
            </a:lvl1pPr>
          </a:lstStyle>
          <a:p>
            <a:r>
              <a:rPr lang="nl-NL" noProof="0"/>
              <a:t>Klik om titel in te voegen</a:t>
            </a:r>
          </a:p>
        </p:txBody>
      </p:sp>
      <p:sp>
        <p:nvSpPr>
          <p:cNvPr id="7" name="Footer Placeholder 6"/>
          <p:cNvSpPr>
            <a:spLocks noGrp="1"/>
          </p:cNvSpPr>
          <p:nvPr>
            <p:ph type="ftr" sz="quarter" idx="13"/>
          </p:nvPr>
        </p:nvSpPr>
        <p:spPr>
          <a:xfrm>
            <a:off x="679015" y="6579420"/>
            <a:ext cx="10011773" cy="225188"/>
          </a:xfrm>
          <a:prstGeom prst="rect">
            <a:avLst/>
          </a:prstGeom>
        </p:spPr>
        <p:txBody>
          <a:bodyPr/>
          <a:lstStyle>
            <a:lvl1pPr>
              <a:defRPr sz="1000">
                <a:latin typeface="Corbel" panose="020B0503020204020204" pitchFamily="34" charset="0"/>
              </a:defRPr>
            </a:lvl1pPr>
          </a:lstStyle>
          <a:p>
            <a:r>
              <a:rPr lang="nl-NL"/>
              <a:t>Informatiebijeenkomst 26 juli 2021 Europese Aanbesteding SVWI</a:t>
            </a:r>
          </a:p>
        </p:txBody>
      </p:sp>
      <p:sp>
        <p:nvSpPr>
          <p:cNvPr id="17" name="Slide Number Placeholder 5">
            <a:extLst>
              <a:ext uri="{FF2B5EF4-FFF2-40B4-BE49-F238E27FC236}">
                <a16:creationId xmlns:a16="http://schemas.microsoft.com/office/drawing/2014/main" id="{8F05B933-2137-41C1-8E87-28DFD097E66E}"/>
              </a:ext>
            </a:extLst>
          </p:cNvPr>
          <p:cNvSpPr>
            <a:spLocks noGrp="1"/>
          </p:cNvSpPr>
          <p:nvPr>
            <p:ph type="sldNum" sz="quarter" idx="12"/>
          </p:nvPr>
        </p:nvSpPr>
        <p:spPr>
          <a:xfrm>
            <a:off x="10845404" y="6579420"/>
            <a:ext cx="813612" cy="225188"/>
          </a:xfrm>
          <a:prstGeom prst="rect">
            <a:avLst/>
          </a:prstGeom>
        </p:spPr>
        <p:txBody>
          <a:bodyPr/>
          <a:lstStyle>
            <a:lvl1pPr algn="ctr">
              <a:defRPr sz="1050">
                <a:latin typeface="Corbel" panose="020B0503020204020204" pitchFamily="34" charset="0"/>
              </a:defRPr>
            </a:lvl1pPr>
          </a:lstStyle>
          <a:p>
            <a:fld id="{9493FAB8-1E51-48C1-887E-A59978B24DF9}" type="slidenum">
              <a:rPr lang="nl-NL" noProof="0" smtClean="0"/>
              <a:pPr/>
              <a:t>‹nr.›</a:t>
            </a:fld>
            <a:endParaRPr lang="nl-NL" noProof="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Tree>
    <p:extLst>
      <p:ext uri="{BB962C8B-B14F-4D97-AF65-F5344CB8AC3E}">
        <p14:creationId xmlns:p14="http://schemas.microsoft.com/office/powerpoint/2010/main" val="2362094409"/>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a:lstStyle>
            <a:lvl1pPr>
              <a:defRPr sz="4000" b="1" u="none"/>
            </a:lvl1pPr>
          </a:lstStyle>
          <a:p>
            <a:pPr lvl="0"/>
            <a:r>
              <a:rPr lang="nl-NL" noProof="0"/>
              <a:t>Klik om hoofdstuknummer in te voegen</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a:lstStyle>
            <a:lvl1pPr>
              <a:defRPr sz="5400" b="1">
                <a:solidFill>
                  <a:schemeClr val="tx2"/>
                </a:solidFill>
              </a:defRPr>
            </a:lvl1pPr>
          </a:lstStyle>
          <a:p>
            <a:pPr lvl="0"/>
            <a:r>
              <a:rPr lang="nl-NL" noProof="0"/>
              <a:t>Klik om hoofdstuk titel in te voegen</a:t>
            </a:r>
          </a:p>
        </p:txBody>
      </p:sp>
    </p:spTree>
    <p:extLst>
      <p:ext uri="{BB962C8B-B14F-4D97-AF65-F5344CB8AC3E}">
        <p14:creationId xmlns:p14="http://schemas.microsoft.com/office/powerpoint/2010/main" val="314291795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endParaRPr lang="nl-NL" noProof="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a:defRPr sz="2000" b="1">
                <a:solidFill>
                  <a:srgbClr val="000000"/>
                </a:solidFill>
              </a:defRPr>
            </a:lvl1pPr>
          </a:lstStyle>
          <a:p>
            <a:pPr lvl="0"/>
            <a:r>
              <a:rPr lang="nl-NL" noProof="0"/>
              <a:t>Klik om titel in te voegen</a:t>
            </a:r>
          </a:p>
        </p:txBody>
      </p:sp>
    </p:spTree>
    <p:extLst>
      <p:ext uri="{BB962C8B-B14F-4D97-AF65-F5344CB8AC3E}">
        <p14:creationId xmlns:p14="http://schemas.microsoft.com/office/powerpoint/2010/main" val="143003434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endParaRPr lang="nl-NL" noProof="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nl-NL" noProof="0"/>
              <a:t>Klik om titel in te voegen</a:t>
            </a:r>
          </a:p>
        </p:txBody>
      </p:sp>
    </p:spTree>
    <p:extLst>
      <p:ext uri="{BB962C8B-B14F-4D97-AF65-F5344CB8AC3E}">
        <p14:creationId xmlns:p14="http://schemas.microsoft.com/office/powerpoint/2010/main" val="400438382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solidFill>
                  <a:schemeClr val="tx2"/>
                </a:solidFill>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endParaRPr lang="nl-NL" noProof="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endParaRPr lang="nl-NL" noProof="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endParaRPr lang="nl-NL" noProof="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endParaRPr lang="nl-NL" noProof="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endParaRPr lang="nl-NL" noProof="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endParaRPr lang="nl-NL" noProof="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endParaRPr lang="nl-NL" noProof="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endParaRPr lang="nl-NL" noProof="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endParaRPr lang="nl-NL" noProof="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endParaRPr lang="nl-NL" noProof="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endParaRPr lang="nl-NL" noProof="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endParaRPr lang="nl-NL" noProof="0"/>
          </a:p>
        </p:txBody>
      </p:sp>
    </p:spTree>
    <p:extLst>
      <p:ext uri="{BB962C8B-B14F-4D97-AF65-F5344CB8AC3E}">
        <p14:creationId xmlns:p14="http://schemas.microsoft.com/office/powerpoint/2010/main" val="67749117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solidFill>
                  <a:schemeClr val="tx2"/>
                </a:solidFill>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endParaRPr lang="nl-NL" noProof="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endParaRPr lang="nl-NL" noProof="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endParaRPr lang="nl-NL" noProof="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endParaRPr lang="nl-NL" noProof="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endParaRPr lang="nl-NL" noProof="0"/>
          </a:p>
        </p:txBody>
      </p:sp>
    </p:spTree>
    <p:extLst>
      <p:ext uri="{BB962C8B-B14F-4D97-AF65-F5344CB8AC3E}">
        <p14:creationId xmlns:p14="http://schemas.microsoft.com/office/powerpoint/2010/main" val="90360323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endParaRPr lang="nl-NL" noProof="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endParaRPr lang="nl-NL" noProof="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endParaRPr lang="nl-NL" noProof="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endParaRPr lang="nl-NL" noProof="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endParaRPr lang="nl-NL" noProof="0"/>
          </a:p>
        </p:txBody>
      </p:sp>
    </p:spTree>
    <p:extLst>
      <p:ext uri="{BB962C8B-B14F-4D97-AF65-F5344CB8AC3E}">
        <p14:creationId xmlns:p14="http://schemas.microsoft.com/office/powerpoint/2010/main" val="171234686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endParaRPr lang="nl-NL" noProof="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endParaRPr lang="nl-NL" noProof="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endParaRPr lang="nl-NL" noProof="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endParaRPr lang="nl-NL" noProof="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endParaRPr lang="nl-NL" noProof="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endParaRPr lang="nl-NL" noProof="0"/>
          </a:p>
        </p:txBody>
      </p:sp>
    </p:spTree>
    <p:extLst>
      <p:ext uri="{BB962C8B-B14F-4D97-AF65-F5344CB8AC3E}">
        <p14:creationId xmlns:p14="http://schemas.microsoft.com/office/powerpoint/2010/main" val="298915917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ic (6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endParaRPr lang="nl-NL" noProof="0"/>
          </a:p>
        </p:txBody>
      </p:sp>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endParaRPr lang="nl-NL" noProof="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endParaRPr lang="nl-NL" noProof="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endParaRPr lang="nl-NL" noProof="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endParaRPr lang="nl-NL" noProof="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endParaRPr lang="nl-NL" noProof="0"/>
          </a:p>
        </p:txBody>
      </p:sp>
    </p:spTree>
    <p:extLst>
      <p:ext uri="{BB962C8B-B14F-4D97-AF65-F5344CB8AC3E}">
        <p14:creationId xmlns:p14="http://schemas.microsoft.com/office/powerpoint/2010/main" val="143338086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419369" y="1751832"/>
            <a:ext cx="1978923" cy="1978923"/>
          </a:xfrm>
          <a:prstGeom prst="ellipse">
            <a:avLst/>
          </a:prstGeom>
          <a:ln w="76200">
            <a:noFill/>
          </a:ln>
        </p:spPr>
        <p:txBody>
          <a:bodyPr/>
          <a:lstStyle>
            <a:lvl1pPr>
              <a:defRPr/>
            </a:lvl1pPr>
          </a:lstStyle>
          <a:p>
            <a:r>
              <a:rPr lang="nl-NL" noProof="0"/>
              <a:t>Picture</a:t>
            </a:r>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endParaRPr lang="nl-NL" noProof="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endParaRPr lang="nl-NL" noProof="0"/>
          </a:p>
        </p:txBody>
      </p:sp>
    </p:spTree>
    <p:extLst>
      <p:ext uri="{BB962C8B-B14F-4D97-AF65-F5344CB8AC3E}">
        <p14:creationId xmlns:p14="http://schemas.microsoft.com/office/powerpoint/2010/main" val="77862903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noProof="0"/>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endParaRPr lang="nl-NL" noProof="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endParaRPr lang="nl-NL" noProof="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endParaRPr lang="nl-NL" noProof="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endParaRPr lang="nl-NL" noProof="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endParaRPr lang="nl-NL" noProof="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endParaRPr lang="nl-NL" noProof="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endParaRPr lang="nl-NL" noProof="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endParaRPr lang="nl-NL" noProof="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endParaRPr lang="nl-NL" noProof="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endParaRPr lang="nl-NL" noProof="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172431" y="1670050"/>
            <a:ext cx="2320190" cy="791465"/>
          </a:xfrm>
        </p:spPr>
        <p:txBody>
          <a:bodyPr/>
          <a:lstStyle>
            <a:lvl1pPr>
              <a:defRPr/>
            </a:lvl1pPr>
          </a:lstStyle>
          <a:p>
            <a:pPr lvl="0"/>
            <a:r>
              <a:rPr lang="nl-NL" noProof="0"/>
              <a:t>Klik om tekst in te voegen</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hasCustomPrompt="1"/>
          </p:nvPr>
        </p:nvSpPr>
        <p:spPr>
          <a:xfrm>
            <a:off x="5172431" y="2612782"/>
            <a:ext cx="2320190" cy="791465"/>
          </a:xfrm>
        </p:spPr>
        <p:txBody>
          <a:bodyPr/>
          <a:lstStyle>
            <a:lvl1pPr>
              <a:defRPr/>
            </a:lvl1pPr>
          </a:lstStyle>
          <a:p>
            <a:pPr lvl="0"/>
            <a:r>
              <a:rPr lang="nl-NL" noProof="0"/>
              <a:t>Klik om tekst in te voegen</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hasCustomPrompt="1"/>
          </p:nvPr>
        </p:nvSpPr>
        <p:spPr>
          <a:xfrm>
            <a:off x="5172431" y="3554761"/>
            <a:ext cx="2320190" cy="791465"/>
          </a:xfrm>
        </p:spPr>
        <p:txBody>
          <a:bodyPr/>
          <a:lstStyle>
            <a:lvl1pPr>
              <a:defRPr/>
            </a:lvl1pPr>
          </a:lstStyle>
          <a:p>
            <a:pPr lvl="0"/>
            <a:r>
              <a:rPr lang="nl-NL" noProof="0"/>
              <a:t>Klik om tekst in te voegen</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hasCustomPrompt="1"/>
          </p:nvPr>
        </p:nvSpPr>
        <p:spPr>
          <a:xfrm>
            <a:off x="5172431" y="4496740"/>
            <a:ext cx="2320190" cy="791465"/>
          </a:xfrm>
        </p:spPr>
        <p:txBody>
          <a:bodyPr/>
          <a:lstStyle>
            <a:lvl1pPr>
              <a:defRPr/>
            </a:lvl1pPr>
          </a:lstStyle>
          <a:p>
            <a:pPr lvl="0"/>
            <a:r>
              <a:rPr lang="nl-NL" noProof="0"/>
              <a:t>Klik om tekst in te voegen</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hasCustomPrompt="1"/>
          </p:nvPr>
        </p:nvSpPr>
        <p:spPr>
          <a:xfrm>
            <a:off x="5172431" y="5438719"/>
            <a:ext cx="2320190" cy="791465"/>
          </a:xfrm>
        </p:spPr>
        <p:txBody>
          <a:bodyPr/>
          <a:lstStyle>
            <a:lvl1pPr>
              <a:defRPr/>
            </a:lvl1pPr>
          </a:lstStyle>
          <a:p>
            <a:pPr lvl="0"/>
            <a:r>
              <a:rPr lang="nl-NL" noProof="0"/>
              <a:t>Klik om tekst in te voegen</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hasCustomPrompt="1"/>
          </p:nvPr>
        </p:nvSpPr>
        <p:spPr>
          <a:xfrm>
            <a:off x="8876823" y="1670050"/>
            <a:ext cx="2320190" cy="791465"/>
          </a:xfrm>
        </p:spPr>
        <p:txBody>
          <a:bodyPr/>
          <a:lstStyle>
            <a:lvl1pPr>
              <a:defRPr/>
            </a:lvl1pPr>
          </a:lstStyle>
          <a:p>
            <a:pPr lvl="0"/>
            <a:r>
              <a:rPr lang="nl-NL" noProof="0"/>
              <a:t>Klik om tekst in te voegen</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hasCustomPrompt="1"/>
          </p:nvPr>
        </p:nvSpPr>
        <p:spPr>
          <a:xfrm>
            <a:off x="8876823" y="2612782"/>
            <a:ext cx="2320190" cy="791465"/>
          </a:xfrm>
        </p:spPr>
        <p:txBody>
          <a:bodyPr/>
          <a:lstStyle>
            <a:lvl1pPr>
              <a:defRPr/>
            </a:lvl1pPr>
          </a:lstStyle>
          <a:p>
            <a:pPr lvl="0"/>
            <a:r>
              <a:rPr lang="nl-NL" noProof="0"/>
              <a:t>Klik om tekst in te voegen</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hasCustomPrompt="1"/>
          </p:nvPr>
        </p:nvSpPr>
        <p:spPr>
          <a:xfrm>
            <a:off x="8876823" y="3554761"/>
            <a:ext cx="2320190" cy="791465"/>
          </a:xfrm>
        </p:spPr>
        <p:txBody>
          <a:bodyPr/>
          <a:lstStyle>
            <a:lvl1pPr>
              <a:defRPr/>
            </a:lvl1pPr>
          </a:lstStyle>
          <a:p>
            <a:pPr lvl="0"/>
            <a:r>
              <a:rPr lang="nl-NL" noProof="0"/>
              <a:t>Klik om tekst in te voegen</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hasCustomPrompt="1"/>
          </p:nvPr>
        </p:nvSpPr>
        <p:spPr>
          <a:xfrm>
            <a:off x="8876823" y="4496740"/>
            <a:ext cx="2320190" cy="791465"/>
          </a:xfrm>
        </p:spPr>
        <p:txBody>
          <a:bodyPr/>
          <a:lstStyle>
            <a:lvl1pPr>
              <a:defRPr/>
            </a:lvl1pPr>
          </a:lstStyle>
          <a:p>
            <a:pPr lvl="0"/>
            <a:r>
              <a:rPr lang="nl-NL" noProof="0"/>
              <a:t>Klik om tekst in te voegen</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hasCustomPrompt="1"/>
          </p:nvPr>
        </p:nvSpPr>
        <p:spPr>
          <a:xfrm>
            <a:off x="8876823" y="5438719"/>
            <a:ext cx="2320190" cy="791465"/>
          </a:xfrm>
        </p:spPr>
        <p:txBody>
          <a:bodyPr/>
          <a:lstStyle>
            <a:lvl1pPr marL="0" marR="0" indent="0" algn="l" defTabSz="685800" rtl="0" eaLnBrk="1" fontAlgn="auto" latinLnBrk="0" hangingPunct="1">
              <a:lnSpc>
                <a:spcPct val="90000"/>
              </a:lnSpc>
              <a:spcBef>
                <a:spcPts val="750"/>
              </a:spcBef>
              <a:spcAft>
                <a:spcPts val="0"/>
              </a:spcAft>
              <a:buClr>
                <a:srgbClr val="FF0000"/>
              </a:buClr>
              <a:buSzTx/>
              <a:buFontTx/>
              <a:buNone/>
              <a:tabLst/>
              <a:defRPr/>
            </a:lvl1pPr>
          </a:lstStyle>
          <a:p>
            <a:pPr lvl="0"/>
            <a:r>
              <a:rPr lang="nl-NL" noProof="0"/>
              <a:t>Klik om tekst in te voegen</a:t>
            </a:r>
          </a:p>
        </p:txBody>
      </p:sp>
    </p:spTree>
    <p:extLst>
      <p:ext uri="{BB962C8B-B14F-4D97-AF65-F5344CB8AC3E}">
        <p14:creationId xmlns:p14="http://schemas.microsoft.com/office/powerpoint/2010/main" val="380393805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Blank Slide" type="blank">
  <p:cSld name="Blank Slide">
    <p:spTree>
      <p:nvGrpSpPr>
        <p:cNvPr id="1" name="Shape 134"/>
        <p:cNvGrpSpPr/>
        <p:nvPr/>
      </p:nvGrpSpPr>
      <p:grpSpPr>
        <a:xfrm>
          <a:off x="0" y="0"/>
          <a:ext cx="0" cy="0"/>
          <a:chOff x="0" y="0"/>
          <a:chExt cx="0" cy="0"/>
        </a:xfrm>
      </p:grpSpPr>
    </p:spTree>
    <p:extLst>
      <p:ext uri="{BB962C8B-B14F-4D97-AF65-F5344CB8AC3E}">
        <p14:creationId xmlns:p14="http://schemas.microsoft.com/office/powerpoint/2010/main" val="25051833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userDrawn="1"/>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noProof="0">
              <a:solidFill>
                <a:srgbClr val="000000"/>
              </a:solidFill>
              <a:latin typeface="Corbel" panose="020B0503020204020204" pitchFamily="34" charset="0"/>
            </a:endParaRPr>
          </a:p>
        </p:txBody>
      </p:sp>
      <p:sp>
        <p:nvSpPr>
          <p:cNvPr id="2" name="Title 1"/>
          <p:cNvSpPr>
            <a:spLocks noGrp="1"/>
          </p:cNvSpPr>
          <p:nvPr>
            <p:ph type="title" hasCustomPrompt="1"/>
          </p:nvPr>
        </p:nvSpPr>
        <p:spPr>
          <a:xfrm rot="16200000">
            <a:off x="-1789060" y="2468072"/>
            <a:ext cx="6579421" cy="1643271"/>
          </a:xfrm>
          <a:prstGeom prst="rect">
            <a:avLst/>
          </a:prstGeom>
        </p:spPr>
        <p:txBody>
          <a:bodyPr/>
          <a:lstStyle>
            <a:lvl1pPr algn="ctr">
              <a:defRPr sz="5400">
                <a:solidFill>
                  <a:schemeClr val="tx2"/>
                </a:solidFill>
              </a:defRPr>
            </a:lvl1pPr>
          </a:lstStyle>
          <a:p>
            <a:r>
              <a:rPr lang="nl-NL" noProof="0"/>
              <a:t>Klik om titel in te voegen</a:t>
            </a:r>
          </a:p>
        </p:txBody>
      </p:sp>
      <p:sp>
        <p:nvSpPr>
          <p:cNvPr id="7" name="Footer Placeholder 6"/>
          <p:cNvSpPr>
            <a:spLocks noGrp="1"/>
          </p:cNvSpPr>
          <p:nvPr>
            <p:ph type="ftr" sz="quarter" idx="13"/>
          </p:nvPr>
        </p:nvSpPr>
        <p:spPr>
          <a:xfrm>
            <a:off x="679015" y="6579420"/>
            <a:ext cx="10011773" cy="225188"/>
          </a:xfrm>
          <a:prstGeom prst="rect">
            <a:avLst/>
          </a:prstGeom>
        </p:spPr>
        <p:txBody>
          <a:bodyPr/>
          <a:lstStyle>
            <a:lvl1pPr>
              <a:defRPr sz="1000">
                <a:latin typeface="Corbel" panose="020B0503020204020204" pitchFamily="34" charset="0"/>
              </a:defRPr>
            </a:lvl1pPr>
          </a:lstStyle>
          <a:p>
            <a:r>
              <a:rPr lang="nl-NL"/>
              <a:t>Informatiebijeenkomst 26 juli 2021 Europese Aanbesteding SVWI</a:t>
            </a:r>
          </a:p>
        </p:txBody>
      </p:sp>
      <p:sp>
        <p:nvSpPr>
          <p:cNvPr id="17" name="Slide Number Placeholder 5">
            <a:extLst>
              <a:ext uri="{FF2B5EF4-FFF2-40B4-BE49-F238E27FC236}">
                <a16:creationId xmlns:a16="http://schemas.microsoft.com/office/drawing/2014/main" id="{8F05B933-2137-41C1-8E87-28DFD097E66E}"/>
              </a:ext>
            </a:extLst>
          </p:cNvPr>
          <p:cNvSpPr>
            <a:spLocks noGrp="1"/>
          </p:cNvSpPr>
          <p:nvPr>
            <p:ph type="sldNum" sz="quarter" idx="12"/>
          </p:nvPr>
        </p:nvSpPr>
        <p:spPr>
          <a:xfrm>
            <a:off x="10845404" y="6579420"/>
            <a:ext cx="813612" cy="225188"/>
          </a:xfrm>
          <a:prstGeom prst="rect">
            <a:avLst/>
          </a:prstGeom>
        </p:spPr>
        <p:txBody>
          <a:bodyPr/>
          <a:lstStyle>
            <a:lvl1pPr algn="ctr">
              <a:defRPr sz="1050">
                <a:latin typeface="Corbel" panose="020B0503020204020204" pitchFamily="34" charset="0"/>
              </a:defRPr>
            </a:lvl1pPr>
          </a:lstStyle>
          <a:p>
            <a:fld id="{9493FAB8-1E51-48C1-887E-A59978B24DF9}" type="slidenum">
              <a:rPr lang="nl-NL" noProof="0" smtClean="0"/>
              <a:pPr/>
              <a:t>‹nr.›</a:t>
            </a:fld>
            <a:endParaRPr lang="nl-NL" noProof="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Tree>
    <p:extLst>
      <p:ext uri="{BB962C8B-B14F-4D97-AF65-F5344CB8AC3E}">
        <p14:creationId xmlns:p14="http://schemas.microsoft.com/office/powerpoint/2010/main" val="26154881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sp>
        <p:nvSpPr>
          <p:cNvPr id="6" name="Rectangle 5"/>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CA" sz="1800" dirty="0"/>
          </a:p>
        </p:txBody>
      </p:sp>
      <p:sp>
        <p:nvSpPr>
          <p:cNvPr id="7" name="Tijdelijke aanduiding voor titel 1"/>
          <p:cNvSpPr>
            <a:spLocks noGrp="1"/>
          </p:cNvSpPr>
          <p:nvPr>
            <p:ph type="ctrTitle" hasCustomPrompt="1"/>
          </p:nvPr>
        </p:nvSpPr>
        <p:spPr>
          <a:xfrm>
            <a:off x="989446" y="1758950"/>
            <a:ext cx="4728967" cy="1835151"/>
          </a:xfrm>
          <a:prstGeom prst="rect">
            <a:avLst/>
          </a:prstGeom>
        </p:spPr>
        <p:txBody>
          <a:bodyPr>
            <a:noAutofit/>
          </a:bodyPr>
          <a:lstStyle>
            <a:lvl1pPr>
              <a:defRPr sz="4051"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6" y="3602039"/>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userDrawn="1"/>
        </p:nvSpPr>
        <p:spPr>
          <a:xfrm>
            <a:off x="1308103" y="197126"/>
            <a:ext cx="7818231" cy="1123399"/>
          </a:xfrm>
          <a:prstGeom prst="rect">
            <a:avLst/>
          </a:prstGeom>
        </p:spPr>
        <p:txBody>
          <a:bodyPr vert="horz" lIns="68580" tIns="34291" rIns="68580" bIns="34291"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userDrawn="1"/>
        </p:nvSpPr>
        <p:spPr>
          <a:xfrm>
            <a:off x="11533189"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CA" sz="1800"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dirty="0"/>
              <a:t>Click icon to add picture</a:t>
            </a:r>
            <a:endParaRPr lang="nl-NL"/>
          </a:p>
        </p:txBody>
      </p:sp>
    </p:spTree>
    <p:extLst>
      <p:ext uri="{BB962C8B-B14F-4D97-AF65-F5344CB8AC3E}">
        <p14:creationId xmlns:p14="http://schemas.microsoft.com/office/powerpoint/2010/main" val="20750498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3"/>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r>
              <a:rPr lang="nl-NL"/>
              <a:t>Informatiebijeenkomst 26 juli 2021 Europese Aanbesteding SVWI</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1" y="1228725"/>
            <a:ext cx="10872000" cy="247651"/>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42641729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9" y="1592263"/>
            <a:ext cx="5332401" cy="47164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9" y="1592263"/>
            <a:ext cx="5332401" cy="47164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4863954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9" y="1592263"/>
            <a:ext cx="5332401" cy="47164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9" cy="247651"/>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9" y="1947863"/>
            <a:ext cx="5332401" cy="43608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83688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9" y="1592263"/>
            <a:ext cx="3121481" cy="47164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5" cy="247651"/>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9" cy="43608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646038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9" y="1610863"/>
            <a:ext cx="5332401" cy="46978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50" y="1610862"/>
            <a:ext cx="5332399" cy="247651"/>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9" y="1947863"/>
            <a:ext cx="5332401" cy="43608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18553523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0"/>
            <a:ext cx="5332399" cy="247651"/>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9" y="1947863"/>
            <a:ext cx="5332401" cy="43608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0"/>
            <a:ext cx="5332399" cy="247651"/>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9" y="1947863"/>
            <a:ext cx="5332401" cy="43608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5053508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9" y="1921146"/>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9" y="1921146"/>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08587859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7"/>
            <a:ext cx="3516683"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7"/>
            <a:ext cx="3516683"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5" y="1610437"/>
            <a:ext cx="3516683"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73280087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1"/>
            <a:ext cx="3516683"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1"/>
            <a:ext cx="3516683"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5" y="1943101"/>
            <a:ext cx="3516683"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1" y="1611880"/>
            <a:ext cx="3516680" cy="247651"/>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0"/>
            <a:ext cx="3516680" cy="247651"/>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0"/>
            <a:ext cx="3516680" cy="247651"/>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9919734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endParaRPr lang="nl-NL" noProof="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a:defRPr sz="2000" b="1">
                <a:solidFill>
                  <a:srgbClr val="000000"/>
                </a:solidFill>
              </a:defRPr>
            </a:lvl1pPr>
          </a:lstStyle>
          <a:p>
            <a:pPr lvl="0"/>
            <a:r>
              <a:rPr lang="nl-NL" noProof="0"/>
              <a:t>Klik om titel in te voegen</a:t>
            </a:r>
          </a:p>
        </p:txBody>
      </p:sp>
    </p:spTree>
    <p:extLst>
      <p:ext uri="{BB962C8B-B14F-4D97-AF65-F5344CB8AC3E}">
        <p14:creationId xmlns:p14="http://schemas.microsoft.com/office/powerpoint/2010/main" val="377370207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3" cy="4411687"/>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3" cy="4411687"/>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69" y="1897039"/>
            <a:ext cx="3516683" cy="4411687"/>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3"/>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3"/>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69" y="1600533"/>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14588469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9" y="1897039"/>
            <a:ext cx="2645795" cy="4411687"/>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8" y="1600533"/>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9" y="1897039"/>
            <a:ext cx="2645795" cy="4411687"/>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8" y="1600533"/>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1" y="1897039"/>
            <a:ext cx="2645795" cy="4411687"/>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40" y="1600533"/>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5" y="1897039"/>
            <a:ext cx="2645795" cy="4411687"/>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3"/>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9151049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9"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3"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9" y="4051242"/>
            <a:ext cx="5332401" cy="224540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3" y="4051242"/>
            <a:ext cx="5332401" cy="224540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1106905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9" y="1893456"/>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3" y="1893456"/>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9" y="4318002"/>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3" y="4318002"/>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0"/>
            <a:ext cx="5332399" cy="247651"/>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3" y="1611880"/>
            <a:ext cx="5332399" cy="247651"/>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9" cy="247651"/>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3" y="4034805"/>
            <a:ext cx="5332399" cy="247651"/>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16811673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9"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3"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9" y="438492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3" y="438492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1" y="1228725"/>
            <a:ext cx="10872000" cy="247651"/>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3279358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9" y="1614179"/>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9" y="4065752"/>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1" y="1228725"/>
            <a:ext cx="10872000" cy="247651"/>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5586090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7" y="1909823"/>
            <a:ext cx="3517200" cy="193412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3"/>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3"/>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7" y="4373880"/>
            <a:ext cx="3517200" cy="1921643"/>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1" y="1228725"/>
            <a:ext cx="10872000" cy="247651"/>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1" y="1611880"/>
            <a:ext cx="3516680" cy="247651"/>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0"/>
            <a:ext cx="3516680" cy="247651"/>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0"/>
            <a:ext cx="3516680" cy="247651"/>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1" y="4065752"/>
            <a:ext cx="3516680" cy="247651"/>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1"/>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1"/>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6279936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3"/>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3"/>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1" y="1920567"/>
            <a:ext cx="3517200" cy="1923383"/>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69" y="1614179"/>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3"/>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3"/>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1" y="4385343"/>
            <a:ext cx="3517200" cy="1923383"/>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69" y="4078955"/>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1" y="1228725"/>
            <a:ext cx="10872000" cy="247651"/>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1384180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ver Base Frame">
    <p:spTree>
      <p:nvGrpSpPr>
        <p:cNvPr id="1" name=""/>
        <p:cNvGrpSpPr/>
        <p:nvPr/>
      </p:nvGrpSpPr>
      <p:grpSpPr>
        <a:xfrm>
          <a:off x="0" y="0"/>
          <a:ext cx="0" cy="0"/>
          <a:chOff x="0" y="0"/>
          <a:chExt cx="0" cy="0"/>
        </a:xfrm>
      </p:grpSpPr>
      <p:sp>
        <p:nvSpPr>
          <p:cNvPr id="6" name="Rectangle 5"/>
          <p:cNvSpPr/>
          <p:nvPr userDrawn="1"/>
        </p:nvSpPr>
        <p:spPr>
          <a:xfrm>
            <a:off x="658813" y="3429000"/>
            <a:ext cx="11533187"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CA" sz="1800" dirty="0"/>
          </a:p>
        </p:txBody>
      </p:sp>
      <p:sp>
        <p:nvSpPr>
          <p:cNvPr id="7" name="Tijdelijke aanduiding voor titel 1"/>
          <p:cNvSpPr>
            <a:spLocks noGrp="1"/>
          </p:cNvSpPr>
          <p:nvPr>
            <p:ph type="ctrTitle" hasCustomPrompt="1"/>
          </p:nvPr>
        </p:nvSpPr>
        <p:spPr>
          <a:xfrm>
            <a:off x="989446" y="3454877"/>
            <a:ext cx="4728967" cy="1263771"/>
          </a:xfrm>
          <a:prstGeom prst="rect">
            <a:avLst/>
          </a:prstGeom>
        </p:spPr>
        <p:txBody>
          <a:bodyPr anchor="t">
            <a:noAutofit/>
          </a:bodyPr>
          <a:lstStyle>
            <a:lvl1pPr>
              <a:defRPr sz="4051"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6"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userDrawn="1"/>
        </p:nvSpPr>
        <p:spPr>
          <a:xfrm>
            <a:off x="1308103" y="197126"/>
            <a:ext cx="7818231" cy="1123399"/>
          </a:xfrm>
          <a:prstGeom prst="rect">
            <a:avLst/>
          </a:prstGeom>
        </p:spPr>
        <p:txBody>
          <a:bodyPr vert="horz" lIns="68580" tIns="34291" rIns="68580" bIns="34291"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userDrawn="1"/>
        </p:nvSpPr>
        <p:spPr>
          <a:xfrm>
            <a:off x="0" y="3429000"/>
            <a:ext cx="658813" cy="28797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CA" sz="1800" dirty="0"/>
          </a:p>
        </p:txBody>
      </p:sp>
    </p:spTree>
    <p:extLst>
      <p:ext uri="{BB962C8B-B14F-4D97-AF65-F5344CB8AC3E}">
        <p14:creationId xmlns:p14="http://schemas.microsoft.com/office/powerpoint/2010/main" val="206318169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sp>
        <p:nvSpPr>
          <p:cNvPr id="13" name="Tijdelijke aanduiding voor titel 1"/>
          <p:cNvSpPr txBox="1">
            <a:spLocks/>
          </p:cNvSpPr>
          <p:nvPr userDrawn="1"/>
        </p:nvSpPr>
        <p:spPr>
          <a:xfrm>
            <a:off x="1308103" y="197126"/>
            <a:ext cx="7818231" cy="1123399"/>
          </a:xfrm>
          <a:prstGeom prst="rect">
            <a:avLst/>
          </a:prstGeom>
        </p:spPr>
        <p:txBody>
          <a:bodyPr vert="horz" lIns="68580" tIns="34291" rIns="68580" bIns="34291"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dirty="0"/>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7" y="2373745"/>
            <a:ext cx="4747120" cy="1220355"/>
          </a:xfrm>
          <a:prstGeom prst="rect">
            <a:avLst/>
          </a:prstGeom>
          <a:solidFill>
            <a:schemeClr val="tx2">
              <a:alpha val="90000"/>
            </a:schemeClr>
          </a:solidFill>
        </p:spPr>
        <p:txBody>
          <a:bodyPr>
            <a:noAutofit/>
          </a:bodyPr>
          <a:lstStyle>
            <a:lvl1pPr>
              <a:defRPr sz="4051"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7" y="3664437"/>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59950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endParaRPr lang="nl-NL" noProof="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nl-NL" noProof="0"/>
              <a:t>Klik om titel in te voegen</a:t>
            </a:r>
          </a:p>
        </p:txBody>
      </p:sp>
    </p:spTree>
    <p:extLst>
      <p:ext uri="{BB962C8B-B14F-4D97-AF65-F5344CB8AC3E}">
        <p14:creationId xmlns:p14="http://schemas.microsoft.com/office/powerpoint/2010/main" val="99210165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9" y="6619876"/>
            <a:ext cx="1023140" cy="168275"/>
          </a:xfrm>
          <a:prstGeom prst="rect">
            <a:avLst/>
          </a:prstGeom>
        </p:spPr>
        <p:txBody>
          <a:bodyPr/>
          <a:lstStyle/>
          <a:p>
            <a:fld id="{992CD0B2-8AB2-4C6C-8876-E15753662C9B}" type="slidenum">
              <a:rPr lang="nl-NL" smtClean="0"/>
              <a:pPr/>
              <a:t>‹nr.›</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1"/>
            <a:ext cx="10874375"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4" y="2514600"/>
            <a:ext cx="10874375"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45048800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9"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5"/>
            <a:ext cx="2520000" cy="3015211"/>
          </a:xfrm>
          <a:ln w="28575">
            <a:solidFill>
              <a:schemeClr val="accent1"/>
            </a:solidFill>
          </a:ln>
        </p:spPr>
        <p:txBody>
          <a:bodyPr/>
          <a:lstStyle/>
          <a:p>
            <a:r>
              <a:rPr lang="en-US" dirty="0"/>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5"/>
            <a:ext cx="2520000" cy="3015211"/>
          </a:xfrm>
          <a:ln w="28575">
            <a:solidFill>
              <a:schemeClr val="accent1"/>
            </a:solidFill>
          </a:ln>
        </p:spPr>
        <p:txBody>
          <a:bodyPr/>
          <a:lstStyle/>
          <a:p>
            <a:r>
              <a:rPr lang="en-US" dirty="0"/>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5"/>
            <a:ext cx="2520000" cy="3015211"/>
          </a:xfrm>
          <a:ln w="28575">
            <a:solidFill>
              <a:schemeClr val="accent1"/>
            </a:solidFill>
          </a:ln>
        </p:spPr>
        <p:txBody>
          <a:bodyPr/>
          <a:lstStyle/>
          <a:p>
            <a:r>
              <a:rPr lang="en-US" dirty="0"/>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5"/>
            <a:ext cx="2520000" cy="3015211"/>
          </a:xfrm>
          <a:ln w="28575">
            <a:solidFill>
              <a:schemeClr val="accent1"/>
            </a:solidFill>
          </a:ln>
        </p:spPr>
        <p:txBody>
          <a:bodyPr/>
          <a:lstStyle/>
          <a:p>
            <a:r>
              <a:rPr lang="en-US" dirty="0"/>
              <a:t>Click icon to add picture</a:t>
            </a:r>
            <a:endParaRPr lang="nl-NL"/>
          </a:p>
        </p:txBody>
      </p:sp>
    </p:spTree>
    <p:extLst>
      <p:ext uri="{BB962C8B-B14F-4D97-AF65-F5344CB8AC3E}">
        <p14:creationId xmlns:p14="http://schemas.microsoft.com/office/powerpoint/2010/main" val="287006100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9"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5"/>
            <a:ext cx="3420000" cy="3015211"/>
          </a:xfrm>
          <a:ln w="28575">
            <a:solidFill>
              <a:schemeClr val="accent1"/>
            </a:solidFill>
          </a:ln>
        </p:spPr>
        <p:txBody>
          <a:bodyPr/>
          <a:lstStyle/>
          <a:p>
            <a:r>
              <a:rPr lang="en-US" dirty="0"/>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5"/>
            <a:ext cx="3420000" cy="3015211"/>
          </a:xfrm>
          <a:ln w="28575">
            <a:solidFill>
              <a:schemeClr val="accent1"/>
            </a:solidFill>
          </a:ln>
        </p:spPr>
        <p:txBody>
          <a:bodyPr/>
          <a:lstStyle/>
          <a:p>
            <a:r>
              <a:rPr lang="en-US" dirty="0"/>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5"/>
            <a:ext cx="3420000" cy="3015211"/>
          </a:xfrm>
          <a:ln w="28575">
            <a:solidFill>
              <a:schemeClr val="accent1"/>
            </a:solidFill>
          </a:ln>
        </p:spPr>
        <p:txBody>
          <a:bodyPr/>
          <a:lstStyle/>
          <a:p>
            <a:r>
              <a:rPr lang="en-US" dirty="0"/>
              <a:t>Click icon to add picture</a:t>
            </a:r>
            <a:endParaRPr lang="nl-NL"/>
          </a:p>
        </p:txBody>
      </p:sp>
    </p:spTree>
    <p:extLst>
      <p:ext uri="{BB962C8B-B14F-4D97-AF65-F5344CB8AC3E}">
        <p14:creationId xmlns:p14="http://schemas.microsoft.com/office/powerpoint/2010/main" val="161354381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9"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5" y="1785144"/>
            <a:ext cx="468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5" y="2880765"/>
            <a:ext cx="4680000" cy="3015211"/>
          </a:xfrm>
          <a:ln w="28575">
            <a:solidFill>
              <a:schemeClr val="accent1"/>
            </a:solidFill>
          </a:ln>
        </p:spPr>
        <p:txBody>
          <a:bodyPr/>
          <a:lstStyle/>
          <a:p>
            <a:r>
              <a:rPr lang="en-US" dirty="0"/>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5"/>
            <a:ext cx="4680000" cy="3015211"/>
          </a:xfrm>
          <a:ln w="28575">
            <a:solidFill>
              <a:schemeClr val="accent1"/>
            </a:solidFill>
          </a:ln>
        </p:spPr>
        <p:txBody>
          <a:bodyPr/>
          <a:lstStyle/>
          <a:p>
            <a:r>
              <a:rPr lang="en-US" dirty="0"/>
              <a:t>Click icon to add picture</a:t>
            </a:r>
            <a:endParaRPr lang="nl-NL"/>
          </a:p>
        </p:txBody>
      </p:sp>
    </p:spTree>
    <p:extLst>
      <p:ext uri="{BB962C8B-B14F-4D97-AF65-F5344CB8AC3E}">
        <p14:creationId xmlns:p14="http://schemas.microsoft.com/office/powerpoint/2010/main" val="293364128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userDrawn="1"/>
        </p:nvSpPr>
        <p:spPr>
          <a:xfrm>
            <a:off x="679013" y="-3"/>
            <a:ext cx="11512987"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sz="1800"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3"/>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5" y="296863"/>
            <a:ext cx="4127444" cy="6011863"/>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3" y="296863"/>
            <a:ext cx="4127444" cy="6011863"/>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055830970"/>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dirty="0"/>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9" y="6619876"/>
            <a:ext cx="1023140" cy="168275"/>
          </a:xfrm>
          <a:prstGeom prst="rect">
            <a:avLst/>
          </a:prstGeom>
        </p:spPr>
        <p:txBody>
          <a:bodyPr/>
          <a:lstStyle/>
          <a:p>
            <a:fld id="{992CD0B2-8AB2-4C6C-8876-E15753662C9B}" type="slidenum">
              <a:rPr lang="nl-NL" smtClean="0"/>
              <a:pPr/>
              <a:t>‹nr.›</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9"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227821099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dirty="0"/>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9" y="6619876"/>
            <a:ext cx="1023140" cy="168275"/>
          </a:xfrm>
          <a:prstGeom prst="rect">
            <a:avLst/>
          </a:prstGeom>
        </p:spPr>
        <p:txBody>
          <a:bodyPr/>
          <a:lstStyle/>
          <a:p>
            <a:fld id="{992CD0B2-8AB2-4C6C-8876-E15753662C9B}" type="slidenum">
              <a:rPr lang="nl-NL" smtClean="0"/>
              <a:pPr/>
              <a:t>‹nr.›</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1"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79986008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9"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dirty="0"/>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dirty="0"/>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dirty="0"/>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dirty="0"/>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dirty="0"/>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dirty="0"/>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dirty="0"/>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dirty="0"/>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dirty="0"/>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dirty="0"/>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dirty="0"/>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dirty="0"/>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97319522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9"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1" y="927511"/>
            <a:ext cx="5403652" cy="2687637"/>
          </a:xfrm>
          <a:ln w="76200">
            <a:solidFill>
              <a:schemeClr val="bg1"/>
            </a:solidFill>
          </a:ln>
        </p:spPr>
        <p:txBody>
          <a:bodyPr/>
          <a:lstStyle/>
          <a:p>
            <a:r>
              <a:rPr lang="en-US" dirty="0"/>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1" y="3615148"/>
            <a:ext cx="5403652" cy="2687637"/>
          </a:xfrm>
          <a:ln w="76200">
            <a:solidFill>
              <a:schemeClr val="bg1"/>
            </a:solidFill>
          </a:ln>
        </p:spPr>
        <p:txBody>
          <a:bodyPr/>
          <a:lstStyle/>
          <a:p>
            <a:r>
              <a:rPr lang="en-US" dirty="0"/>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3" y="927511"/>
            <a:ext cx="5403652" cy="2687637"/>
          </a:xfrm>
          <a:ln w="76200">
            <a:solidFill>
              <a:schemeClr val="bg1"/>
            </a:solidFill>
          </a:ln>
        </p:spPr>
        <p:txBody>
          <a:bodyPr/>
          <a:lstStyle/>
          <a:p>
            <a:r>
              <a:rPr lang="en-US" dirty="0"/>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3" y="3615148"/>
            <a:ext cx="5403652" cy="2687637"/>
          </a:xfrm>
          <a:ln w="76200">
            <a:solidFill>
              <a:schemeClr val="bg1"/>
            </a:solidFill>
          </a:ln>
        </p:spPr>
        <p:txBody>
          <a:bodyPr/>
          <a:lstStyle/>
          <a:p>
            <a:r>
              <a:rPr lang="en-US" dirty="0"/>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5" y="2343718"/>
            <a:ext cx="5403652" cy="2687637"/>
          </a:xfrm>
          <a:ln w="76200">
            <a:solidFill>
              <a:schemeClr val="bg1"/>
            </a:solidFill>
          </a:ln>
        </p:spPr>
        <p:txBody>
          <a:bodyPr/>
          <a:lstStyle/>
          <a:p>
            <a:r>
              <a:rPr lang="en-US" dirty="0"/>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05597201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9"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4" y="927511"/>
            <a:ext cx="3477759" cy="5381215"/>
          </a:xfrm>
          <a:ln w="76200">
            <a:solidFill>
              <a:schemeClr val="bg1"/>
            </a:solidFill>
          </a:ln>
        </p:spPr>
        <p:txBody>
          <a:bodyPr/>
          <a:lstStyle/>
          <a:p>
            <a:r>
              <a:rPr lang="en-US" dirty="0"/>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3" cy="1800000"/>
          </a:xfrm>
          <a:ln w="76200">
            <a:solidFill>
              <a:schemeClr val="bg1"/>
            </a:solidFill>
          </a:ln>
        </p:spPr>
        <p:txBody>
          <a:bodyPr/>
          <a:lstStyle/>
          <a:p>
            <a:r>
              <a:rPr lang="en-US" dirty="0"/>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3" cy="1800000"/>
          </a:xfrm>
          <a:ln w="76200">
            <a:solidFill>
              <a:schemeClr val="bg1"/>
            </a:solidFill>
          </a:ln>
        </p:spPr>
        <p:txBody>
          <a:bodyPr/>
          <a:lstStyle/>
          <a:p>
            <a:r>
              <a:rPr lang="en-US" dirty="0"/>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3" cy="1800000"/>
          </a:xfrm>
          <a:ln w="76200">
            <a:solidFill>
              <a:schemeClr val="bg1"/>
            </a:solidFill>
          </a:ln>
        </p:spPr>
        <p:txBody>
          <a:bodyPr/>
          <a:lstStyle/>
          <a:p>
            <a:r>
              <a:rPr lang="en-US" dirty="0"/>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4" y="927511"/>
            <a:ext cx="3314375" cy="5400000"/>
          </a:xfrm>
          <a:ln w="76200">
            <a:solidFill>
              <a:schemeClr val="bg1"/>
            </a:solidFill>
          </a:ln>
        </p:spPr>
        <p:txBody>
          <a:bodyPr/>
          <a:lstStyle/>
          <a:p>
            <a:r>
              <a:rPr lang="en-US" dirty="0"/>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405362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solidFill>
                  <a:schemeClr val="tx2"/>
                </a:solidFill>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endParaRPr lang="nl-NL" noProof="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endParaRPr lang="nl-NL" noProof="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endParaRPr lang="nl-NL" noProof="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endParaRPr lang="nl-NL" noProof="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endParaRPr lang="nl-NL" noProof="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endParaRPr lang="nl-NL" noProof="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endParaRPr lang="nl-NL" noProof="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endParaRPr lang="nl-NL" noProof="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endParaRPr lang="nl-NL" noProof="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endParaRPr lang="nl-NL" noProof="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endParaRPr lang="nl-NL" noProof="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endParaRPr lang="nl-NL" noProof="0"/>
          </a:p>
        </p:txBody>
      </p:sp>
    </p:spTree>
    <p:extLst>
      <p:ext uri="{BB962C8B-B14F-4D97-AF65-F5344CB8AC3E}">
        <p14:creationId xmlns:p14="http://schemas.microsoft.com/office/powerpoint/2010/main" val="285928312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9"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1" y="927511"/>
            <a:ext cx="5403652" cy="3628575"/>
          </a:xfrm>
          <a:ln w="76200">
            <a:solidFill>
              <a:schemeClr val="bg1"/>
            </a:solidFill>
          </a:ln>
        </p:spPr>
        <p:txBody>
          <a:bodyPr/>
          <a:lstStyle/>
          <a:p>
            <a:r>
              <a:rPr lang="en-US" dirty="0"/>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dirty="0"/>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dirty="0"/>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dirty="0"/>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dirty="0"/>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5"/>
          </a:xfrm>
          <a:ln w="76200">
            <a:solidFill>
              <a:schemeClr val="bg1"/>
            </a:solidFill>
          </a:ln>
        </p:spPr>
        <p:txBody>
          <a:bodyPr/>
          <a:lstStyle/>
          <a:p>
            <a:r>
              <a:rPr lang="en-US" dirty="0"/>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45293377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4" y="2727511"/>
            <a:ext cx="3018471" cy="1800000"/>
          </a:xfrm>
          <a:ln w="76200">
            <a:solidFill>
              <a:schemeClr val="bg1"/>
            </a:solidFill>
          </a:ln>
        </p:spPr>
        <p:txBody>
          <a:bodyPr/>
          <a:lstStyle/>
          <a:p>
            <a:r>
              <a:rPr lang="en-US" dirty="0"/>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dirty="0"/>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9"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dirty="0"/>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7" cy="1800000"/>
          </a:xfrm>
          <a:ln w="76200">
            <a:solidFill>
              <a:schemeClr val="bg1"/>
            </a:solidFill>
          </a:ln>
        </p:spPr>
        <p:txBody>
          <a:bodyPr/>
          <a:lstStyle/>
          <a:p>
            <a:r>
              <a:rPr lang="en-US" dirty="0"/>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4" y="927511"/>
            <a:ext cx="3314375" cy="1800000"/>
          </a:xfrm>
          <a:ln w="76200">
            <a:solidFill>
              <a:schemeClr val="bg1"/>
            </a:solidFill>
          </a:ln>
        </p:spPr>
        <p:txBody>
          <a:bodyPr/>
          <a:lstStyle/>
          <a:p>
            <a:r>
              <a:rPr lang="en-US" dirty="0"/>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4" y="4527511"/>
            <a:ext cx="3314375" cy="1800000"/>
          </a:xfrm>
          <a:ln w="76200">
            <a:solidFill>
              <a:schemeClr val="bg1"/>
            </a:solidFill>
          </a:ln>
        </p:spPr>
        <p:txBody>
          <a:bodyPr/>
          <a:lstStyle/>
          <a:p>
            <a:r>
              <a:rPr lang="en-US" dirty="0"/>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18728256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9"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9" y="3947945"/>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5"/>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5"/>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3"/>
            <a:ext cx="1978923" cy="1978923"/>
          </a:xfrm>
          <a:prstGeom prst="ellipse">
            <a:avLst/>
          </a:prstGeom>
          <a:ln w="76200">
            <a:noFill/>
          </a:ln>
        </p:spPr>
        <p:txBody>
          <a:bodyPr/>
          <a:lstStyle/>
          <a:p>
            <a:r>
              <a:rPr lang="en-US" dirty="0"/>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3" y="1751833"/>
            <a:ext cx="1978923" cy="1978923"/>
          </a:xfrm>
          <a:prstGeom prst="ellipse">
            <a:avLst/>
          </a:prstGeom>
          <a:ln w="76200">
            <a:noFill/>
          </a:ln>
        </p:spPr>
        <p:txBody>
          <a:bodyPr/>
          <a:lstStyle/>
          <a:p>
            <a:r>
              <a:rPr lang="en-US" dirty="0"/>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2" y="1751833"/>
            <a:ext cx="1978923" cy="1978923"/>
          </a:xfrm>
          <a:prstGeom prst="ellipse">
            <a:avLst/>
          </a:prstGeom>
          <a:ln w="76200">
            <a:noFill/>
          </a:ln>
        </p:spPr>
        <p:txBody>
          <a:bodyPr/>
          <a:lstStyle/>
          <a:p>
            <a:r>
              <a:rPr lang="en-US" dirty="0"/>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8607732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9"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9" y="1592263"/>
            <a:ext cx="3121481" cy="4716463"/>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1" cy="791571"/>
          </a:xfrm>
          <a:prstGeom prst="ellipse">
            <a:avLst/>
          </a:prstGeom>
          <a:ln w="76200">
            <a:noFill/>
          </a:ln>
        </p:spPr>
        <p:txBody>
          <a:bodyPr/>
          <a:lstStyle/>
          <a:p>
            <a:r>
              <a:rPr lang="en-US" dirty="0"/>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1"/>
            <a:ext cx="791571" cy="791571"/>
          </a:xfrm>
          <a:prstGeom prst="ellipse">
            <a:avLst/>
          </a:prstGeom>
          <a:ln w="76200">
            <a:noFill/>
          </a:ln>
        </p:spPr>
        <p:txBody>
          <a:bodyPr/>
          <a:lstStyle/>
          <a:p>
            <a:r>
              <a:rPr lang="en-US" dirty="0"/>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1" cy="791571"/>
          </a:xfrm>
          <a:prstGeom prst="ellipse">
            <a:avLst/>
          </a:prstGeom>
          <a:ln w="76200">
            <a:noFill/>
          </a:ln>
        </p:spPr>
        <p:txBody>
          <a:bodyPr/>
          <a:lstStyle/>
          <a:p>
            <a:r>
              <a:rPr lang="en-US" dirty="0"/>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1" cy="791571"/>
          </a:xfrm>
          <a:prstGeom prst="ellipse">
            <a:avLst/>
          </a:prstGeom>
          <a:ln w="76200">
            <a:noFill/>
          </a:ln>
        </p:spPr>
        <p:txBody>
          <a:bodyPr/>
          <a:lstStyle/>
          <a:p>
            <a:r>
              <a:rPr lang="en-US" dirty="0"/>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1" cy="791571"/>
          </a:xfrm>
          <a:prstGeom prst="ellipse">
            <a:avLst/>
          </a:prstGeom>
          <a:ln w="76200">
            <a:noFill/>
          </a:ln>
        </p:spPr>
        <p:txBody>
          <a:bodyPr/>
          <a:lstStyle/>
          <a:p>
            <a:r>
              <a:rPr lang="en-US" dirty="0"/>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1" cy="791571"/>
          </a:xfrm>
          <a:prstGeom prst="ellipse">
            <a:avLst/>
          </a:prstGeom>
          <a:ln w="76200">
            <a:noFill/>
          </a:ln>
        </p:spPr>
        <p:txBody>
          <a:bodyPr/>
          <a:lstStyle/>
          <a:p>
            <a:r>
              <a:rPr lang="en-US" dirty="0"/>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1"/>
            <a:ext cx="791571" cy="791571"/>
          </a:xfrm>
          <a:prstGeom prst="ellipse">
            <a:avLst/>
          </a:prstGeom>
          <a:ln w="76200">
            <a:noFill/>
          </a:ln>
        </p:spPr>
        <p:txBody>
          <a:bodyPr/>
          <a:lstStyle/>
          <a:p>
            <a:r>
              <a:rPr lang="en-US" dirty="0"/>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1" cy="791571"/>
          </a:xfrm>
          <a:prstGeom prst="ellipse">
            <a:avLst/>
          </a:prstGeom>
          <a:ln w="76200">
            <a:noFill/>
          </a:ln>
        </p:spPr>
        <p:txBody>
          <a:bodyPr/>
          <a:lstStyle/>
          <a:p>
            <a:r>
              <a:rPr lang="en-US" dirty="0"/>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1" cy="791571"/>
          </a:xfrm>
          <a:prstGeom prst="ellipse">
            <a:avLst/>
          </a:prstGeom>
          <a:ln w="76200">
            <a:noFill/>
          </a:ln>
        </p:spPr>
        <p:txBody>
          <a:bodyPr/>
          <a:lstStyle/>
          <a:p>
            <a:r>
              <a:rPr lang="en-US" dirty="0"/>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1" cy="791571"/>
          </a:xfrm>
          <a:prstGeom prst="ellipse">
            <a:avLst/>
          </a:prstGeom>
          <a:ln w="76200">
            <a:noFill/>
          </a:ln>
        </p:spPr>
        <p:txBody>
          <a:bodyPr/>
          <a:lstStyle/>
          <a:p>
            <a:r>
              <a:rPr lang="en-US" dirty="0"/>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1"/>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4"/>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2"/>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1"/>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21"/>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1"/>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4"/>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2"/>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1"/>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21"/>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97199612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5" name="Titel Chapaza"/>
          <p:cNvSpPr>
            <a:spLocks noGrp="1"/>
          </p:cNvSpPr>
          <p:nvPr>
            <p:ph type="body" idx="13" hasCustomPrompt="1"/>
          </p:nvPr>
        </p:nvSpPr>
        <p:spPr>
          <a:xfrm>
            <a:off x="719668" y="1756569"/>
            <a:ext cx="11040533" cy="294302"/>
          </a:xfrm>
        </p:spPr>
        <p:txBody>
          <a:bodyPr wrap="square" anchor="b">
            <a:spAutoFit/>
          </a:bodyPr>
          <a:lstStyle>
            <a:lvl1pPr marL="0" indent="0">
              <a:buNone/>
              <a:defRPr sz="1600" b="0">
                <a:solidFill>
                  <a:schemeClr val="tx2"/>
                </a:solidFill>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GB" dirty="0"/>
              <a:t>Edit Master text styles</a:t>
            </a:r>
          </a:p>
        </p:txBody>
      </p:sp>
      <p:sp>
        <p:nvSpPr>
          <p:cNvPr id="7" name="Title 6"/>
          <p:cNvSpPr>
            <a:spLocks noGrp="1"/>
          </p:cNvSpPr>
          <p:nvPr>
            <p:ph type="title" hasCustomPrompt="1"/>
          </p:nvPr>
        </p:nvSpPr>
        <p:spPr>
          <a:xfrm>
            <a:off x="719668" y="452967"/>
            <a:ext cx="11040533" cy="479551"/>
          </a:xfrm>
        </p:spPr>
        <p:txBody>
          <a:bodyPr/>
          <a:lstStyle/>
          <a:p>
            <a:r>
              <a:rPr lang="en-GB" dirty="0"/>
              <a:t>Click to edit Master title style</a:t>
            </a:r>
          </a:p>
        </p:txBody>
      </p:sp>
    </p:spTree>
    <p:extLst>
      <p:ext uri="{BB962C8B-B14F-4D97-AF65-F5344CB8AC3E}">
        <p14:creationId xmlns:p14="http://schemas.microsoft.com/office/powerpoint/2010/main" val="77078978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cSld name="Titel en kader">
    <p:spTree>
      <p:nvGrpSpPr>
        <p:cNvPr id="1" name=""/>
        <p:cNvGrpSpPr/>
        <p:nvPr/>
      </p:nvGrpSpPr>
      <p:grpSpPr>
        <a:xfrm>
          <a:off x="0" y="0"/>
          <a:ext cx="0" cy="0"/>
          <a:chOff x="0" y="0"/>
          <a:chExt cx="0" cy="0"/>
        </a:xfrm>
      </p:grpSpPr>
      <p:sp>
        <p:nvSpPr>
          <p:cNvPr id="2" name="Titel 1"/>
          <p:cNvSpPr>
            <a:spLocks noGrp="1" noSelect="1"/>
          </p:cNvSpPr>
          <p:nvPr>
            <p:ph type="title"/>
          </p:nvPr>
        </p:nvSpPr>
        <p:spPr bwMode="gray"/>
        <p:txBody>
          <a:bodyPr/>
          <a:lstStyle/>
          <a:p>
            <a:r>
              <a:rPr lang="nl-NL" noProof="1"/>
              <a:t>Klik om de stijl te bewerken</a:t>
            </a:r>
          </a:p>
        </p:txBody>
      </p:sp>
      <p:sp>
        <p:nvSpPr>
          <p:cNvPr id="3" name="Tijdelijke aanduiding voor inhoud 2"/>
          <p:cNvSpPr>
            <a:spLocks noGrp="1" noSelect="1"/>
          </p:cNvSpPr>
          <p:nvPr>
            <p:ph idx="1"/>
          </p:nvPr>
        </p:nvSpPr>
        <p:spPr bwMode="gray"/>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4" name="Tijdelijke aanduiding voor datum 3"/>
          <p:cNvSpPr>
            <a:spLocks noGrp="1" noSelect="1"/>
          </p:cNvSpPr>
          <p:nvPr>
            <p:ph type="dt" sz="half" idx="10"/>
          </p:nvPr>
        </p:nvSpPr>
        <p:spPr bwMode="gray"/>
        <p:txBody>
          <a:bodyPr/>
          <a:lstStyle/>
          <a:p>
            <a:endParaRPr lang="nl-NL" dirty="0"/>
          </a:p>
        </p:txBody>
      </p:sp>
      <p:sp>
        <p:nvSpPr>
          <p:cNvPr id="5" name="Tijdelijke aanduiding voor voettekst 4"/>
          <p:cNvSpPr>
            <a:spLocks noGrp="1" noSelect="1"/>
          </p:cNvSpPr>
          <p:nvPr>
            <p:ph type="ftr" sz="quarter" idx="11"/>
          </p:nvPr>
        </p:nvSpPr>
        <p:spPr bwMode="gray"/>
        <p:txBody>
          <a:bodyPr/>
          <a:lstStyle/>
          <a:p>
            <a:r>
              <a:rPr lang="nl-NL"/>
              <a:t>Informatiebijeenkomst 26 juli 2021 Europese Aanbesteding SVWI</a:t>
            </a:r>
            <a:endParaRPr lang="nl-NL" dirty="0"/>
          </a:p>
        </p:txBody>
      </p:sp>
      <p:sp>
        <p:nvSpPr>
          <p:cNvPr id="6" name="Tijdelijke aanduiding voor dianummer 5"/>
          <p:cNvSpPr>
            <a:spLocks noGrp="1" noSelect="1"/>
          </p:cNvSpPr>
          <p:nvPr>
            <p:ph type="sldNum" sz="quarter" idx="12"/>
          </p:nvPr>
        </p:nvSpPr>
        <p:spPr bwMode="gray"/>
        <p:txBody>
          <a:bodyPr/>
          <a:lstStyle/>
          <a:p>
            <a:pPr algn="l"/>
            <a:r>
              <a:rPr lang="nl-NL" dirty="0"/>
              <a:t>| </a:t>
            </a:r>
            <a:fld id="{6C885DEC-5AE5-4403-A92E-278225061E43}" type="slidenum">
              <a:rPr lang="nl-NL" smtClean="0"/>
              <a:pPr algn="l"/>
              <a:t>‹nr.›</a:t>
            </a:fld>
            <a:endParaRPr lang="nl-NL" dirty="0"/>
          </a:p>
        </p:txBody>
      </p:sp>
    </p:spTree>
    <p:extLst>
      <p:ext uri="{BB962C8B-B14F-4D97-AF65-F5344CB8AC3E}">
        <p14:creationId xmlns:p14="http://schemas.microsoft.com/office/powerpoint/2010/main" val="242370285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chemeClr val="tx2"/>
        </a:solidFill>
        <a:effectLst/>
      </p:bgPr>
    </p:bg>
    <p:spTree>
      <p:nvGrpSpPr>
        <p:cNvPr id="1" name=""/>
        <p:cNvGrpSpPr/>
        <p:nvPr/>
      </p:nvGrpSpPr>
      <p:grpSpPr>
        <a:xfrm>
          <a:off x="0" y="0"/>
          <a:ext cx="0" cy="0"/>
          <a:chOff x="0" y="0"/>
          <a:chExt cx="0" cy="0"/>
        </a:xfrm>
      </p:grpSpPr>
      <p:sp>
        <p:nvSpPr>
          <p:cNvPr id="37" name="Rechthoek 36">
            <a:extLst>
              <a:ext uri="{FF2B5EF4-FFF2-40B4-BE49-F238E27FC236}">
                <a16:creationId xmlns:a16="http://schemas.microsoft.com/office/drawing/2014/main" id="{3A328ABD-0406-6949-8BB7-6D2AEA80B538}"/>
              </a:ext>
            </a:extLst>
          </p:cNvPr>
          <p:cNvSpPr/>
          <p:nvPr userDrawn="1"/>
        </p:nvSpPr>
        <p:spPr>
          <a:xfrm>
            <a:off x="1" y="6051252"/>
            <a:ext cx="12191999" cy="806748"/>
          </a:xfrm>
          <a:prstGeom prst="rect">
            <a:avLst/>
          </a:prstGeom>
          <a:ln w="15875">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1837"/>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4464701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EA23475-9EC2-4C0C-BE62-D93FA15DA2B5}"/>
              </a:ext>
            </a:extLst>
          </p:cNvPr>
          <p:cNvSpPr/>
          <p:nvPr userDrawn="1">
            <p:custDataLst>
              <p:tags r:id="rId2"/>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5510"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45" name="Rectangle 44">
            <a:extLst>
              <a:ext uri="{FF2B5EF4-FFF2-40B4-BE49-F238E27FC236}">
                <a16:creationId xmlns:a16="http://schemas.microsoft.com/office/drawing/2014/main" id="{E81A223E-4F63-48C8-B290-576BBFF2BC0E}"/>
              </a:ext>
            </a:extLst>
          </p:cNvPr>
          <p:cNvSpPr>
            <a:spLocks/>
          </p:cNvSpPr>
          <p:nvPr userDrawn="1"/>
        </p:nvSpPr>
        <p:spPr bwMode="ltGray">
          <a:xfrm>
            <a:off x="1" y="1"/>
            <a:ext cx="892515"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nl-NL" sz="1837" dirty="0">
              <a:solidFill>
                <a:schemeClr val="tx1"/>
              </a:solidFill>
            </a:endParaRPr>
          </a:p>
        </p:txBody>
      </p:sp>
      <p:sp>
        <p:nvSpPr>
          <p:cNvPr id="9" name="Document type" hidden="1"/>
          <p:cNvSpPr txBox="1">
            <a:spLocks noChangeArrowheads="1"/>
          </p:cNvSpPr>
          <p:nvPr/>
        </p:nvSpPr>
        <p:spPr bwMode="ltGray">
          <a:xfrm>
            <a:off x="1018834" y="5844155"/>
            <a:ext cx="10080491"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nl-NL" sz="1428" baseline="0" noProof="0" dirty="0">
                <a:solidFill>
                  <a:schemeClr val="bg1"/>
                </a:solidFill>
                <a:latin typeface="+mn-lt"/>
              </a:rPr>
              <a:t>Documenttype</a:t>
            </a:r>
          </a:p>
        </p:txBody>
      </p:sp>
      <p:sp>
        <p:nvSpPr>
          <p:cNvPr id="10" name="Date" hidden="1"/>
          <p:cNvSpPr txBox="1">
            <a:spLocks noChangeArrowheads="1"/>
          </p:cNvSpPr>
          <p:nvPr/>
        </p:nvSpPr>
        <p:spPr bwMode="ltGray">
          <a:xfrm>
            <a:off x="1018834" y="6117893"/>
            <a:ext cx="10080491"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nl-NL" sz="1428" baseline="0" noProof="0" dirty="0">
                <a:solidFill>
                  <a:schemeClr val="bg1"/>
                </a:solidFill>
                <a:latin typeface="+mn-lt"/>
              </a:rPr>
              <a:t>Datum</a:t>
            </a:r>
          </a:p>
        </p:txBody>
      </p:sp>
      <p:sp>
        <p:nvSpPr>
          <p:cNvPr id="13314" name="Rectangle 1026"/>
          <p:cNvSpPr>
            <a:spLocks noGrp="1" noChangeArrowheads="1"/>
          </p:cNvSpPr>
          <p:nvPr>
            <p:ph type="ctrTitle"/>
          </p:nvPr>
        </p:nvSpPr>
        <p:spPr bwMode="ltGray">
          <a:xfrm>
            <a:off x="1018834" y="2605299"/>
            <a:ext cx="10080491" cy="847876"/>
          </a:xfrm>
          <a:prstGeom prst="rect">
            <a:avLst/>
          </a:prstGeom>
        </p:spPr>
        <p:txBody>
          <a:bodyPr wrap="square" anchor="b">
            <a:spAutoFit/>
          </a:bodyPr>
          <a:lstStyle>
            <a:lvl1pPr>
              <a:defRPr sz="5510" b="1" kern="1200" baseline="0">
                <a:solidFill>
                  <a:schemeClr val="bg1"/>
                </a:solidFill>
                <a:latin typeface="+mj-lt"/>
                <a:ea typeface="+mj-ea"/>
              </a:defRPr>
            </a:lvl1pPr>
          </a:lstStyle>
          <a:p>
            <a:pPr lvl="0"/>
            <a:r>
              <a:rPr lang="nl-NL" noProof="0" dirty="0"/>
              <a:t>Click to edit Master title style</a:t>
            </a:r>
          </a:p>
        </p:txBody>
      </p:sp>
      <p:sp>
        <p:nvSpPr>
          <p:cNvPr id="13315" name="Rectangle 1027"/>
          <p:cNvSpPr>
            <a:spLocks noGrp="1" noChangeArrowheads="1"/>
          </p:cNvSpPr>
          <p:nvPr>
            <p:ph type="subTitle" idx="1"/>
          </p:nvPr>
        </p:nvSpPr>
        <p:spPr bwMode="ltGray">
          <a:xfrm>
            <a:off x="1018834" y="3600693"/>
            <a:ext cx="10080491" cy="533848"/>
          </a:xfrm>
        </p:spPr>
        <p:txBody>
          <a:bodyPr wrap="square">
            <a:noAutofit/>
          </a:bodyPr>
          <a:lstStyle>
            <a:lvl1pPr>
              <a:defRPr sz="3469" baseline="0">
                <a:solidFill>
                  <a:schemeClr val="bg1"/>
                </a:solidFill>
                <a:latin typeface="+mj-lt"/>
                <a:ea typeface="+mj-ea"/>
              </a:defRPr>
            </a:lvl1pPr>
          </a:lstStyle>
          <a:p>
            <a:pPr lvl="0"/>
            <a:r>
              <a:rPr lang="nl-NL" noProof="0" dirty="0"/>
              <a:t>Click to edit Master subtitle style</a:t>
            </a:r>
          </a:p>
        </p:txBody>
      </p:sp>
      <p:grpSp>
        <p:nvGrpSpPr>
          <p:cNvPr id="43" name="Group 42">
            <a:extLst>
              <a:ext uri="{FF2B5EF4-FFF2-40B4-BE49-F238E27FC236}">
                <a16:creationId xmlns:a16="http://schemas.microsoft.com/office/drawing/2014/main" id="{3DA9FF67-0D51-4D87-B84D-DE1262962156}"/>
              </a:ext>
            </a:extLst>
          </p:cNvPr>
          <p:cNvGrpSpPr/>
          <p:nvPr userDrawn="1"/>
        </p:nvGrpSpPr>
        <p:grpSpPr bwMode="ltGray">
          <a:xfrm>
            <a:off x="1018835" y="127961"/>
            <a:ext cx="1731533" cy="579869"/>
            <a:chOff x="998538" y="125413"/>
            <a:chExt cx="1697038" cy="568325"/>
          </a:xfrm>
        </p:grpSpPr>
        <p:sp>
          <p:nvSpPr>
            <p:cNvPr id="19" name="Freeform 45">
              <a:extLst>
                <a:ext uri="{FF2B5EF4-FFF2-40B4-BE49-F238E27FC236}">
                  <a16:creationId xmlns:a16="http://schemas.microsoft.com/office/drawing/2014/main" id="{3594579E-4C97-4E6E-B5D9-2035222C075C}"/>
                </a:ext>
              </a:extLst>
            </p:cNvPr>
            <p:cNvSpPr>
              <a:spLocks/>
            </p:cNvSpPr>
            <p:nvPr userDrawn="1"/>
          </p:nvSpPr>
          <p:spPr bwMode="ltGray">
            <a:xfrm>
              <a:off x="1011238" y="125413"/>
              <a:ext cx="211138" cy="236538"/>
            </a:xfrm>
            <a:custGeom>
              <a:avLst/>
              <a:gdLst>
                <a:gd name="T0" fmla="*/ 1125 w 1125"/>
                <a:gd name="T1" fmla="*/ 1148 h 1267"/>
                <a:gd name="T2" fmla="*/ 631 w 1125"/>
                <a:gd name="T3" fmla="*/ 1267 h 1267"/>
                <a:gd name="T4" fmla="*/ 0 w 1125"/>
                <a:gd name="T5" fmla="*/ 639 h 1267"/>
                <a:gd name="T6" fmla="*/ 631 w 1125"/>
                <a:gd name="T7" fmla="*/ 0 h 1267"/>
                <a:gd name="T8" fmla="*/ 1102 w 1125"/>
                <a:gd name="T9" fmla="*/ 152 h 1267"/>
                <a:gd name="T10" fmla="*/ 945 w 1125"/>
                <a:gd name="T11" fmla="*/ 312 h 1267"/>
                <a:gd name="T12" fmla="*/ 633 w 1125"/>
                <a:gd name="T13" fmla="*/ 194 h 1267"/>
                <a:gd name="T14" fmla="*/ 223 w 1125"/>
                <a:gd name="T15" fmla="*/ 625 h 1267"/>
                <a:gd name="T16" fmla="*/ 633 w 1125"/>
                <a:gd name="T17" fmla="*/ 1073 h 1267"/>
                <a:gd name="T18" fmla="*/ 913 w 1125"/>
                <a:gd name="T19" fmla="*/ 1010 h 1267"/>
                <a:gd name="T20" fmla="*/ 913 w 1125"/>
                <a:gd name="T21" fmla="*/ 726 h 1267"/>
                <a:gd name="T22" fmla="*/ 669 w 1125"/>
                <a:gd name="T23" fmla="*/ 726 h 1267"/>
                <a:gd name="T24" fmla="*/ 669 w 1125"/>
                <a:gd name="T25" fmla="*/ 532 h 1267"/>
                <a:gd name="T26" fmla="*/ 1125 w 1125"/>
                <a:gd name="T27" fmla="*/ 532 h 1267"/>
                <a:gd name="T28" fmla="*/ 1125 w 1125"/>
                <a:gd name="T29" fmla="*/ 1148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5" h="1267">
                  <a:moveTo>
                    <a:pt x="1125" y="1148"/>
                  </a:moveTo>
                  <a:cubicBezTo>
                    <a:pt x="981" y="1227"/>
                    <a:pt x="815" y="1267"/>
                    <a:pt x="631" y="1267"/>
                  </a:cubicBezTo>
                  <a:cubicBezTo>
                    <a:pt x="263" y="1267"/>
                    <a:pt x="0" y="1015"/>
                    <a:pt x="0" y="639"/>
                  </a:cubicBezTo>
                  <a:cubicBezTo>
                    <a:pt x="0" y="252"/>
                    <a:pt x="263" y="0"/>
                    <a:pt x="631" y="0"/>
                  </a:cubicBezTo>
                  <a:cubicBezTo>
                    <a:pt x="813" y="0"/>
                    <a:pt x="977" y="39"/>
                    <a:pt x="1102" y="152"/>
                  </a:cubicBezTo>
                  <a:cubicBezTo>
                    <a:pt x="945" y="312"/>
                    <a:pt x="945" y="312"/>
                    <a:pt x="945" y="312"/>
                  </a:cubicBezTo>
                  <a:cubicBezTo>
                    <a:pt x="869" y="237"/>
                    <a:pt x="752" y="194"/>
                    <a:pt x="633" y="194"/>
                  </a:cubicBezTo>
                  <a:cubicBezTo>
                    <a:pt x="387" y="194"/>
                    <a:pt x="223" y="385"/>
                    <a:pt x="223" y="625"/>
                  </a:cubicBezTo>
                  <a:cubicBezTo>
                    <a:pt x="223" y="882"/>
                    <a:pt x="387" y="1073"/>
                    <a:pt x="633" y="1073"/>
                  </a:cubicBezTo>
                  <a:cubicBezTo>
                    <a:pt x="741" y="1073"/>
                    <a:pt x="839" y="1053"/>
                    <a:pt x="913" y="1010"/>
                  </a:cubicBezTo>
                  <a:cubicBezTo>
                    <a:pt x="913" y="726"/>
                    <a:pt x="913" y="726"/>
                    <a:pt x="913" y="726"/>
                  </a:cubicBezTo>
                  <a:cubicBezTo>
                    <a:pt x="669" y="726"/>
                    <a:pt x="669" y="726"/>
                    <a:pt x="669" y="726"/>
                  </a:cubicBezTo>
                  <a:cubicBezTo>
                    <a:pt x="669" y="532"/>
                    <a:pt x="669" y="532"/>
                    <a:pt x="669" y="532"/>
                  </a:cubicBezTo>
                  <a:cubicBezTo>
                    <a:pt x="1125" y="532"/>
                    <a:pt x="1125" y="532"/>
                    <a:pt x="1125" y="532"/>
                  </a:cubicBezTo>
                  <a:lnTo>
                    <a:pt x="1125" y="114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0" name="Freeform 46">
              <a:extLst>
                <a:ext uri="{FF2B5EF4-FFF2-40B4-BE49-F238E27FC236}">
                  <a16:creationId xmlns:a16="http://schemas.microsoft.com/office/drawing/2014/main" id="{F032D30D-15CF-4E12-8402-F1C574D25FE7}"/>
                </a:ext>
              </a:extLst>
            </p:cNvPr>
            <p:cNvSpPr>
              <a:spLocks noEditPoints="1"/>
            </p:cNvSpPr>
            <p:nvPr userDrawn="1"/>
          </p:nvSpPr>
          <p:spPr bwMode="ltGray">
            <a:xfrm>
              <a:off x="1258888" y="200025"/>
              <a:ext cx="155575" cy="160338"/>
            </a:xfrm>
            <a:custGeom>
              <a:avLst/>
              <a:gdLst>
                <a:gd name="T0" fmla="*/ 204 w 825"/>
                <a:gd name="T1" fmla="*/ 501 h 858"/>
                <a:gd name="T2" fmla="*/ 423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4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08" y="695"/>
                    <a:pt x="423"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8"/>
                    <a:pt x="542" y="153"/>
                    <a:pt x="414" y="153"/>
                  </a:cubicBezTo>
                  <a:cubicBezTo>
                    <a:pt x="293"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1" name="Freeform 47">
              <a:extLst>
                <a:ext uri="{FF2B5EF4-FFF2-40B4-BE49-F238E27FC236}">
                  <a16:creationId xmlns:a16="http://schemas.microsoft.com/office/drawing/2014/main" id="{62181A78-9679-473A-A970-452B7964DC86}"/>
                </a:ext>
              </a:extLst>
            </p:cNvPr>
            <p:cNvSpPr>
              <a:spLocks/>
            </p:cNvSpPr>
            <p:nvPr userDrawn="1"/>
          </p:nvSpPr>
          <p:spPr bwMode="ltGray">
            <a:xfrm>
              <a:off x="1447800" y="200025"/>
              <a:ext cx="236538" cy="155575"/>
            </a:xfrm>
            <a:custGeom>
              <a:avLst/>
              <a:gdLst>
                <a:gd name="T0" fmla="*/ 0 w 1259"/>
                <a:gd name="T1" fmla="*/ 20 h 833"/>
                <a:gd name="T2" fmla="*/ 193 w 1259"/>
                <a:gd name="T3" fmla="*/ 20 h 833"/>
                <a:gd name="T4" fmla="*/ 193 w 1259"/>
                <a:gd name="T5" fmla="*/ 148 h 833"/>
                <a:gd name="T6" fmla="*/ 197 w 1259"/>
                <a:gd name="T7" fmla="*/ 148 h 833"/>
                <a:gd name="T8" fmla="*/ 445 w 1259"/>
                <a:gd name="T9" fmla="*/ 0 h 833"/>
                <a:gd name="T10" fmla="*/ 699 w 1259"/>
                <a:gd name="T11" fmla="*/ 151 h 833"/>
                <a:gd name="T12" fmla="*/ 966 w 1259"/>
                <a:gd name="T13" fmla="*/ 0 h 833"/>
                <a:gd name="T14" fmla="*/ 1259 w 1259"/>
                <a:gd name="T15" fmla="*/ 349 h 833"/>
                <a:gd name="T16" fmla="*/ 1259 w 1259"/>
                <a:gd name="T17" fmla="*/ 833 h 833"/>
                <a:gd name="T18" fmla="*/ 1056 w 1259"/>
                <a:gd name="T19" fmla="*/ 833 h 833"/>
                <a:gd name="T20" fmla="*/ 1056 w 1259"/>
                <a:gd name="T21" fmla="*/ 372 h 833"/>
                <a:gd name="T22" fmla="*/ 905 w 1259"/>
                <a:gd name="T23" fmla="*/ 183 h 833"/>
                <a:gd name="T24" fmla="*/ 731 w 1259"/>
                <a:gd name="T25" fmla="*/ 393 h 833"/>
                <a:gd name="T26" fmla="*/ 731 w 1259"/>
                <a:gd name="T27" fmla="*/ 833 h 833"/>
                <a:gd name="T28" fmla="*/ 528 w 1259"/>
                <a:gd name="T29" fmla="*/ 833 h 833"/>
                <a:gd name="T30" fmla="*/ 528 w 1259"/>
                <a:gd name="T31" fmla="*/ 349 h 833"/>
                <a:gd name="T32" fmla="*/ 389 w 1259"/>
                <a:gd name="T33" fmla="*/ 183 h 833"/>
                <a:gd name="T34" fmla="*/ 204 w 1259"/>
                <a:gd name="T35" fmla="*/ 390 h 833"/>
                <a:gd name="T36" fmla="*/ 204 w 1259"/>
                <a:gd name="T37" fmla="*/ 833 h 833"/>
                <a:gd name="T38" fmla="*/ 0 w 1259"/>
                <a:gd name="T39" fmla="*/ 833 h 833"/>
                <a:gd name="T40" fmla="*/ 0 w 1259"/>
                <a:gd name="T41" fmla="*/ 2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9" h="833">
                  <a:moveTo>
                    <a:pt x="0" y="20"/>
                  </a:moveTo>
                  <a:cubicBezTo>
                    <a:pt x="193" y="20"/>
                    <a:pt x="193" y="20"/>
                    <a:pt x="193" y="20"/>
                  </a:cubicBezTo>
                  <a:cubicBezTo>
                    <a:pt x="193" y="148"/>
                    <a:pt x="193" y="148"/>
                    <a:pt x="193" y="148"/>
                  </a:cubicBezTo>
                  <a:cubicBezTo>
                    <a:pt x="197" y="148"/>
                    <a:pt x="197" y="148"/>
                    <a:pt x="197" y="148"/>
                  </a:cubicBezTo>
                  <a:cubicBezTo>
                    <a:pt x="232" y="72"/>
                    <a:pt x="310" y="0"/>
                    <a:pt x="445" y="0"/>
                  </a:cubicBezTo>
                  <a:cubicBezTo>
                    <a:pt x="570" y="0"/>
                    <a:pt x="656" y="49"/>
                    <a:pt x="699" y="151"/>
                  </a:cubicBezTo>
                  <a:cubicBezTo>
                    <a:pt x="758" y="47"/>
                    <a:pt x="844" y="0"/>
                    <a:pt x="966" y="0"/>
                  </a:cubicBezTo>
                  <a:cubicBezTo>
                    <a:pt x="1183" y="0"/>
                    <a:pt x="1259" y="155"/>
                    <a:pt x="1259" y="349"/>
                  </a:cubicBezTo>
                  <a:cubicBezTo>
                    <a:pt x="1259" y="833"/>
                    <a:pt x="1259" y="833"/>
                    <a:pt x="1259" y="833"/>
                  </a:cubicBezTo>
                  <a:cubicBezTo>
                    <a:pt x="1056" y="833"/>
                    <a:pt x="1056" y="833"/>
                    <a:pt x="1056" y="833"/>
                  </a:cubicBezTo>
                  <a:cubicBezTo>
                    <a:pt x="1056" y="372"/>
                    <a:pt x="1056" y="372"/>
                    <a:pt x="1056" y="372"/>
                  </a:cubicBezTo>
                  <a:cubicBezTo>
                    <a:pt x="1056" y="271"/>
                    <a:pt x="1025" y="183"/>
                    <a:pt x="905" y="183"/>
                  </a:cubicBezTo>
                  <a:cubicBezTo>
                    <a:pt x="778" y="183"/>
                    <a:pt x="731" y="288"/>
                    <a:pt x="731" y="393"/>
                  </a:cubicBezTo>
                  <a:cubicBezTo>
                    <a:pt x="731" y="833"/>
                    <a:pt x="731" y="833"/>
                    <a:pt x="731" y="833"/>
                  </a:cubicBezTo>
                  <a:cubicBezTo>
                    <a:pt x="528" y="833"/>
                    <a:pt x="528" y="833"/>
                    <a:pt x="528" y="833"/>
                  </a:cubicBezTo>
                  <a:cubicBezTo>
                    <a:pt x="528" y="349"/>
                    <a:pt x="528" y="349"/>
                    <a:pt x="528" y="349"/>
                  </a:cubicBezTo>
                  <a:cubicBezTo>
                    <a:pt x="528" y="249"/>
                    <a:pt x="487" y="183"/>
                    <a:pt x="389" y="183"/>
                  </a:cubicBezTo>
                  <a:cubicBezTo>
                    <a:pt x="256" y="183"/>
                    <a:pt x="204" y="281"/>
                    <a:pt x="204" y="390"/>
                  </a:cubicBezTo>
                  <a:cubicBezTo>
                    <a:pt x="204" y="833"/>
                    <a:pt x="204" y="833"/>
                    <a:pt x="204" y="833"/>
                  </a:cubicBezTo>
                  <a:cubicBezTo>
                    <a:pt x="0" y="833"/>
                    <a:pt x="0" y="833"/>
                    <a:pt x="0" y="833"/>
                  </a:cubicBezTo>
                  <a:lnTo>
                    <a:pt x="0" y="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2" name="Freeform 48">
              <a:extLst>
                <a:ext uri="{FF2B5EF4-FFF2-40B4-BE49-F238E27FC236}">
                  <a16:creationId xmlns:a16="http://schemas.microsoft.com/office/drawing/2014/main" id="{0C7F4442-2C2D-4A55-8C64-21A57A1756DF}"/>
                </a:ext>
              </a:extLst>
            </p:cNvPr>
            <p:cNvSpPr>
              <a:spLocks noEditPoints="1"/>
            </p:cNvSpPr>
            <p:nvPr userDrawn="1"/>
          </p:nvSpPr>
          <p:spPr bwMode="ltGray">
            <a:xfrm>
              <a:off x="1717675" y="200025"/>
              <a:ext cx="153988" cy="160338"/>
            </a:xfrm>
            <a:custGeom>
              <a:avLst/>
              <a:gdLst>
                <a:gd name="T0" fmla="*/ 204 w 825"/>
                <a:gd name="T1" fmla="*/ 501 h 858"/>
                <a:gd name="T2" fmla="*/ 423 w 825"/>
                <a:gd name="T3" fmla="*/ 695 h 858"/>
                <a:gd name="T4" fmla="*/ 642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5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10" y="695"/>
                    <a:pt x="423" y="695"/>
                  </a:cubicBezTo>
                  <a:cubicBezTo>
                    <a:pt x="525" y="695"/>
                    <a:pt x="591" y="647"/>
                    <a:pt x="642"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8"/>
                    <a:pt x="542" y="153"/>
                    <a:pt x="415" y="153"/>
                  </a:cubicBezTo>
                  <a:cubicBezTo>
                    <a:pt x="294"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3" name="Freeform 49">
              <a:extLst>
                <a:ext uri="{FF2B5EF4-FFF2-40B4-BE49-F238E27FC236}">
                  <a16:creationId xmlns:a16="http://schemas.microsoft.com/office/drawing/2014/main" id="{E708E535-9F33-4B32-AF3A-89677DD5E41B}"/>
                </a:ext>
              </a:extLst>
            </p:cNvPr>
            <p:cNvSpPr>
              <a:spLocks noEditPoints="1"/>
            </p:cNvSpPr>
            <p:nvPr userDrawn="1"/>
          </p:nvSpPr>
          <p:spPr bwMode="ltGray">
            <a:xfrm>
              <a:off x="1900238" y="200025"/>
              <a:ext cx="153988" cy="160338"/>
            </a:xfrm>
            <a:custGeom>
              <a:avLst/>
              <a:gdLst>
                <a:gd name="T0" fmla="*/ 204 w 825"/>
                <a:gd name="T1" fmla="*/ 501 h 858"/>
                <a:gd name="T2" fmla="*/ 422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4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08" y="695"/>
                    <a:pt x="422"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19" y="228"/>
                    <a:pt x="542" y="153"/>
                    <a:pt x="414" y="153"/>
                  </a:cubicBezTo>
                  <a:cubicBezTo>
                    <a:pt x="293"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4" name="Freeform 50">
              <a:extLst>
                <a:ext uri="{FF2B5EF4-FFF2-40B4-BE49-F238E27FC236}">
                  <a16:creationId xmlns:a16="http://schemas.microsoft.com/office/drawing/2014/main" id="{8850C9E0-7F66-4B6F-A5E3-B030EA899A8C}"/>
                </a:ext>
              </a:extLst>
            </p:cNvPr>
            <p:cNvSpPr>
              <a:spLocks/>
            </p:cNvSpPr>
            <p:nvPr userDrawn="1"/>
          </p:nvSpPr>
          <p:spPr bwMode="ltGray">
            <a:xfrm>
              <a:off x="2089150" y="200025"/>
              <a:ext cx="139700" cy="155575"/>
            </a:xfrm>
            <a:custGeom>
              <a:avLst/>
              <a:gdLst>
                <a:gd name="T0" fmla="*/ 0 w 750"/>
                <a:gd name="T1" fmla="*/ 20 h 833"/>
                <a:gd name="T2" fmla="*/ 195 w 750"/>
                <a:gd name="T3" fmla="*/ 20 h 833"/>
                <a:gd name="T4" fmla="*/ 195 w 750"/>
                <a:gd name="T5" fmla="*/ 151 h 833"/>
                <a:gd name="T6" fmla="*/ 199 w 750"/>
                <a:gd name="T7" fmla="*/ 151 h 833"/>
                <a:gd name="T8" fmla="*/ 450 w 750"/>
                <a:gd name="T9" fmla="*/ 0 h 833"/>
                <a:gd name="T10" fmla="*/ 750 w 750"/>
                <a:gd name="T11" fmla="*/ 320 h 833"/>
                <a:gd name="T12" fmla="*/ 750 w 750"/>
                <a:gd name="T13" fmla="*/ 833 h 833"/>
                <a:gd name="T14" fmla="*/ 545 w 750"/>
                <a:gd name="T15" fmla="*/ 833 h 833"/>
                <a:gd name="T16" fmla="*/ 545 w 750"/>
                <a:gd name="T17" fmla="*/ 421 h 833"/>
                <a:gd name="T18" fmla="*/ 394 w 750"/>
                <a:gd name="T19" fmla="*/ 183 h 833"/>
                <a:gd name="T20" fmla="*/ 206 w 750"/>
                <a:gd name="T21" fmla="*/ 390 h 833"/>
                <a:gd name="T22" fmla="*/ 206 w 750"/>
                <a:gd name="T23" fmla="*/ 833 h 833"/>
                <a:gd name="T24" fmla="*/ 0 w 750"/>
                <a:gd name="T25" fmla="*/ 833 h 833"/>
                <a:gd name="T26" fmla="*/ 0 w 750"/>
                <a:gd name="T27" fmla="*/ 2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0" h="833">
                  <a:moveTo>
                    <a:pt x="0" y="20"/>
                  </a:moveTo>
                  <a:cubicBezTo>
                    <a:pt x="195" y="20"/>
                    <a:pt x="195" y="20"/>
                    <a:pt x="195" y="20"/>
                  </a:cubicBezTo>
                  <a:cubicBezTo>
                    <a:pt x="195" y="151"/>
                    <a:pt x="195" y="151"/>
                    <a:pt x="195" y="151"/>
                  </a:cubicBezTo>
                  <a:cubicBezTo>
                    <a:pt x="199" y="151"/>
                    <a:pt x="199" y="151"/>
                    <a:pt x="199" y="151"/>
                  </a:cubicBezTo>
                  <a:cubicBezTo>
                    <a:pt x="237" y="69"/>
                    <a:pt x="313" y="0"/>
                    <a:pt x="450" y="0"/>
                  </a:cubicBezTo>
                  <a:cubicBezTo>
                    <a:pt x="671" y="0"/>
                    <a:pt x="750" y="155"/>
                    <a:pt x="750" y="320"/>
                  </a:cubicBezTo>
                  <a:cubicBezTo>
                    <a:pt x="750" y="833"/>
                    <a:pt x="750" y="833"/>
                    <a:pt x="750" y="833"/>
                  </a:cubicBezTo>
                  <a:cubicBezTo>
                    <a:pt x="545" y="833"/>
                    <a:pt x="545" y="833"/>
                    <a:pt x="545" y="833"/>
                  </a:cubicBezTo>
                  <a:cubicBezTo>
                    <a:pt x="545" y="421"/>
                    <a:pt x="545" y="421"/>
                    <a:pt x="545" y="421"/>
                  </a:cubicBezTo>
                  <a:cubicBezTo>
                    <a:pt x="545" y="333"/>
                    <a:pt x="538" y="183"/>
                    <a:pt x="394" y="183"/>
                  </a:cubicBezTo>
                  <a:cubicBezTo>
                    <a:pt x="259" y="183"/>
                    <a:pt x="206" y="281"/>
                    <a:pt x="206" y="390"/>
                  </a:cubicBezTo>
                  <a:cubicBezTo>
                    <a:pt x="206" y="833"/>
                    <a:pt x="206" y="833"/>
                    <a:pt x="206" y="833"/>
                  </a:cubicBezTo>
                  <a:cubicBezTo>
                    <a:pt x="0" y="833"/>
                    <a:pt x="0" y="833"/>
                    <a:pt x="0" y="833"/>
                  </a:cubicBezTo>
                  <a:lnTo>
                    <a:pt x="0" y="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5" name="Freeform 51">
              <a:extLst>
                <a:ext uri="{FF2B5EF4-FFF2-40B4-BE49-F238E27FC236}">
                  <a16:creationId xmlns:a16="http://schemas.microsoft.com/office/drawing/2014/main" id="{5E7243FB-D22C-4780-A2BD-2B0FE0EBDE84}"/>
                </a:ext>
              </a:extLst>
            </p:cNvPr>
            <p:cNvSpPr>
              <a:spLocks/>
            </p:cNvSpPr>
            <p:nvPr userDrawn="1"/>
          </p:nvSpPr>
          <p:spPr bwMode="ltGray">
            <a:xfrm>
              <a:off x="2254250" y="158750"/>
              <a:ext cx="111125" cy="201613"/>
            </a:xfrm>
            <a:custGeom>
              <a:avLst/>
              <a:gdLst>
                <a:gd name="T0" fmla="*/ 0 w 591"/>
                <a:gd name="T1" fmla="*/ 411 h 1075"/>
                <a:gd name="T2" fmla="*/ 0 w 591"/>
                <a:gd name="T3" fmla="*/ 237 h 1075"/>
                <a:gd name="T4" fmla="*/ 166 w 591"/>
                <a:gd name="T5" fmla="*/ 237 h 1075"/>
                <a:gd name="T6" fmla="*/ 166 w 591"/>
                <a:gd name="T7" fmla="*/ 0 h 1075"/>
                <a:gd name="T8" fmla="*/ 369 w 591"/>
                <a:gd name="T9" fmla="*/ 0 h 1075"/>
                <a:gd name="T10" fmla="*/ 369 w 591"/>
                <a:gd name="T11" fmla="*/ 237 h 1075"/>
                <a:gd name="T12" fmla="*/ 591 w 591"/>
                <a:gd name="T13" fmla="*/ 237 h 1075"/>
                <a:gd name="T14" fmla="*/ 591 w 591"/>
                <a:gd name="T15" fmla="*/ 411 h 1075"/>
                <a:gd name="T16" fmla="*/ 369 w 591"/>
                <a:gd name="T17" fmla="*/ 411 h 1075"/>
                <a:gd name="T18" fmla="*/ 369 w 591"/>
                <a:gd name="T19" fmla="*/ 769 h 1075"/>
                <a:gd name="T20" fmla="*/ 482 w 591"/>
                <a:gd name="T21" fmla="*/ 901 h 1075"/>
                <a:gd name="T22" fmla="*/ 591 w 591"/>
                <a:gd name="T23" fmla="*/ 876 h 1075"/>
                <a:gd name="T24" fmla="*/ 591 w 591"/>
                <a:gd name="T25" fmla="*/ 1048 h 1075"/>
                <a:gd name="T26" fmla="*/ 432 w 591"/>
                <a:gd name="T27" fmla="*/ 1075 h 1075"/>
                <a:gd name="T28" fmla="*/ 166 w 591"/>
                <a:gd name="T29" fmla="*/ 786 h 1075"/>
                <a:gd name="T30" fmla="*/ 166 w 591"/>
                <a:gd name="T31" fmla="*/ 411 h 1075"/>
                <a:gd name="T32" fmla="*/ 0 w 591"/>
                <a:gd name="T33" fmla="*/ 411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1" h="1075">
                  <a:moveTo>
                    <a:pt x="0" y="411"/>
                  </a:moveTo>
                  <a:cubicBezTo>
                    <a:pt x="0" y="237"/>
                    <a:pt x="0" y="237"/>
                    <a:pt x="0" y="237"/>
                  </a:cubicBezTo>
                  <a:cubicBezTo>
                    <a:pt x="166" y="237"/>
                    <a:pt x="166" y="237"/>
                    <a:pt x="166" y="237"/>
                  </a:cubicBezTo>
                  <a:cubicBezTo>
                    <a:pt x="166" y="0"/>
                    <a:pt x="166" y="0"/>
                    <a:pt x="166" y="0"/>
                  </a:cubicBezTo>
                  <a:cubicBezTo>
                    <a:pt x="369" y="0"/>
                    <a:pt x="369" y="0"/>
                    <a:pt x="369" y="0"/>
                  </a:cubicBezTo>
                  <a:cubicBezTo>
                    <a:pt x="369" y="237"/>
                    <a:pt x="369" y="237"/>
                    <a:pt x="369" y="237"/>
                  </a:cubicBezTo>
                  <a:cubicBezTo>
                    <a:pt x="591" y="237"/>
                    <a:pt x="591" y="237"/>
                    <a:pt x="591" y="237"/>
                  </a:cubicBezTo>
                  <a:cubicBezTo>
                    <a:pt x="591" y="411"/>
                    <a:pt x="591" y="411"/>
                    <a:pt x="591" y="411"/>
                  </a:cubicBezTo>
                  <a:cubicBezTo>
                    <a:pt x="369" y="411"/>
                    <a:pt x="369" y="411"/>
                    <a:pt x="369" y="411"/>
                  </a:cubicBezTo>
                  <a:cubicBezTo>
                    <a:pt x="369" y="769"/>
                    <a:pt x="369" y="769"/>
                    <a:pt x="369" y="769"/>
                  </a:cubicBezTo>
                  <a:cubicBezTo>
                    <a:pt x="369" y="851"/>
                    <a:pt x="392" y="901"/>
                    <a:pt x="482" y="901"/>
                  </a:cubicBezTo>
                  <a:cubicBezTo>
                    <a:pt x="517" y="901"/>
                    <a:pt x="566" y="894"/>
                    <a:pt x="591" y="876"/>
                  </a:cubicBezTo>
                  <a:cubicBezTo>
                    <a:pt x="591" y="1048"/>
                    <a:pt x="591" y="1048"/>
                    <a:pt x="591" y="1048"/>
                  </a:cubicBezTo>
                  <a:cubicBezTo>
                    <a:pt x="550" y="1068"/>
                    <a:pt x="478" y="1075"/>
                    <a:pt x="432" y="1075"/>
                  </a:cubicBezTo>
                  <a:cubicBezTo>
                    <a:pt x="216" y="1075"/>
                    <a:pt x="166" y="978"/>
                    <a:pt x="166" y="786"/>
                  </a:cubicBezTo>
                  <a:cubicBezTo>
                    <a:pt x="166" y="411"/>
                    <a:pt x="166" y="411"/>
                    <a:pt x="166" y="411"/>
                  </a:cubicBezTo>
                  <a:lnTo>
                    <a:pt x="0" y="41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6" name="Freeform 52">
              <a:extLst>
                <a:ext uri="{FF2B5EF4-FFF2-40B4-BE49-F238E27FC236}">
                  <a16:creationId xmlns:a16="http://schemas.microsoft.com/office/drawing/2014/main" id="{6E9E2EC8-D504-4CF1-B77E-DDBDE4017BF5}"/>
                </a:ext>
              </a:extLst>
            </p:cNvPr>
            <p:cNvSpPr>
              <a:spLocks noEditPoints="1"/>
            </p:cNvSpPr>
            <p:nvPr userDrawn="1"/>
          </p:nvSpPr>
          <p:spPr bwMode="ltGray">
            <a:xfrm>
              <a:off x="2387600" y="200025"/>
              <a:ext cx="155575" cy="160338"/>
            </a:xfrm>
            <a:custGeom>
              <a:avLst/>
              <a:gdLst>
                <a:gd name="T0" fmla="*/ 203 w 825"/>
                <a:gd name="T1" fmla="*/ 501 h 858"/>
                <a:gd name="T2" fmla="*/ 422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3 w 825"/>
                <a:gd name="T19" fmla="*/ 501 h 858"/>
                <a:gd name="T20" fmla="*/ 622 w 825"/>
                <a:gd name="T21" fmla="*/ 347 h 858"/>
                <a:gd name="T22" fmla="*/ 414 w 825"/>
                <a:gd name="T23" fmla="*/ 153 h 858"/>
                <a:gd name="T24" fmla="*/ 203 w 825"/>
                <a:gd name="T25" fmla="*/ 347 h 858"/>
                <a:gd name="T26" fmla="*/ 622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3" y="501"/>
                  </a:moveTo>
                  <a:cubicBezTo>
                    <a:pt x="217" y="621"/>
                    <a:pt x="309" y="695"/>
                    <a:pt x="422"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1" y="0"/>
                    <a:pt x="825" y="160"/>
                    <a:pt x="825" y="445"/>
                  </a:cubicBezTo>
                  <a:cubicBezTo>
                    <a:pt x="825" y="501"/>
                    <a:pt x="825" y="501"/>
                    <a:pt x="825" y="501"/>
                  </a:cubicBezTo>
                  <a:lnTo>
                    <a:pt x="203" y="501"/>
                  </a:lnTo>
                  <a:close/>
                  <a:moveTo>
                    <a:pt x="622" y="347"/>
                  </a:moveTo>
                  <a:cubicBezTo>
                    <a:pt x="619" y="228"/>
                    <a:pt x="542" y="153"/>
                    <a:pt x="414" y="153"/>
                  </a:cubicBezTo>
                  <a:cubicBezTo>
                    <a:pt x="293" y="153"/>
                    <a:pt x="218" y="229"/>
                    <a:pt x="203" y="347"/>
                  </a:cubicBezTo>
                  <a:lnTo>
                    <a:pt x="622"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7" name="Freeform 53">
              <a:extLst>
                <a:ext uri="{FF2B5EF4-FFF2-40B4-BE49-F238E27FC236}">
                  <a16:creationId xmlns:a16="http://schemas.microsoft.com/office/drawing/2014/main" id="{8A66AFFE-C1AF-4BF3-961F-5537D56D006C}"/>
                </a:ext>
              </a:extLst>
            </p:cNvPr>
            <p:cNvSpPr>
              <a:spLocks noEditPoints="1"/>
            </p:cNvSpPr>
            <p:nvPr userDrawn="1"/>
          </p:nvSpPr>
          <p:spPr bwMode="ltGray">
            <a:xfrm>
              <a:off x="998538" y="465138"/>
              <a:ext cx="228600" cy="225425"/>
            </a:xfrm>
            <a:custGeom>
              <a:avLst/>
              <a:gdLst>
                <a:gd name="T0" fmla="*/ 61 w 144"/>
                <a:gd name="T1" fmla="*/ 0 h 142"/>
                <a:gd name="T2" fmla="*/ 83 w 144"/>
                <a:gd name="T3" fmla="*/ 0 h 142"/>
                <a:gd name="T4" fmla="*/ 144 w 144"/>
                <a:gd name="T5" fmla="*/ 142 h 142"/>
                <a:gd name="T6" fmla="*/ 115 w 144"/>
                <a:gd name="T7" fmla="*/ 142 h 142"/>
                <a:gd name="T8" fmla="*/ 103 w 144"/>
                <a:gd name="T9" fmla="*/ 109 h 142"/>
                <a:gd name="T10" fmla="*/ 41 w 144"/>
                <a:gd name="T11" fmla="*/ 109 h 142"/>
                <a:gd name="T12" fmla="*/ 28 w 144"/>
                <a:gd name="T13" fmla="*/ 142 h 142"/>
                <a:gd name="T14" fmla="*/ 0 w 144"/>
                <a:gd name="T15" fmla="*/ 142 h 142"/>
                <a:gd name="T16" fmla="*/ 61 w 144"/>
                <a:gd name="T17" fmla="*/ 0 h 142"/>
                <a:gd name="T18" fmla="*/ 94 w 144"/>
                <a:gd name="T19" fmla="*/ 88 h 142"/>
                <a:gd name="T20" fmla="*/ 72 w 144"/>
                <a:gd name="T21" fmla="*/ 30 h 142"/>
                <a:gd name="T22" fmla="*/ 50 w 144"/>
                <a:gd name="T23" fmla="*/ 88 h 142"/>
                <a:gd name="T24" fmla="*/ 94 w 144"/>
                <a:gd name="T25" fmla="*/ 8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42">
                  <a:moveTo>
                    <a:pt x="61" y="0"/>
                  </a:moveTo>
                  <a:lnTo>
                    <a:pt x="83" y="0"/>
                  </a:lnTo>
                  <a:lnTo>
                    <a:pt x="144" y="142"/>
                  </a:lnTo>
                  <a:lnTo>
                    <a:pt x="115" y="142"/>
                  </a:lnTo>
                  <a:lnTo>
                    <a:pt x="103" y="109"/>
                  </a:lnTo>
                  <a:lnTo>
                    <a:pt x="41" y="109"/>
                  </a:lnTo>
                  <a:lnTo>
                    <a:pt x="28" y="142"/>
                  </a:lnTo>
                  <a:lnTo>
                    <a:pt x="0" y="142"/>
                  </a:lnTo>
                  <a:lnTo>
                    <a:pt x="61" y="0"/>
                  </a:lnTo>
                  <a:close/>
                  <a:moveTo>
                    <a:pt x="94" y="88"/>
                  </a:moveTo>
                  <a:lnTo>
                    <a:pt x="72" y="30"/>
                  </a:lnTo>
                  <a:lnTo>
                    <a:pt x="50" y="88"/>
                  </a:lnTo>
                  <a:lnTo>
                    <a:pt x="94" y="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8" name="Freeform 54">
              <a:extLst>
                <a:ext uri="{FF2B5EF4-FFF2-40B4-BE49-F238E27FC236}">
                  <a16:creationId xmlns:a16="http://schemas.microsoft.com/office/drawing/2014/main" id="{EC606987-D892-4CD1-9A72-6B9C2DC29614}"/>
                </a:ext>
              </a:extLst>
            </p:cNvPr>
            <p:cNvSpPr>
              <a:spLocks/>
            </p:cNvSpPr>
            <p:nvPr userDrawn="1"/>
          </p:nvSpPr>
          <p:spPr bwMode="ltGray">
            <a:xfrm>
              <a:off x="1247775" y="533400"/>
              <a:ext cx="236538" cy="157163"/>
            </a:xfrm>
            <a:custGeom>
              <a:avLst/>
              <a:gdLst>
                <a:gd name="T0" fmla="*/ 0 w 1267"/>
                <a:gd name="T1" fmla="*/ 21 h 842"/>
                <a:gd name="T2" fmla="*/ 194 w 1267"/>
                <a:gd name="T3" fmla="*/ 21 h 842"/>
                <a:gd name="T4" fmla="*/ 194 w 1267"/>
                <a:gd name="T5" fmla="*/ 149 h 842"/>
                <a:gd name="T6" fmla="*/ 198 w 1267"/>
                <a:gd name="T7" fmla="*/ 149 h 842"/>
                <a:gd name="T8" fmla="*/ 448 w 1267"/>
                <a:gd name="T9" fmla="*/ 0 h 842"/>
                <a:gd name="T10" fmla="*/ 704 w 1267"/>
                <a:gd name="T11" fmla="*/ 153 h 842"/>
                <a:gd name="T12" fmla="*/ 972 w 1267"/>
                <a:gd name="T13" fmla="*/ 0 h 842"/>
                <a:gd name="T14" fmla="*/ 1267 w 1267"/>
                <a:gd name="T15" fmla="*/ 352 h 842"/>
                <a:gd name="T16" fmla="*/ 1267 w 1267"/>
                <a:gd name="T17" fmla="*/ 842 h 842"/>
                <a:gd name="T18" fmla="*/ 1063 w 1267"/>
                <a:gd name="T19" fmla="*/ 842 h 842"/>
                <a:gd name="T20" fmla="*/ 1063 w 1267"/>
                <a:gd name="T21" fmla="*/ 377 h 842"/>
                <a:gd name="T22" fmla="*/ 911 w 1267"/>
                <a:gd name="T23" fmla="*/ 185 h 842"/>
                <a:gd name="T24" fmla="*/ 736 w 1267"/>
                <a:gd name="T25" fmla="*/ 397 h 842"/>
                <a:gd name="T26" fmla="*/ 736 w 1267"/>
                <a:gd name="T27" fmla="*/ 842 h 842"/>
                <a:gd name="T28" fmla="*/ 532 w 1267"/>
                <a:gd name="T29" fmla="*/ 842 h 842"/>
                <a:gd name="T30" fmla="*/ 532 w 1267"/>
                <a:gd name="T31" fmla="*/ 352 h 842"/>
                <a:gd name="T32" fmla="*/ 392 w 1267"/>
                <a:gd name="T33" fmla="*/ 185 h 842"/>
                <a:gd name="T34" fmla="*/ 205 w 1267"/>
                <a:gd name="T35" fmla="*/ 394 h 842"/>
                <a:gd name="T36" fmla="*/ 205 w 1267"/>
                <a:gd name="T37" fmla="*/ 842 h 842"/>
                <a:gd name="T38" fmla="*/ 0 w 1267"/>
                <a:gd name="T39" fmla="*/ 842 h 842"/>
                <a:gd name="T40" fmla="*/ 0 w 1267"/>
                <a:gd name="T41"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7" h="842">
                  <a:moveTo>
                    <a:pt x="0" y="21"/>
                  </a:moveTo>
                  <a:cubicBezTo>
                    <a:pt x="194" y="21"/>
                    <a:pt x="194" y="21"/>
                    <a:pt x="194" y="21"/>
                  </a:cubicBezTo>
                  <a:cubicBezTo>
                    <a:pt x="194" y="149"/>
                    <a:pt x="194" y="149"/>
                    <a:pt x="194" y="149"/>
                  </a:cubicBezTo>
                  <a:cubicBezTo>
                    <a:pt x="198" y="149"/>
                    <a:pt x="198" y="149"/>
                    <a:pt x="198" y="149"/>
                  </a:cubicBezTo>
                  <a:cubicBezTo>
                    <a:pt x="234" y="72"/>
                    <a:pt x="312" y="0"/>
                    <a:pt x="448" y="0"/>
                  </a:cubicBezTo>
                  <a:cubicBezTo>
                    <a:pt x="574" y="0"/>
                    <a:pt x="661" y="50"/>
                    <a:pt x="704" y="153"/>
                  </a:cubicBezTo>
                  <a:cubicBezTo>
                    <a:pt x="763" y="48"/>
                    <a:pt x="850" y="0"/>
                    <a:pt x="972" y="0"/>
                  </a:cubicBezTo>
                  <a:cubicBezTo>
                    <a:pt x="1191" y="0"/>
                    <a:pt x="1267" y="156"/>
                    <a:pt x="1267" y="352"/>
                  </a:cubicBezTo>
                  <a:cubicBezTo>
                    <a:pt x="1267" y="842"/>
                    <a:pt x="1267" y="842"/>
                    <a:pt x="1267" y="842"/>
                  </a:cubicBezTo>
                  <a:cubicBezTo>
                    <a:pt x="1063" y="842"/>
                    <a:pt x="1063" y="842"/>
                    <a:pt x="1063" y="842"/>
                  </a:cubicBezTo>
                  <a:cubicBezTo>
                    <a:pt x="1063" y="377"/>
                    <a:pt x="1063" y="377"/>
                    <a:pt x="1063" y="377"/>
                  </a:cubicBezTo>
                  <a:cubicBezTo>
                    <a:pt x="1063" y="274"/>
                    <a:pt x="1032" y="185"/>
                    <a:pt x="911" y="185"/>
                  </a:cubicBezTo>
                  <a:cubicBezTo>
                    <a:pt x="784" y="185"/>
                    <a:pt x="736" y="291"/>
                    <a:pt x="736" y="397"/>
                  </a:cubicBezTo>
                  <a:cubicBezTo>
                    <a:pt x="736" y="842"/>
                    <a:pt x="736" y="842"/>
                    <a:pt x="736" y="842"/>
                  </a:cubicBezTo>
                  <a:cubicBezTo>
                    <a:pt x="532" y="842"/>
                    <a:pt x="532" y="842"/>
                    <a:pt x="532" y="842"/>
                  </a:cubicBezTo>
                  <a:cubicBezTo>
                    <a:pt x="532" y="352"/>
                    <a:pt x="532" y="352"/>
                    <a:pt x="532" y="352"/>
                  </a:cubicBezTo>
                  <a:cubicBezTo>
                    <a:pt x="532" y="252"/>
                    <a:pt x="490" y="185"/>
                    <a:pt x="392" y="185"/>
                  </a:cubicBezTo>
                  <a:cubicBezTo>
                    <a:pt x="258" y="185"/>
                    <a:pt x="205" y="284"/>
                    <a:pt x="205" y="394"/>
                  </a:cubicBezTo>
                  <a:cubicBezTo>
                    <a:pt x="205" y="842"/>
                    <a:pt x="205" y="842"/>
                    <a:pt x="205"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9" name="Freeform 55">
              <a:extLst>
                <a:ext uri="{FF2B5EF4-FFF2-40B4-BE49-F238E27FC236}">
                  <a16:creationId xmlns:a16="http://schemas.microsoft.com/office/drawing/2014/main" id="{938EECDB-9B08-44D8-9CAE-92D9483255BB}"/>
                </a:ext>
              </a:extLst>
            </p:cNvPr>
            <p:cNvSpPr>
              <a:spLocks/>
            </p:cNvSpPr>
            <p:nvPr userDrawn="1"/>
          </p:nvSpPr>
          <p:spPr bwMode="ltGray">
            <a:xfrm>
              <a:off x="1512888" y="533400"/>
              <a:ext cx="123825" cy="160338"/>
            </a:xfrm>
            <a:custGeom>
              <a:avLst/>
              <a:gdLst>
                <a:gd name="T0" fmla="*/ 507 w 667"/>
                <a:gd name="T1" fmla="*/ 247 h 859"/>
                <a:gd name="T2" fmla="*/ 348 w 667"/>
                <a:gd name="T3" fmla="*/ 164 h 859"/>
                <a:gd name="T4" fmla="*/ 228 w 667"/>
                <a:gd name="T5" fmla="*/ 251 h 859"/>
                <a:gd name="T6" fmla="*/ 667 w 667"/>
                <a:gd name="T7" fmla="*/ 597 h 859"/>
                <a:gd name="T8" fmla="*/ 317 w 667"/>
                <a:gd name="T9" fmla="*/ 859 h 859"/>
                <a:gd name="T10" fmla="*/ 0 w 667"/>
                <a:gd name="T11" fmla="*/ 733 h 859"/>
                <a:gd name="T12" fmla="*/ 136 w 667"/>
                <a:gd name="T13" fmla="*/ 605 h 859"/>
                <a:gd name="T14" fmla="*/ 329 w 667"/>
                <a:gd name="T15" fmla="*/ 706 h 859"/>
                <a:gd name="T16" fmla="*/ 464 w 667"/>
                <a:gd name="T17" fmla="*/ 612 h 859"/>
                <a:gd name="T18" fmla="*/ 25 w 667"/>
                <a:gd name="T19" fmla="*/ 264 h 859"/>
                <a:gd name="T20" fmla="*/ 352 w 667"/>
                <a:gd name="T21" fmla="*/ 0 h 859"/>
                <a:gd name="T22" fmla="*/ 642 w 667"/>
                <a:gd name="T23" fmla="*/ 125 h 859"/>
                <a:gd name="T24" fmla="*/ 507 w 667"/>
                <a:gd name="T25" fmla="*/ 2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7" h="859">
                  <a:moveTo>
                    <a:pt x="507" y="247"/>
                  </a:moveTo>
                  <a:cubicBezTo>
                    <a:pt x="467" y="193"/>
                    <a:pt x="417" y="164"/>
                    <a:pt x="348" y="164"/>
                  </a:cubicBezTo>
                  <a:cubicBezTo>
                    <a:pt x="293" y="164"/>
                    <a:pt x="228" y="190"/>
                    <a:pt x="228" y="251"/>
                  </a:cubicBezTo>
                  <a:cubicBezTo>
                    <a:pt x="228" y="397"/>
                    <a:pt x="667" y="278"/>
                    <a:pt x="667" y="597"/>
                  </a:cubicBezTo>
                  <a:cubicBezTo>
                    <a:pt x="667" y="791"/>
                    <a:pt x="483" y="859"/>
                    <a:pt x="317" y="859"/>
                  </a:cubicBezTo>
                  <a:cubicBezTo>
                    <a:pt x="191" y="859"/>
                    <a:pt x="83" y="826"/>
                    <a:pt x="0" y="733"/>
                  </a:cubicBezTo>
                  <a:cubicBezTo>
                    <a:pt x="136" y="605"/>
                    <a:pt x="136" y="605"/>
                    <a:pt x="136" y="605"/>
                  </a:cubicBezTo>
                  <a:cubicBezTo>
                    <a:pt x="188" y="662"/>
                    <a:pt x="242" y="706"/>
                    <a:pt x="329" y="706"/>
                  </a:cubicBezTo>
                  <a:cubicBezTo>
                    <a:pt x="387" y="706"/>
                    <a:pt x="464" y="677"/>
                    <a:pt x="464" y="612"/>
                  </a:cubicBezTo>
                  <a:cubicBezTo>
                    <a:pt x="464" y="443"/>
                    <a:pt x="25" y="575"/>
                    <a:pt x="25" y="264"/>
                  </a:cubicBezTo>
                  <a:cubicBezTo>
                    <a:pt x="25" y="82"/>
                    <a:pt x="188" y="0"/>
                    <a:pt x="352" y="0"/>
                  </a:cubicBezTo>
                  <a:cubicBezTo>
                    <a:pt x="461" y="0"/>
                    <a:pt x="576" y="35"/>
                    <a:pt x="642" y="125"/>
                  </a:cubicBezTo>
                  <a:lnTo>
                    <a:pt x="507" y="2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0" name="Freeform 56">
              <a:extLst>
                <a:ext uri="{FF2B5EF4-FFF2-40B4-BE49-F238E27FC236}">
                  <a16:creationId xmlns:a16="http://schemas.microsoft.com/office/drawing/2014/main" id="{201C2FD4-4458-4C08-B319-3082B6BC5FFC}"/>
                </a:ext>
              </a:extLst>
            </p:cNvPr>
            <p:cNvSpPr>
              <a:spLocks/>
            </p:cNvSpPr>
            <p:nvPr userDrawn="1"/>
          </p:nvSpPr>
          <p:spPr bwMode="ltGray">
            <a:xfrm>
              <a:off x="1647825" y="493713"/>
              <a:ext cx="112713" cy="200025"/>
            </a:xfrm>
            <a:custGeom>
              <a:avLst/>
              <a:gdLst>
                <a:gd name="T0" fmla="*/ 0 w 600"/>
                <a:gd name="T1" fmla="*/ 407 h 1067"/>
                <a:gd name="T2" fmla="*/ 0 w 600"/>
                <a:gd name="T3" fmla="*/ 235 h 1067"/>
                <a:gd name="T4" fmla="*/ 169 w 600"/>
                <a:gd name="T5" fmla="*/ 235 h 1067"/>
                <a:gd name="T6" fmla="*/ 169 w 600"/>
                <a:gd name="T7" fmla="*/ 0 h 1067"/>
                <a:gd name="T8" fmla="*/ 374 w 600"/>
                <a:gd name="T9" fmla="*/ 0 h 1067"/>
                <a:gd name="T10" fmla="*/ 374 w 600"/>
                <a:gd name="T11" fmla="*/ 235 h 1067"/>
                <a:gd name="T12" fmla="*/ 600 w 600"/>
                <a:gd name="T13" fmla="*/ 235 h 1067"/>
                <a:gd name="T14" fmla="*/ 600 w 600"/>
                <a:gd name="T15" fmla="*/ 407 h 1067"/>
                <a:gd name="T16" fmla="*/ 374 w 600"/>
                <a:gd name="T17" fmla="*/ 407 h 1067"/>
                <a:gd name="T18" fmla="*/ 374 w 600"/>
                <a:gd name="T19" fmla="*/ 762 h 1067"/>
                <a:gd name="T20" fmla="*/ 488 w 600"/>
                <a:gd name="T21" fmla="*/ 894 h 1067"/>
                <a:gd name="T22" fmla="*/ 600 w 600"/>
                <a:gd name="T23" fmla="*/ 868 h 1067"/>
                <a:gd name="T24" fmla="*/ 600 w 600"/>
                <a:gd name="T25" fmla="*/ 1040 h 1067"/>
                <a:gd name="T26" fmla="*/ 437 w 600"/>
                <a:gd name="T27" fmla="*/ 1067 h 1067"/>
                <a:gd name="T28" fmla="*/ 169 w 600"/>
                <a:gd name="T29" fmla="*/ 780 h 1067"/>
                <a:gd name="T30" fmla="*/ 169 w 600"/>
                <a:gd name="T31" fmla="*/ 407 h 1067"/>
                <a:gd name="T32" fmla="*/ 0 w 600"/>
                <a:gd name="T33" fmla="*/ 40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0" h="1067">
                  <a:moveTo>
                    <a:pt x="0" y="407"/>
                  </a:moveTo>
                  <a:cubicBezTo>
                    <a:pt x="0" y="235"/>
                    <a:pt x="0" y="235"/>
                    <a:pt x="0" y="235"/>
                  </a:cubicBezTo>
                  <a:cubicBezTo>
                    <a:pt x="169" y="235"/>
                    <a:pt x="169" y="235"/>
                    <a:pt x="169" y="235"/>
                  </a:cubicBezTo>
                  <a:cubicBezTo>
                    <a:pt x="169" y="0"/>
                    <a:pt x="169" y="0"/>
                    <a:pt x="169" y="0"/>
                  </a:cubicBezTo>
                  <a:cubicBezTo>
                    <a:pt x="374" y="0"/>
                    <a:pt x="374" y="0"/>
                    <a:pt x="374" y="0"/>
                  </a:cubicBezTo>
                  <a:cubicBezTo>
                    <a:pt x="374" y="235"/>
                    <a:pt x="374" y="235"/>
                    <a:pt x="374" y="235"/>
                  </a:cubicBezTo>
                  <a:cubicBezTo>
                    <a:pt x="600" y="235"/>
                    <a:pt x="600" y="235"/>
                    <a:pt x="600" y="235"/>
                  </a:cubicBezTo>
                  <a:cubicBezTo>
                    <a:pt x="600" y="407"/>
                    <a:pt x="600" y="407"/>
                    <a:pt x="600" y="407"/>
                  </a:cubicBezTo>
                  <a:cubicBezTo>
                    <a:pt x="374" y="407"/>
                    <a:pt x="374" y="407"/>
                    <a:pt x="374" y="407"/>
                  </a:cubicBezTo>
                  <a:cubicBezTo>
                    <a:pt x="374" y="762"/>
                    <a:pt x="374" y="762"/>
                    <a:pt x="374" y="762"/>
                  </a:cubicBezTo>
                  <a:cubicBezTo>
                    <a:pt x="374" y="844"/>
                    <a:pt x="399" y="894"/>
                    <a:pt x="488" y="894"/>
                  </a:cubicBezTo>
                  <a:cubicBezTo>
                    <a:pt x="525" y="894"/>
                    <a:pt x="574" y="887"/>
                    <a:pt x="600" y="868"/>
                  </a:cubicBezTo>
                  <a:cubicBezTo>
                    <a:pt x="600" y="1040"/>
                    <a:pt x="600" y="1040"/>
                    <a:pt x="600" y="1040"/>
                  </a:cubicBezTo>
                  <a:cubicBezTo>
                    <a:pt x="557" y="1060"/>
                    <a:pt x="486" y="1067"/>
                    <a:pt x="437" y="1067"/>
                  </a:cubicBezTo>
                  <a:cubicBezTo>
                    <a:pt x="221" y="1067"/>
                    <a:pt x="169" y="970"/>
                    <a:pt x="169" y="780"/>
                  </a:cubicBezTo>
                  <a:cubicBezTo>
                    <a:pt x="169" y="407"/>
                    <a:pt x="169" y="407"/>
                    <a:pt x="169" y="407"/>
                  </a:cubicBezTo>
                  <a:lnTo>
                    <a:pt x="0" y="40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1" name="Freeform 57">
              <a:extLst>
                <a:ext uri="{FF2B5EF4-FFF2-40B4-BE49-F238E27FC236}">
                  <a16:creationId xmlns:a16="http://schemas.microsoft.com/office/drawing/2014/main" id="{5A3F9447-F0E2-44F7-8372-1CAA2787262A}"/>
                </a:ext>
              </a:extLst>
            </p:cNvPr>
            <p:cNvSpPr>
              <a:spLocks noEditPoints="1"/>
            </p:cNvSpPr>
            <p:nvPr userDrawn="1"/>
          </p:nvSpPr>
          <p:spPr bwMode="ltGray">
            <a:xfrm>
              <a:off x="1781175" y="533400"/>
              <a:ext cx="155575" cy="160338"/>
            </a:xfrm>
            <a:custGeom>
              <a:avLst/>
              <a:gdLst>
                <a:gd name="T0" fmla="*/ 204 w 825"/>
                <a:gd name="T1" fmla="*/ 501 h 859"/>
                <a:gd name="T2" fmla="*/ 423 w 825"/>
                <a:gd name="T3" fmla="*/ 695 h 859"/>
                <a:gd name="T4" fmla="*/ 642 w 825"/>
                <a:gd name="T5" fmla="*/ 585 h 859"/>
                <a:gd name="T6" fmla="*/ 787 w 825"/>
                <a:gd name="T7" fmla="*/ 695 h 859"/>
                <a:gd name="T8" fmla="*/ 443 w 825"/>
                <a:gd name="T9" fmla="*/ 859 h 859"/>
                <a:gd name="T10" fmla="*/ 0 w 825"/>
                <a:gd name="T11" fmla="*/ 430 h 859"/>
                <a:gd name="T12" fmla="*/ 443 w 825"/>
                <a:gd name="T13" fmla="*/ 0 h 859"/>
                <a:gd name="T14" fmla="*/ 825 w 825"/>
                <a:gd name="T15" fmla="*/ 445 h 859"/>
                <a:gd name="T16" fmla="*/ 825 w 825"/>
                <a:gd name="T17" fmla="*/ 501 h 859"/>
                <a:gd name="T18" fmla="*/ 204 w 825"/>
                <a:gd name="T19" fmla="*/ 501 h 859"/>
                <a:gd name="T20" fmla="*/ 621 w 825"/>
                <a:gd name="T21" fmla="*/ 347 h 859"/>
                <a:gd name="T22" fmla="*/ 415 w 825"/>
                <a:gd name="T23" fmla="*/ 153 h 859"/>
                <a:gd name="T24" fmla="*/ 204 w 825"/>
                <a:gd name="T25" fmla="*/ 347 h 859"/>
                <a:gd name="T26" fmla="*/ 621 w 825"/>
                <a:gd name="T27" fmla="*/ 3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9">
                  <a:moveTo>
                    <a:pt x="204" y="501"/>
                  </a:moveTo>
                  <a:cubicBezTo>
                    <a:pt x="218" y="622"/>
                    <a:pt x="309" y="695"/>
                    <a:pt x="423" y="695"/>
                  </a:cubicBezTo>
                  <a:cubicBezTo>
                    <a:pt x="525" y="695"/>
                    <a:pt x="590" y="647"/>
                    <a:pt x="642" y="585"/>
                  </a:cubicBezTo>
                  <a:cubicBezTo>
                    <a:pt x="787" y="695"/>
                    <a:pt x="787" y="695"/>
                    <a:pt x="787" y="695"/>
                  </a:cubicBezTo>
                  <a:cubicBezTo>
                    <a:pt x="692" y="813"/>
                    <a:pt x="572" y="859"/>
                    <a:pt x="443" y="859"/>
                  </a:cubicBezTo>
                  <a:cubicBezTo>
                    <a:pt x="197" y="859"/>
                    <a:pt x="0" y="687"/>
                    <a:pt x="0" y="430"/>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9"/>
                    <a:pt x="541" y="153"/>
                    <a:pt x="415" y="153"/>
                  </a:cubicBezTo>
                  <a:cubicBezTo>
                    <a:pt x="294" y="153"/>
                    <a:pt x="219" y="230"/>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2" name="Freeform 58">
              <a:extLst>
                <a:ext uri="{FF2B5EF4-FFF2-40B4-BE49-F238E27FC236}">
                  <a16:creationId xmlns:a16="http://schemas.microsoft.com/office/drawing/2014/main" id="{09ED63FC-E10D-4A0E-BC83-4FE0D72454AD}"/>
                </a:ext>
              </a:extLst>
            </p:cNvPr>
            <p:cNvSpPr>
              <a:spLocks/>
            </p:cNvSpPr>
            <p:nvPr userDrawn="1"/>
          </p:nvSpPr>
          <p:spPr bwMode="ltGray">
            <a:xfrm>
              <a:off x="1971675" y="533400"/>
              <a:ext cx="96838" cy="157163"/>
            </a:xfrm>
            <a:custGeom>
              <a:avLst/>
              <a:gdLst>
                <a:gd name="T0" fmla="*/ 0 w 517"/>
                <a:gd name="T1" fmla="*/ 21 h 842"/>
                <a:gd name="T2" fmla="*/ 202 w 517"/>
                <a:gd name="T3" fmla="*/ 21 h 842"/>
                <a:gd name="T4" fmla="*/ 202 w 517"/>
                <a:gd name="T5" fmla="*/ 150 h 842"/>
                <a:gd name="T6" fmla="*/ 206 w 517"/>
                <a:gd name="T7" fmla="*/ 150 h 842"/>
                <a:gd name="T8" fmla="*/ 445 w 517"/>
                <a:gd name="T9" fmla="*/ 0 h 842"/>
                <a:gd name="T10" fmla="*/ 517 w 517"/>
                <a:gd name="T11" fmla="*/ 12 h 842"/>
                <a:gd name="T12" fmla="*/ 517 w 517"/>
                <a:gd name="T13" fmla="*/ 211 h 842"/>
                <a:gd name="T14" fmla="*/ 420 w 517"/>
                <a:gd name="T15" fmla="*/ 195 h 842"/>
                <a:gd name="T16" fmla="*/ 202 w 517"/>
                <a:gd name="T17" fmla="*/ 402 h 842"/>
                <a:gd name="T18" fmla="*/ 202 w 517"/>
                <a:gd name="T19" fmla="*/ 842 h 842"/>
                <a:gd name="T20" fmla="*/ 0 w 517"/>
                <a:gd name="T21" fmla="*/ 842 h 842"/>
                <a:gd name="T22" fmla="*/ 0 w 517"/>
                <a:gd name="T23"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7" h="842">
                  <a:moveTo>
                    <a:pt x="0" y="21"/>
                  </a:moveTo>
                  <a:cubicBezTo>
                    <a:pt x="202" y="21"/>
                    <a:pt x="202" y="21"/>
                    <a:pt x="202" y="21"/>
                  </a:cubicBezTo>
                  <a:cubicBezTo>
                    <a:pt x="202" y="150"/>
                    <a:pt x="202" y="150"/>
                    <a:pt x="202" y="150"/>
                  </a:cubicBezTo>
                  <a:cubicBezTo>
                    <a:pt x="206" y="150"/>
                    <a:pt x="206" y="150"/>
                    <a:pt x="206" y="150"/>
                  </a:cubicBezTo>
                  <a:cubicBezTo>
                    <a:pt x="250" y="57"/>
                    <a:pt x="339" y="0"/>
                    <a:pt x="445" y="0"/>
                  </a:cubicBezTo>
                  <a:cubicBezTo>
                    <a:pt x="471" y="0"/>
                    <a:pt x="494" y="5"/>
                    <a:pt x="517" y="12"/>
                  </a:cubicBezTo>
                  <a:cubicBezTo>
                    <a:pt x="517" y="211"/>
                    <a:pt x="517" y="211"/>
                    <a:pt x="517" y="211"/>
                  </a:cubicBezTo>
                  <a:cubicBezTo>
                    <a:pt x="483" y="202"/>
                    <a:pt x="452" y="195"/>
                    <a:pt x="420" y="195"/>
                  </a:cubicBezTo>
                  <a:cubicBezTo>
                    <a:pt x="230" y="195"/>
                    <a:pt x="202" y="358"/>
                    <a:pt x="202" y="402"/>
                  </a:cubicBezTo>
                  <a:cubicBezTo>
                    <a:pt x="202" y="842"/>
                    <a:pt x="202" y="842"/>
                    <a:pt x="202"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3" name="Freeform 59">
              <a:extLst>
                <a:ext uri="{FF2B5EF4-FFF2-40B4-BE49-F238E27FC236}">
                  <a16:creationId xmlns:a16="http://schemas.microsoft.com/office/drawing/2014/main" id="{D631A289-79D1-4DEE-A37E-F23443011D02}"/>
                </a:ext>
              </a:extLst>
            </p:cNvPr>
            <p:cNvSpPr>
              <a:spLocks noEditPoints="1"/>
            </p:cNvSpPr>
            <p:nvPr userDrawn="1"/>
          </p:nvSpPr>
          <p:spPr bwMode="ltGray">
            <a:xfrm>
              <a:off x="2082800" y="450850"/>
              <a:ext cx="163513" cy="242888"/>
            </a:xfrm>
            <a:custGeom>
              <a:avLst/>
              <a:gdLst>
                <a:gd name="T0" fmla="*/ 683 w 875"/>
                <a:gd name="T1" fmla="*/ 1157 h 1300"/>
                <a:gd name="T2" fmla="*/ 679 w 875"/>
                <a:gd name="T3" fmla="*/ 1157 h 1300"/>
                <a:gd name="T4" fmla="*/ 400 w 875"/>
                <a:gd name="T5" fmla="*/ 1300 h 1300"/>
                <a:gd name="T6" fmla="*/ 0 w 875"/>
                <a:gd name="T7" fmla="*/ 873 h 1300"/>
                <a:gd name="T8" fmla="*/ 392 w 875"/>
                <a:gd name="T9" fmla="*/ 447 h 1300"/>
                <a:gd name="T10" fmla="*/ 667 w 875"/>
                <a:gd name="T11" fmla="*/ 571 h 1300"/>
                <a:gd name="T12" fmla="*/ 672 w 875"/>
                <a:gd name="T13" fmla="*/ 571 h 1300"/>
                <a:gd name="T14" fmla="*/ 672 w 875"/>
                <a:gd name="T15" fmla="*/ 0 h 1300"/>
                <a:gd name="T16" fmla="*/ 875 w 875"/>
                <a:gd name="T17" fmla="*/ 0 h 1300"/>
                <a:gd name="T18" fmla="*/ 875 w 875"/>
                <a:gd name="T19" fmla="*/ 1280 h 1300"/>
                <a:gd name="T20" fmla="*/ 683 w 875"/>
                <a:gd name="T21" fmla="*/ 1280 h 1300"/>
                <a:gd name="T22" fmla="*/ 683 w 875"/>
                <a:gd name="T23" fmla="*/ 1157 h 1300"/>
                <a:gd name="T24" fmla="*/ 441 w 875"/>
                <a:gd name="T25" fmla="*/ 1116 h 1300"/>
                <a:gd name="T26" fmla="*/ 679 w 875"/>
                <a:gd name="T27" fmla="*/ 873 h 1300"/>
                <a:gd name="T28" fmla="*/ 441 w 875"/>
                <a:gd name="T29" fmla="*/ 629 h 1300"/>
                <a:gd name="T30" fmla="*/ 203 w 875"/>
                <a:gd name="T31" fmla="*/ 873 h 1300"/>
                <a:gd name="T32" fmla="*/ 441 w 875"/>
                <a:gd name="T33" fmla="*/ 11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5" h="1300">
                  <a:moveTo>
                    <a:pt x="683" y="1157"/>
                  </a:moveTo>
                  <a:cubicBezTo>
                    <a:pt x="679" y="1157"/>
                    <a:pt x="679" y="1157"/>
                    <a:pt x="679" y="1157"/>
                  </a:cubicBezTo>
                  <a:cubicBezTo>
                    <a:pt x="620" y="1255"/>
                    <a:pt x="513" y="1300"/>
                    <a:pt x="400" y="1300"/>
                  </a:cubicBezTo>
                  <a:cubicBezTo>
                    <a:pt x="151" y="1300"/>
                    <a:pt x="0" y="1114"/>
                    <a:pt x="0" y="873"/>
                  </a:cubicBezTo>
                  <a:cubicBezTo>
                    <a:pt x="0" y="633"/>
                    <a:pt x="160" y="447"/>
                    <a:pt x="392" y="447"/>
                  </a:cubicBezTo>
                  <a:cubicBezTo>
                    <a:pt x="544" y="447"/>
                    <a:pt x="625" y="518"/>
                    <a:pt x="667" y="571"/>
                  </a:cubicBezTo>
                  <a:cubicBezTo>
                    <a:pt x="672" y="571"/>
                    <a:pt x="672" y="571"/>
                    <a:pt x="672" y="571"/>
                  </a:cubicBezTo>
                  <a:cubicBezTo>
                    <a:pt x="672" y="0"/>
                    <a:pt x="672" y="0"/>
                    <a:pt x="672" y="0"/>
                  </a:cubicBezTo>
                  <a:cubicBezTo>
                    <a:pt x="875" y="0"/>
                    <a:pt x="875" y="0"/>
                    <a:pt x="875" y="0"/>
                  </a:cubicBezTo>
                  <a:cubicBezTo>
                    <a:pt x="875" y="1280"/>
                    <a:pt x="875" y="1280"/>
                    <a:pt x="875" y="1280"/>
                  </a:cubicBezTo>
                  <a:cubicBezTo>
                    <a:pt x="683" y="1280"/>
                    <a:pt x="683" y="1280"/>
                    <a:pt x="683" y="1280"/>
                  </a:cubicBezTo>
                  <a:lnTo>
                    <a:pt x="683" y="1157"/>
                  </a:lnTo>
                  <a:close/>
                  <a:moveTo>
                    <a:pt x="441" y="1116"/>
                  </a:moveTo>
                  <a:cubicBezTo>
                    <a:pt x="589" y="1116"/>
                    <a:pt x="679" y="1001"/>
                    <a:pt x="679" y="873"/>
                  </a:cubicBezTo>
                  <a:cubicBezTo>
                    <a:pt x="679" y="746"/>
                    <a:pt x="589" y="629"/>
                    <a:pt x="441" y="629"/>
                  </a:cubicBezTo>
                  <a:cubicBezTo>
                    <a:pt x="292" y="629"/>
                    <a:pt x="203" y="746"/>
                    <a:pt x="203" y="873"/>
                  </a:cubicBezTo>
                  <a:cubicBezTo>
                    <a:pt x="203" y="1001"/>
                    <a:pt x="292" y="1116"/>
                    <a:pt x="441" y="1116"/>
                  </a:cubicBez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4" name="Freeform 60">
              <a:extLst>
                <a:ext uri="{FF2B5EF4-FFF2-40B4-BE49-F238E27FC236}">
                  <a16:creationId xmlns:a16="http://schemas.microsoft.com/office/drawing/2014/main" id="{3DD2871F-37DF-4206-87CE-46715E9EFAB6}"/>
                </a:ext>
              </a:extLst>
            </p:cNvPr>
            <p:cNvSpPr>
              <a:spLocks noEditPoints="1"/>
            </p:cNvSpPr>
            <p:nvPr userDrawn="1"/>
          </p:nvSpPr>
          <p:spPr bwMode="ltGray">
            <a:xfrm>
              <a:off x="2279650" y="533400"/>
              <a:ext cx="139700" cy="160338"/>
            </a:xfrm>
            <a:custGeom>
              <a:avLst/>
              <a:gdLst>
                <a:gd name="T0" fmla="*/ 566 w 750"/>
                <a:gd name="T1" fmla="*/ 726 h 859"/>
                <a:gd name="T2" fmla="*/ 562 w 750"/>
                <a:gd name="T3" fmla="*/ 726 h 859"/>
                <a:gd name="T4" fmla="*/ 299 w 750"/>
                <a:gd name="T5" fmla="*/ 859 h 859"/>
                <a:gd name="T6" fmla="*/ 0 w 750"/>
                <a:gd name="T7" fmla="*/ 613 h 859"/>
                <a:gd name="T8" fmla="*/ 515 w 750"/>
                <a:gd name="T9" fmla="*/ 329 h 859"/>
                <a:gd name="T10" fmla="*/ 566 w 750"/>
                <a:gd name="T11" fmla="*/ 329 h 859"/>
                <a:gd name="T12" fmla="*/ 566 w 750"/>
                <a:gd name="T13" fmla="*/ 307 h 859"/>
                <a:gd name="T14" fmla="*/ 379 w 750"/>
                <a:gd name="T15" fmla="*/ 153 h 859"/>
                <a:gd name="T16" fmla="*/ 160 w 750"/>
                <a:gd name="T17" fmla="*/ 239 h 859"/>
                <a:gd name="T18" fmla="*/ 53 w 750"/>
                <a:gd name="T19" fmla="*/ 131 h 859"/>
                <a:gd name="T20" fmla="*/ 400 w 750"/>
                <a:gd name="T21" fmla="*/ 0 h 859"/>
                <a:gd name="T22" fmla="*/ 750 w 750"/>
                <a:gd name="T23" fmla="*/ 369 h 859"/>
                <a:gd name="T24" fmla="*/ 750 w 750"/>
                <a:gd name="T25" fmla="*/ 839 h 859"/>
                <a:gd name="T26" fmla="*/ 566 w 750"/>
                <a:gd name="T27" fmla="*/ 839 h 859"/>
                <a:gd name="T28" fmla="*/ 566 w 750"/>
                <a:gd name="T29" fmla="*/ 726 h 859"/>
                <a:gd name="T30" fmla="*/ 555 w 750"/>
                <a:gd name="T31" fmla="*/ 472 h 859"/>
                <a:gd name="T32" fmla="*/ 512 w 750"/>
                <a:gd name="T33" fmla="*/ 472 h 859"/>
                <a:gd name="T34" fmla="*/ 205 w 750"/>
                <a:gd name="T35" fmla="*/ 598 h 859"/>
                <a:gd name="T36" fmla="*/ 347 w 750"/>
                <a:gd name="T37" fmla="*/ 706 h 859"/>
                <a:gd name="T38" fmla="*/ 555 w 750"/>
                <a:gd name="T39" fmla="*/ 518 h 859"/>
                <a:gd name="T40" fmla="*/ 555 w 750"/>
                <a:gd name="T41" fmla="*/ 472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0" h="859">
                  <a:moveTo>
                    <a:pt x="566" y="726"/>
                  </a:moveTo>
                  <a:cubicBezTo>
                    <a:pt x="562" y="726"/>
                    <a:pt x="562" y="726"/>
                    <a:pt x="562" y="726"/>
                  </a:cubicBezTo>
                  <a:cubicBezTo>
                    <a:pt x="503" y="818"/>
                    <a:pt x="408" y="859"/>
                    <a:pt x="299" y="859"/>
                  </a:cubicBezTo>
                  <a:cubicBezTo>
                    <a:pt x="147" y="859"/>
                    <a:pt x="0" y="775"/>
                    <a:pt x="0" y="613"/>
                  </a:cubicBezTo>
                  <a:cubicBezTo>
                    <a:pt x="0" y="347"/>
                    <a:pt x="311" y="329"/>
                    <a:pt x="515" y="329"/>
                  </a:cubicBezTo>
                  <a:cubicBezTo>
                    <a:pt x="566" y="329"/>
                    <a:pt x="566" y="329"/>
                    <a:pt x="566" y="329"/>
                  </a:cubicBezTo>
                  <a:cubicBezTo>
                    <a:pt x="566" y="307"/>
                    <a:pt x="566" y="307"/>
                    <a:pt x="566" y="307"/>
                  </a:cubicBezTo>
                  <a:cubicBezTo>
                    <a:pt x="566" y="206"/>
                    <a:pt x="488" y="153"/>
                    <a:pt x="379" y="153"/>
                  </a:cubicBezTo>
                  <a:cubicBezTo>
                    <a:pt x="293" y="153"/>
                    <a:pt x="214" y="187"/>
                    <a:pt x="160" y="239"/>
                  </a:cubicBezTo>
                  <a:cubicBezTo>
                    <a:pt x="53" y="131"/>
                    <a:pt x="53" y="131"/>
                    <a:pt x="53" y="131"/>
                  </a:cubicBezTo>
                  <a:cubicBezTo>
                    <a:pt x="144" y="39"/>
                    <a:pt x="271" y="0"/>
                    <a:pt x="400" y="0"/>
                  </a:cubicBezTo>
                  <a:cubicBezTo>
                    <a:pt x="750" y="0"/>
                    <a:pt x="750" y="252"/>
                    <a:pt x="750" y="369"/>
                  </a:cubicBezTo>
                  <a:cubicBezTo>
                    <a:pt x="750" y="839"/>
                    <a:pt x="750" y="839"/>
                    <a:pt x="750" y="839"/>
                  </a:cubicBezTo>
                  <a:cubicBezTo>
                    <a:pt x="566" y="839"/>
                    <a:pt x="566" y="839"/>
                    <a:pt x="566" y="839"/>
                  </a:cubicBezTo>
                  <a:lnTo>
                    <a:pt x="566" y="726"/>
                  </a:lnTo>
                  <a:close/>
                  <a:moveTo>
                    <a:pt x="555" y="472"/>
                  </a:moveTo>
                  <a:cubicBezTo>
                    <a:pt x="512" y="472"/>
                    <a:pt x="512" y="472"/>
                    <a:pt x="512" y="472"/>
                  </a:cubicBezTo>
                  <a:cubicBezTo>
                    <a:pt x="399" y="472"/>
                    <a:pt x="205" y="480"/>
                    <a:pt x="205" y="598"/>
                  </a:cubicBezTo>
                  <a:cubicBezTo>
                    <a:pt x="205" y="673"/>
                    <a:pt x="282" y="706"/>
                    <a:pt x="347" y="706"/>
                  </a:cubicBezTo>
                  <a:cubicBezTo>
                    <a:pt x="488" y="706"/>
                    <a:pt x="555" y="632"/>
                    <a:pt x="555" y="518"/>
                  </a:cubicBezTo>
                  <a:lnTo>
                    <a:pt x="555" y="472"/>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5" name="Freeform 61">
              <a:extLst>
                <a:ext uri="{FF2B5EF4-FFF2-40B4-BE49-F238E27FC236}">
                  <a16:creationId xmlns:a16="http://schemas.microsoft.com/office/drawing/2014/main" id="{28C5B83D-471B-4E36-AF30-F8E4A4B12E42}"/>
                </a:ext>
              </a:extLst>
            </p:cNvPr>
            <p:cNvSpPr>
              <a:spLocks/>
            </p:cNvSpPr>
            <p:nvPr userDrawn="1"/>
          </p:nvSpPr>
          <p:spPr bwMode="ltGray">
            <a:xfrm>
              <a:off x="2459038" y="533400"/>
              <a:ext cx="236538" cy="157163"/>
            </a:xfrm>
            <a:custGeom>
              <a:avLst/>
              <a:gdLst>
                <a:gd name="T0" fmla="*/ 0 w 1267"/>
                <a:gd name="T1" fmla="*/ 21 h 842"/>
                <a:gd name="T2" fmla="*/ 194 w 1267"/>
                <a:gd name="T3" fmla="*/ 21 h 842"/>
                <a:gd name="T4" fmla="*/ 194 w 1267"/>
                <a:gd name="T5" fmla="*/ 149 h 842"/>
                <a:gd name="T6" fmla="*/ 198 w 1267"/>
                <a:gd name="T7" fmla="*/ 149 h 842"/>
                <a:gd name="T8" fmla="*/ 448 w 1267"/>
                <a:gd name="T9" fmla="*/ 0 h 842"/>
                <a:gd name="T10" fmla="*/ 703 w 1267"/>
                <a:gd name="T11" fmla="*/ 153 h 842"/>
                <a:gd name="T12" fmla="*/ 972 w 1267"/>
                <a:gd name="T13" fmla="*/ 0 h 842"/>
                <a:gd name="T14" fmla="*/ 1267 w 1267"/>
                <a:gd name="T15" fmla="*/ 352 h 842"/>
                <a:gd name="T16" fmla="*/ 1267 w 1267"/>
                <a:gd name="T17" fmla="*/ 842 h 842"/>
                <a:gd name="T18" fmla="*/ 1063 w 1267"/>
                <a:gd name="T19" fmla="*/ 842 h 842"/>
                <a:gd name="T20" fmla="*/ 1063 w 1267"/>
                <a:gd name="T21" fmla="*/ 377 h 842"/>
                <a:gd name="T22" fmla="*/ 911 w 1267"/>
                <a:gd name="T23" fmla="*/ 185 h 842"/>
                <a:gd name="T24" fmla="*/ 736 w 1267"/>
                <a:gd name="T25" fmla="*/ 397 h 842"/>
                <a:gd name="T26" fmla="*/ 736 w 1267"/>
                <a:gd name="T27" fmla="*/ 842 h 842"/>
                <a:gd name="T28" fmla="*/ 532 w 1267"/>
                <a:gd name="T29" fmla="*/ 842 h 842"/>
                <a:gd name="T30" fmla="*/ 532 w 1267"/>
                <a:gd name="T31" fmla="*/ 352 h 842"/>
                <a:gd name="T32" fmla="*/ 392 w 1267"/>
                <a:gd name="T33" fmla="*/ 185 h 842"/>
                <a:gd name="T34" fmla="*/ 205 w 1267"/>
                <a:gd name="T35" fmla="*/ 394 h 842"/>
                <a:gd name="T36" fmla="*/ 205 w 1267"/>
                <a:gd name="T37" fmla="*/ 842 h 842"/>
                <a:gd name="T38" fmla="*/ 0 w 1267"/>
                <a:gd name="T39" fmla="*/ 842 h 842"/>
                <a:gd name="T40" fmla="*/ 0 w 1267"/>
                <a:gd name="T41"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7" h="842">
                  <a:moveTo>
                    <a:pt x="0" y="21"/>
                  </a:moveTo>
                  <a:cubicBezTo>
                    <a:pt x="194" y="21"/>
                    <a:pt x="194" y="21"/>
                    <a:pt x="194" y="21"/>
                  </a:cubicBezTo>
                  <a:cubicBezTo>
                    <a:pt x="194" y="149"/>
                    <a:pt x="194" y="149"/>
                    <a:pt x="194" y="149"/>
                  </a:cubicBezTo>
                  <a:cubicBezTo>
                    <a:pt x="198" y="149"/>
                    <a:pt x="198" y="149"/>
                    <a:pt x="198" y="149"/>
                  </a:cubicBezTo>
                  <a:cubicBezTo>
                    <a:pt x="234" y="72"/>
                    <a:pt x="312" y="0"/>
                    <a:pt x="448" y="0"/>
                  </a:cubicBezTo>
                  <a:cubicBezTo>
                    <a:pt x="574" y="0"/>
                    <a:pt x="661" y="50"/>
                    <a:pt x="703" y="153"/>
                  </a:cubicBezTo>
                  <a:cubicBezTo>
                    <a:pt x="763" y="48"/>
                    <a:pt x="850" y="0"/>
                    <a:pt x="972" y="0"/>
                  </a:cubicBezTo>
                  <a:cubicBezTo>
                    <a:pt x="1191" y="0"/>
                    <a:pt x="1267" y="156"/>
                    <a:pt x="1267" y="352"/>
                  </a:cubicBezTo>
                  <a:cubicBezTo>
                    <a:pt x="1267" y="842"/>
                    <a:pt x="1267" y="842"/>
                    <a:pt x="1267" y="842"/>
                  </a:cubicBezTo>
                  <a:cubicBezTo>
                    <a:pt x="1063" y="842"/>
                    <a:pt x="1063" y="842"/>
                    <a:pt x="1063" y="842"/>
                  </a:cubicBezTo>
                  <a:cubicBezTo>
                    <a:pt x="1063" y="377"/>
                    <a:pt x="1063" y="377"/>
                    <a:pt x="1063" y="377"/>
                  </a:cubicBezTo>
                  <a:cubicBezTo>
                    <a:pt x="1063" y="274"/>
                    <a:pt x="1032" y="185"/>
                    <a:pt x="911" y="185"/>
                  </a:cubicBezTo>
                  <a:cubicBezTo>
                    <a:pt x="783" y="185"/>
                    <a:pt x="736" y="291"/>
                    <a:pt x="736" y="397"/>
                  </a:cubicBezTo>
                  <a:cubicBezTo>
                    <a:pt x="736" y="842"/>
                    <a:pt x="736" y="842"/>
                    <a:pt x="736" y="842"/>
                  </a:cubicBezTo>
                  <a:cubicBezTo>
                    <a:pt x="532" y="842"/>
                    <a:pt x="532" y="842"/>
                    <a:pt x="532" y="842"/>
                  </a:cubicBezTo>
                  <a:cubicBezTo>
                    <a:pt x="532" y="352"/>
                    <a:pt x="532" y="352"/>
                    <a:pt x="532" y="352"/>
                  </a:cubicBezTo>
                  <a:cubicBezTo>
                    <a:pt x="532" y="252"/>
                    <a:pt x="490" y="185"/>
                    <a:pt x="392" y="185"/>
                  </a:cubicBezTo>
                  <a:cubicBezTo>
                    <a:pt x="258" y="185"/>
                    <a:pt x="205" y="284"/>
                    <a:pt x="205" y="394"/>
                  </a:cubicBezTo>
                  <a:cubicBezTo>
                    <a:pt x="205" y="842"/>
                    <a:pt x="205" y="842"/>
                    <a:pt x="205"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grpSp>
      <p:grpSp>
        <p:nvGrpSpPr>
          <p:cNvPr id="47" name="Group 46">
            <a:extLst>
              <a:ext uri="{FF2B5EF4-FFF2-40B4-BE49-F238E27FC236}">
                <a16:creationId xmlns:a16="http://schemas.microsoft.com/office/drawing/2014/main" id="{1F962ECB-3A1A-44FE-818D-CB9B4A34412E}"/>
              </a:ext>
            </a:extLst>
          </p:cNvPr>
          <p:cNvGrpSpPr>
            <a:grpSpLocks/>
          </p:cNvGrpSpPr>
          <p:nvPr userDrawn="1"/>
        </p:nvGrpSpPr>
        <p:grpSpPr bwMode="ltGray">
          <a:xfrm>
            <a:off x="233258" y="106904"/>
            <a:ext cx="426000" cy="1448052"/>
            <a:chOff x="177800" y="104775"/>
            <a:chExt cx="417513" cy="1419225"/>
          </a:xfrm>
          <a:solidFill>
            <a:schemeClr val="tx2"/>
          </a:solidFill>
        </p:grpSpPr>
        <p:sp>
          <p:nvSpPr>
            <p:cNvPr id="48" name="Freeform 42">
              <a:extLst>
                <a:ext uri="{FF2B5EF4-FFF2-40B4-BE49-F238E27FC236}">
                  <a16:creationId xmlns:a16="http://schemas.microsoft.com/office/drawing/2014/main" id="{133798F6-4EEC-435A-9713-7BFDDC5FFB74}"/>
                </a:ext>
              </a:extLst>
            </p:cNvPr>
            <p:cNvSpPr>
              <a:spLocks/>
            </p:cNvSpPr>
            <p:nvPr userDrawn="1"/>
          </p:nvSpPr>
          <p:spPr bwMode="ltGray">
            <a:xfrm>
              <a:off x="177800" y="1108075"/>
              <a:ext cx="417513" cy="415925"/>
            </a:xfrm>
            <a:custGeom>
              <a:avLst/>
              <a:gdLst>
                <a:gd name="T0" fmla="*/ 0 w 263"/>
                <a:gd name="T1" fmla="*/ 209 h 262"/>
                <a:gd name="T2" fmla="*/ 80 w 263"/>
                <a:gd name="T3" fmla="*/ 131 h 262"/>
                <a:gd name="T4" fmla="*/ 0 w 263"/>
                <a:gd name="T5" fmla="*/ 52 h 262"/>
                <a:gd name="T6" fmla="*/ 53 w 263"/>
                <a:gd name="T7" fmla="*/ 0 h 262"/>
                <a:gd name="T8" fmla="*/ 132 w 263"/>
                <a:gd name="T9" fmla="*/ 78 h 262"/>
                <a:gd name="T10" fmla="*/ 210 w 263"/>
                <a:gd name="T11" fmla="*/ 0 h 262"/>
                <a:gd name="T12" fmla="*/ 263 w 263"/>
                <a:gd name="T13" fmla="*/ 52 h 262"/>
                <a:gd name="T14" fmla="*/ 185 w 263"/>
                <a:gd name="T15" fmla="*/ 131 h 262"/>
                <a:gd name="T16" fmla="*/ 263 w 263"/>
                <a:gd name="T17" fmla="*/ 209 h 262"/>
                <a:gd name="T18" fmla="*/ 210 w 263"/>
                <a:gd name="T19" fmla="*/ 262 h 262"/>
                <a:gd name="T20" fmla="*/ 132 w 263"/>
                <a:gd name="T21" fmla="*/ 183 h 262"/>
                <a:gd name="T22" fmla="*/ 53 w 263"/>
                <a:gd name="T23" fmla="*/ 262 h 262"/>
                <a:gd name="T24" fmla="*/ 0 w 263"/>
                <a:gd name="T25" fmla="*/ 20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2">
                  <a:moveTo>
                    <a:pt x="0" y="209"/>
                  </a:moveTo>
                  <a:lnTo>
                    <a:pt x="80" y="131"/>
                  </a:lnTo>
                  <a:lnTo>
                    <a:pt x="0" y="52"/>
                  </a:lnTo>
                  <a:lnTo>
                    <a:pt x="53" y="0"/>
                  </a:lnTo>
                  <a:lnTo>
                    <a:pt x="132" y="78"/>
                  </a:lnTo>
                  <a:lnTo>
                    <a:pt x="210" y="0"/>
                  </a:lnTo>
                  <a:lnTo>
                    <a:pt x="263" y="52"/>
                  </a:lnTo>
                  <a:lnTo>
                    <a:pt x="185" y="131"/>
                  </a:lnTo>
                  <a:lnTo>
                    <a:pt x="263" y="209"/>
                  </a:lnTo>
                  <a:lnTo>
                    <a:pt x="210" y="262"/>
                  </a:lnTo>
                  <a:lnTo>
                    <a:pt x="132" y="183"/>
                  </a:lnTo>
                  <a:lnTo>
                    <a:pt x="53" y="262"/>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49" name="Freeform 43">
              <a:extLst>
                <a:ext uri="{FF2B5EF4-FFF2-40B4-BE49-F238E27FC236}">
                  <a16:creationId xmlns:a16="http://schemas.microsoft.com/office/drawing/2014/main" id="{8E16C36D-5041-4E7E-A415-3F2271D253D9}"/>
                </a:ext>
              </a:extLst>
            </p:cNvPr>
            <p:cNvSpPr>
              <a:spLocks/>
            </p:cNvSpPr>
            <p:nvPr userDrawn="1"/>
          </p:nvSpPr>
          <p:spPr bwMode="ltGray">
            <a:xfrm>
              <a:off x="177800" y="104775"/>
              <a:ext cx="417513" cy="417513"/>
            </a:xfrm>
            <a:custGeom>
              <a:avLst/>
              <a:gdLst>
                <a:gd name="T0" fmla="*/ 0 w 263"/>
                <a:gd name="T1" fmla="*/ 211 h 263"/>
                <a:gd name="T2" fmla="*/ 80 w 263"/>
                <a:gd name="T3" fmla="*/ 132 h 263"/>
                <a:gd name="T4" fmla="*/ 0 w 263"/>
                <a:gd name="T5" fmla="*/ 53 h 263"/>
                <a:gd name="T6" fmla="*/ 53 w 263"/>
                <a:gd name="T7" fmla="*/ 0 h 263"/>
                <a:gd name="T8" fmla="*/ 132 w 263"/>
                <a:gd name="T9" fmla="*/ 80 h 263"/>
                <a:gd name="T10" fmla="*/ 210 w 263"/>
                <a:gd name="T11" fmla="*/ 0 h 263"/>
                <a:gd name="T12" fmla="*/ 263 w 263"/>
                <a:gd name="T13" fmla="*/ 53 h 263"/>
                <a:gd name="T14" fmla="*/ 185 w 263"/>
                <a:gd name="T15" fmla="*/ 132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2"/>
                  </a:lnTo>
                  <a:lnTo>
                    <a:pt x="0" y="53"/>
                  </a:lnTo>
                  <a:lnTo>
                    <a:pt x="53" y="0"/>
                  </a:lnTo>
                  <a:lnTo>
                    <a:pt x="132" y="80"/>
                  </a:lnTo>
                  <a:lnTo>
                    <a:pt x="210" y="0"/>
                  </a:lnTo>
                  <a:lnTo>
                    <a:pt x="263" y="53"/>
                  </a:lnTo>
                  <a:lnTo>
                    <a:pt x="185" y="132"/>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50" name="Freeform 44">
              <a:extLst>
                <a:ext uri="{FF2B5EF4-FFF2-40B4-BE49-F238E27FC236}">
                  <a16:creationId xmlns:a16="http://schemas.microsoft.com/office/drawing/2014/main" id="{F926A661-97B8-4B43-9A12-C9C8083A5839}"/>
                </a:ext>
              </a:extLst>
            </p:cNvPr>
            <p:cNvSpPr>
              <a:spLocks/>
            </p:cNvSpPr>
            <p:nvPr userDrawn="1"/>
          </p:nvSpPr>
          <p:spPr bwMode="ltGray">
            <a:xfrm>
              <a:off x="177800" y="606425"/>
              <a:ext cx="417513" cy="417513"/>
            </a:xfrm>
            <a:custGeom>
              <a:avLst/>
              <a:gdLst>
                <a:gd name="T0" fmla="*/ 0 w 263"/>
                <a:gd name="T1" fmla="*/ 211 h 263"/>
                <a:gd name="T2" fmla="*/ 80 w 263"/>
                <a:gd name="T3" fmla="*/ 131 h 263"/>
                <a:gd name="T4" fmla="*/ 0 w 263"/>
                <a:gd name="T5" fmla="*/ 53 h 263"/>
                <a:gd name="T6" fmla="*/ 53 w 263"/>
                <a:gd name="T7" fmla="*/ 0 h 263"/>
                <a:gd name="T8" fmla="*/ 132 w 263"/>
                <a:gd name="T9" fmla="*/ 79 h 263"/>
                <a:gd name="T10" fmla="*/ 210 w 263"/>
                <a:gd name="T11" fmla="*/ 0 h 263"/>
                <a:gd name="T12" fmla="*/ 263 w 263"/>
                <a:gd name="T13" fmla="*/ 53 h 263"/>
                <a:gd name="T14" fmla="*/ 185 w 263"/>
                <a:gd name="T15" fmla="*/ 131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1"/>
                  </a:lnTo>
                  <a:lnTo>
                    <a:pt x="0" y="53"/>
                  </a:lnTo>
                  <a:lnTo>
                    <a:pt x="53" y="0"/>
                  </a:lnTo>
                  <a:lnTo>
                    <a:pt x="132" y="79"/>
                  </a:lnTo>
                  <a:lnTo>
                    <a:pt x="210" y="0"/>
                  </a:lnTo>
                  <a:lnTo>
                    <a:pt x="263" y="53"/>
                  </a:lnTo>
                  <a:lnTo>
                    <a:pt x="185" y="131"/>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grpSp>
      <p:sp>
        <p:nvSpPr>
          <p:cNvPr id="36" name="Tijdelijke aanduiding voor voettekst 7">
            <a:extLst>
              <a:ext uri="{FF2B5EF4-FFF2-40B4-BE49-F238E27FC236}">
                <a16:creationId xmlns:a16="http://schemas.microsoft.com/office/drawing/2014/main" id="{4D86575A-F077-4046-86BF-F1AB9AC7BE5C}"/>
              </a:ext>
            </a:extLst>
          </p:cNvPr>
          <p:cNvSpPr>
            <a:spLocks noGrp="1"/>
          </p:cNvSpPr>
          <p:nvPr>
            <p:ph type="ftr" sz="quarter" idx="3"/>
          </p:nvPr>
        </p:nvSpPr>
        <p:spPr>
          <a:xfrm>
            <a:off x="890653" y="6268355"/>
            <a:ext cx="4427858" cy="372541"/>
          </a:xfrm>
          <a:prstGeom prst="rect">
            <a:avLst/>
          </a:prstGeom>
        </p:spPr>
        <p:txBody>
          <a:bodyPr vert="horz" lIns="91440" tIns="45720" rIns="91440" bIns="45720" rtlCol="0" anchor="ctr"/>
          <a:lstStyle>
            <a:lvl1pPr algn="l">
              <a:defRPr sz="1837" b="1">
                <a:solidFill>
                  <a:schemeClr val="tx1"/>
                </a:solidFill>
                <a:latin typeface="Arial" panose="020B0604020202020204" pitchFamily="34" charset="0"/>
                <a:cs typeface="Arial" panose="020B0604020202020204" pitchFamily="34" charset="0"/>
              </a:defRPr>
            </a:lvl1pPr>
          </a:lstStyle>
          <a:p>
            <a:r>
              <a:rPr lang="nl-NL">
                <a:solidFill>
                  <a:srgbClr val="FF0000"/>
                </a:solidFill>
              </a:rPr>
              <a:t>Informatiebijeenkomst 26 juli 2021 Europese Aanbesteding SVWI</a:t>
            </a:r>
            <a:endParaRPr lang="nl-NL" dirty="0"/>
          </a:p>
        </p:txBody>
      </p:sp>
      <p:grpSp>
        <p:nvGrpSpPr>
          <p:cNvPr id="39" name="Groep 38">
            <a:extLst>
              <a:ext uri="{FF2B5EF4-FFF2-40B4-BE49-F238E27FC236}">
                <a16:creationId xmlns:a16="http://schemas.microsoft.com/office/drawing/2014/main" id="{92508750-A92D-0D45-9BDC-6BACB987162C}"/>
              </a:ext>
            </a:extLst>
          </p:cNvPr>
          <p:cNvGrpSpPr/>
          <p:nvPr userDrawn="1"/>
        </p:nvGrpSpPr>
        <p:grpSpPr>
          <a:xfrm>
            <a:off x="8428467" y="3514615"/>
            <a:ext cx="3111020" cy="2536637"/>
            <a:chOff x="5242602" y="3581171"/>
            <a:chExt cx="3061800" cy="2486139"/>
          </a:xfrm>
        </p:grpSpPr>
        <p:pic>
          <p:nvPicPr>
            <p:cNvPr id="40" name="bg object 17">
              <a:extLst>
                <a:ext uri="{FF2B5EF4-FFF2-40B4-BE49-F238E27FC236}">
                  <a16:creationId xmlns:a16="http://schemas.microsoft.com/office/drawing/2014/main" id="{511EA5B7-BD17-B24C-A1FD-DCF98BE45AC0}"/>
                </a:ext>
              </a:extLst>
            </p:cNvPr>
            <p:cNvPicPr/>
            <p:nvPr/>
          </p:nvPicPr>
          <p:blipFill>
            <a:blip r:embed="rId6" cstate="print"/>
            <a:stretch>
              <a:fillRect/>
            </a:stretch>
          </p:blipFill>
          <p:spPr>
            <a:xfrm>
              <a:off x="5509347" y="4963937"/>
              <a:ext cx="204658" cy="200315"/>
            </a:xfrm>
            <a:prstGeom prst="rect">
              <a:avLst/>
            </a:prstGeom>
          </p:spPr>
        </p:pic>
        <p:pic>
          <p:nvPicPr>
            <p:cNvPr id="41" name="bg object 18">
              <a:extLst>
                <a:ext uri="{FF2B5EF4-FFF2-40B4-BE49-F238E27FC236}">
                  <a16:creationId xmlns:a16="http://schemas.microsoft.com/office/drawing/2014/main" id="{066495B9-BBE8-E74D-AC0A-CA391ED7A9D9}"/>
                </a:ext>
              </a:extLst>
            </p:cNvPr>
            <p:cNvPicPr/>
            <p:nvPr/>
          </p:nvPicPr>
          <p:blipFill>
            <a:blip r:embed="rId7" cstate="print"/>
            <a:stretch>
              <a:fillRect/>
            </a:stretch>
          </p:blipFill>
          <p:spPr>
            <a:xfrm>
              <a:off x="6450003" y="4287404"/>
              <a:ext cx="199694" cy="191888"/>
            </a:xfrm>
            <a:prstGeom prst="rect">
              <a:avLst/>
            </a:prstGeom>
          </p:spPr>
        </p:pic>
        <p:sp>
          <p:nvSpPr>
            <p:cNvPr id="42" name="bg object 19">
              <a:extLst>
                <a:ext uri="{FF2B5EF4-FFF2-40B4-BE49-F238E27FC236}">
                  <a16:creationId xmlns:a16="http://schemas.microsoft.com/office/drawing/2014/main" id="{882FE858-A207-B44F-8478-548F39A8A868}"/>
                </a:ext>
              </a:extLst>
            </p:cNvPr>
            <p:cNvSpPr/>
            <p:nvPr/>
          </p:nvSpPr>
          <p:spPr>
            <a:xfrm>
              <a:off x="6112330" y="4597401"/>
              <a:ext cx="256540" cy="93980"/>
            </a:xfrm>
            <a:custGeom>
              <a:avLst/>
              <a:gdLst/>
              <a:ahLst/>
              <a:cxnLst/>
              <a:rect l="l" t="t" r="r" b="b"/>
              <a:pathLst>
                <a:path w="256539" h="93979">
                  <a:moveTo>
                    <a:pt x="215239" y="0"/>
                  </a:moveTo>
                  <a:lnTo>
                    <a:pt x="25387" y="32715"/>
                  </a:lnTo>
                  <a:lnTo>
                    <a:pt x="0" y="67564"/>
                  </a:lnTo>
                  <a:lnTo>
                    <a:pt x="4026" y="78959"/>
                  </a:lnTo>
                  <a:lnTo>
                    <a:pt x="11799" y="87653"/>
                  </a:lnTo>
                  <a:lnTo>
                    <a:pt x="22233" y="92840"/>
                  </a:lnTo>
                  <a:lnTo>
                    <a:pt x="34239" y="93713"/>
                  </a:lnTo>
                  <a:lnTo>
                    <a:pt x="225577" y="71170"/>
                  </a:lnTo>
                  <a:lnTo>
                    <a:pt x="239043" y="66371"/>
                  </a:lnTo>
                  <a:lnTo>
                    <a:pt x="249261" y="57102"/>
                  </a:lnTo>
                  <a:lnTo>
                    <a:pt x="255247" y="44685"/>
                  </a:lnTo>
                  <a:lnTo>
                    <a:pt x="256019" y="30441"/>
                  </a:lnTo>
                  <a:lnTo>
                    <a:pt x="251220" y="16975"/>
                  </a:lnTo>
                  <a:lnTo>
                    <a:pt x="241949" y="6757"/>
                  </a:lnTo>
                  <a:lnTo>
                    <a:pt x="229517" y="772"/>
                  </a:lnTo>
                  <a:lnTo>
                    <a:pt x="215239" y="0"/>
                  </a:lnTo>
                  <a:close/>
                </a:path>
              </a:pathLst>
            </a:custGeom>
            <a:solidFill>
              <a:srgbClr val="000000"/>
            </a:solidFill>
          </p:spPr>
          <p:txBody>
            <a:bodyPr wrap="square" lIns="0" tIns="0" rIns="0" bIns="0" rtlCol="0"/>
            <a:lstStyle/>
            <a:p>
              <a:endParaRPr sz="1828"/>
            </a:p>
          </p:txBody>
        </p:sp>
        <p:pic>
          <p:nvPicPr>
            <p:cNvPr id="44" name="bg object 20">
              <a:extLst>
                <a:ext uri="{FF2B5EF4-FFF2-40B4-BE49-F238E27FC236}">
                  <a16:creationId xmlns:a16="http://schemas.microsoft.com/office/drawing/2014/main" id="{EBDA686C-8CD3-2146-9949-86B0C02409D1}"/>
                </a:ext>
              </a:extLst>
            </p:cNvPr>
            <p:cNvPicPr/>
            <p:nvPr/>
          </p:nvPicPr>
          <p:blipFill>
            <a:blip r:embed="rId8" cstate="print"/>
            <a:stretch>
              <a:fillRect/>
            </a:stretch>
          </p:blipFill>
          <p:spPr>
            <a:xfrm>
              <a:off x="6305741" y="4512394"/>
              <a:ext cx="251781" cy="154172"/>
            </a:xfrm>
            <a:prstGeom prst="rect">
              <a:avLst/>
            </a:prstGeom>
          </p:spPr>
        </p:pic>
        <p:sp>
          <p:nvSpPr>
            <p:cNvPr id="46" name="bg object 21">
              <a:extLst>
                <a:ext uri="{FF2B5EF4-FFF2-40B4-BE49-F238E27FC236}">
                  <a16:creationId xmlns:a16="http://schemas.microsoft.com/office/drawing/2014/main" id="{BE54E561-15C1-9541-BC37-D4AA62A0A44E}"/>
                </a:ext>
              </a:extLst>
            </p:cNvPr>
            <p:cNvSpPr/>
            <p:nvPr/>
          </p:nvSpPr>
          <p:spPr>
            <a:xfrm>
              <a:off x="6398450" y="4499330"/>
              <a:ext cx="327025" cy="925194"/>
            </a:xfrm>
            <a:custGeom>
              <a:avLst/>
              <a:gdLst/>
              <a:ahLst/>
              <a:cxnLst/>
              <a:rect l="l" t="t" r="r" b="b"/>
              <a:pathLst>
                <a:path w="327025" h="925195">
                  <a:moveTo>
                    <a:pt x="327012" y="876693"/>
                  </a:moveTo>
                  <a:lnTo>
                    <a:pt x="326428" y="873480"/>
                  </a:lnTo>
                  <a:lnTo>
                    <a:pt x="325488" y="869835"/>
                  </a:lnTo>
                  <a:lnTo>
                    <a:pt x="293243" y="618007"/>
                  </a:lnTo>
                  <a:lnTo>
                    <a:pt x="293903" y="613054"/>
                  </a:lnTo>
                  <a:lnTo>
                    <a:pt x="298030" y="349478"/>
                  </a:lnTo>
                  <a:lnTo>
                    <a:pt x="298843" y="342633"/>
                  </a:lnTo>
                  <a:lnTo>
                    <a:pt x="298373" y="335457"/>
                  </a:lnTo>
                  <a:lnTo>
                    <a:pt x="297535" y="332676"/>
                  </a:lnTo>
                  <a:lnTo>
                    <a:pt x="254762" y="39255"/>
                  </a:lnTo>
                  <a:lnTo>
                    <a:pt x="248285" y="22136"/>
                  </a:lnTo>
                  <a:lnTo>
                    <a:pt x="235496" y="9042"/>
                  </a:lnTo>
                  <a:lnTo>
                    <a:pt x="218211" y="1244"/>
                  </a:lnTo>
                  <a:lnTo>
                    <a:pt x="198247" y="0"/>
                  </a:lnTo>
                  <a:lnTo>
                    <a:pt x="131533" y="7988"/>
                  </a:lnTo>
                  <a:lnTo>
                    <a:pt x="98844" y="18148"/>
                  </a:lnTo>
                  <a:lnTo>
                    <a:pt x="73863" y="38201"/>
                  </a:lnTo>
                  <a:lnTo>
                    <a:pt x="58991" y="65265"/>
                  </a:lnTo>
                  <a:lnTo>
                    <a:pt x="56642" y="96507"/>
                  </a:lnTo>
                  <a:lnTo>
                    <a:pt x="95008" y="359943"/>
                  </a:lnTo>
                  <a:lnTo>
                    <a:pt x="96494" y="363893"/>
                  </a:lnTo>
                  <a:lnTo>
                    <a:pt x="67462" y="605561"/>
                  </a:lnTo>
                  <a:lnTo>
                    <a:pt x="67348" y="615035"/>
                  </a:lnTo>
                  <a:lnTo>
                    <a:pt x="68554" y="855154"/>
                  </a:lnTo>
                  <a:lnTo>
                    <a:pt x="43218" y="864362"/>
                  </a:lnTo>
                  <a:lnTo>
                    <a:pt x="25755" y="873887"/>
                  </a:lnTo>
                  <a:lnTo>
                    <a:pt x="12230" y="887844"/>
                  </a:lnTo>
                  <a:lnTo>
                    <a:pt x="3390" y="905154"/>
                  </a:lnTo>
                  <a:lnTo>
                    <a:pt x="0" y="924699"/>
                  </a:lnTo>
                  <a:lnTo>
                    <a:pt x="140804" y="924750"/>
                  </a:lnTo>
                  <a:lnTo>
                    <a:pt x="140754" y="878979"/>
                  </a:lnTo>
                  <a:lnTo>
                    <a:pt x="171792" y="616432"/>
                  </a:lnTo>
                  <a:lnTo>
                    <a:pt x="184302" y="565810"/>
                  </a:lnTo>
                  <a:lnTo>
                    <a:pt x="188645" y="605777"/>
                  </a:lnTo>
                  <a:lnTo>
                    <a:pt x="187667" y="611606"/>
                  </a:lnTo>
                  <a:lnTo>
                    <a:pt x="187617" y="617626"/>
                  </a:lnTo>
                  <a:lnTo>
                    <a:pt x="189572" y="627748"/>
                  </a:lnTo>
                  <a:lnTo>
                    <a:pt x="248513" y="857453"/>
                  </a:lnTo>
                  <a:lnTo>
                    <a:pt x="229425" y="864362"/>
                  </a:lnTo>
                  <a:lnTo>
                    <a:pt x="211963" y="873887"/>
                  </a:lnTo>
                  <a:lnTo>
                    <a:pt x="198437" y="887844"/>
                  </a:lnTo>
                  <a:lnTo>
                    <a:pt x="189598" y="905154"/>
                  </a:lnTo>
                  <a:lnTo>
                    <a:pt x="186207" y="924699"/>
                  </a:lnTo>
                  <a:lnTo>
                    <a:pt x="327012" y="924750"/>
                  </a:lnTo>
                  <a:lnTo>
                    <a:pt x="327012" y="876693"/>
                  </a:lnTo>
                  <a:close/>
                </a:path>
              </a:pathLst>
            </a:custGeom>
            <a:solidFill>
              <a:srgbClr val="000000"/>
            </a:solidFill>
          </p:spPr>
          <p:txBody>
            <a:bodyPr wrap="square" lIns="0" tIns="0" rIns="0" bIns="0" rtlCol="0"/>
            <a:lstStyle/>
            <a:p>
              <a:endParaRPr sz="1828"/>
            </a:p>
          </p:txBody>
        </p:sp>
        <p:pic>
          <p:nvPicPr>
            <p:cNvPr id="51" name="bg object 22">
              <a:extLst>
                <a:ext uri="{FF2B5EF4-FFF2-40B4-BE49-F238E27FC236}">
                  <a16:creationId xmlns:a16="http://schemas.microsoft.com/office/drawing/2014/main" id="{A17D859E-C42C-3842-A8F2-05F5EF9C6F24}"/>
                </a:ext>
              </a:extLst>
            </p:cNvPr>
            <p:cNvPicPr/>
            <p:nvPr/>
          </p:nvPicPr>
          <p:blipFill>
            <a:blip r:embed="rId9" cstate="print"/>
            <a:stretch>
              <a:fillRect/>
            </a:stretch>
          </p:blipFill>
          <p:spPr>
            <a:xfrm>
              <a:off x="6306067" y="4507638"/>
              <a:ext cx="346391" cy="331363"/>
            </a:xfrm>
            <a:prstGeom prst="rect">
              <a:avLst/>
            </a:prstGeom>
          </p:spPr>
        </p:pic>
        <p:sp>
          <p:nvSpPr>
            <p:cNvPr id="52" name="bg object 23">
              <a:extLst>
                <a:ext uri="{FF2B5EF4-FFF2-40B4-BE49-F238E27FC236}">
                  <a16:creationId xmlns:a16="http://schemas.microsoft.com/office/drawing/2014/main" id="{30BAC982-43B6-2641-AC4F-5D1A43411A69}"/>
                </a:ext>
              </a:extLst>
            </p:cNvPr>
            <p:cNvSpPr/>
            <p:nvPr/>
          </p:nvSpPr>
          <p:spPr>
            <a:xfrm>
              <a:off x="5545013" y="4423007"/>
              <a:ext cx="736600" cy="736600"/>
            </a:xfrm>
            <a:custGeom>
              <a:avLst/>
              <a:gdLst/>
              <a:ahLst/>
              <a:cxnLst/>
              <a:rect l="l" t="t" r="r" b="b"/>
              <a:pathLst>
                <a:path w="736600" h="736600">
                  <a:moveTo>
                    <a:pt x="368236" y="0"/>
                  </a:moveTo>
                  <a:lnTo>
                    <a:pt x="322086" y="2872"/>
                  </a:lnTo>
                  <a:lnTo>
                    <a:pt x="277636" y="11257"/>
                  </a:lnTo>
                  <a:lnTo>
                    <a:pt x="235231" y="24809"/>
                  </a:lnTo>
                  <a:lnTo>
                    <a:pt x="195219" y="43181"/>
                  </a:lnTo>
                  <a:lnTo>
                    <a:pt x="157946" y="66027"/>
                  </a:lnTo>
                  <a:lnTo>
                    <a:pt x="123760" y="93000"/>
                  </a:lnTo>
                  <a:lnTo>
                    <a:pt x="93006" y="123753"/>
                  </a:lnTo>
                  <a:lnTo>
                    <a:pt x="66032" y="157941"/>
                  </a:lnTo>
                  <a:lnTo>
                    <a:pt x="43185" y="195216"/>
                  </a:lnTo>
                  <a:lnTo>
                    <a:pt x="24812" y="235232"/>
                  </a:lnTo>
                  <a:lnTo>
                    <a:pt x="11258" y="277643"/>
                  </a:lnTo>
                  <a:lnTo>
                    <a:pt x="2872" y="322101"/>
                  </a:lnTo>
                  <a:lnTo>
                    <a:pt x="0" y="368261"/>
                  </a:lnTo>
                  <a:lnTo>
                    <a:pt x="2872" y="414413"/>
                  </a:lnTo>
                  <a:lnTo>
                    <a:pt x="11258" y="458864"/>
                  </a:lnTo>
                  <a:lnTo>
                    <a:pt x="24812" y="501268"/>
                  </a:lnTo>
                  <a:lnTo>
                    <a:pt x="43185" y="541278"/>
                  </a:lnTo>
                  <a:lnTo>
                    <a:pt x="66032" y="578548"/>
                  </a:lnTo>
                  <a:lnTo>
                    <a:pt x="93006" y="612732"/>
                  </a:lnTo>
                  <a:lnTo>
                    <a:pt x="123760" y="643482"/>
                  </a:lnTo>
                  <a:lnTo>
                    <a:pt x="157946" y="670451"/>
                  </a:lnTo>
                  <a:lnTo>
                    <a:pt x="195219" y="693295"/>
                  </a:lnTo>
                  <a:lnTo>
                    <a:pt x="235231" y="711665"/>
                  </a:lnTo>
                  <a:lnTo>
                    <a:pt x="277636" y="725216"/>
                  </a:lnTo>
                  <a:lnTo>
                    <a:pt x="322086" y="733601"/>
                  </a:lnTo>
                  <a:lnTo>
                    <a:pt x="368236" y="736473"/>
                  </a:lnTo>
                  <a:lnTo>
                    <a:pt x="414391" y="733601"/>
                  </a:lnTo>
                  <a:lnTo>
                    <a:pt x="458846" y="725216"/>
                  </a:lnTo>
                  <a:lnTo>
                    <a:pt x="501255" y="711665"/>
                  </a:lnTo>
                  <a:lnTo>
                    <a:pt x="541270" y="693295"/>
                  </a:lnTo>
                  <a:lnTo>
                    <a:pt x="578545" y="670451"/>
                  </a:lnTo>
                  <a:lnTo>
                    <a:pt x="612734" y="643482"/>
                  </a:lnTo>
                  <a:lnTo>
                    <a:pt x="643489" y="612732"/>
                  </a:lnTo>
                  <a:lnTo>
                    <a:pt x="670464" y="578548"/>
                  </a:lnTo>
                  <a:lnTo>
                    <a:pt x="693311" y="541278"/>
                  </a:lnTo>
                  <a:lnTo>
                    <a:pt x="711685" y="501268"/>
                  </a:lnTo>
                  <a:lnTo>
                    <a:pt x="725239" y="458864"/>
                  </a:lnTo>
                  <a:lnTo>
                    <a:pt x="733625" y="414413"/>
                  </a:lnTo>
                  <a:lnTo>
                    <a:pt x="736498" y="368261"/>
                  </a:lnTo>
                  <a:lnTo>
                    <a:pt x="733625" y="322101"/>
                  </a:lnTo>
                  <a:lnTo>
                    <a:pt x="725239" y="277643"/>
                  </a:lnTo>
                  <a:lnTo>
                    <a:pt x="711685" y="235232"/>
                  </a:lnTo>
                  <a:lnTo>
                    <a:pt x="693311" y="195216"/>
                  </a:lnTo>
                  <a:lnTo>
                    <a:pt x="670464" y="157941"/>
                  </a:lnTo>
                  <a:lnTo>
                    <a:pt x="643489" y="123753"/>
                  </a:lnTo>
                  <a:lnTo>
                    <a:pt x="612734" y="93000"/>
                  </a:lnTo>
                  <a:lnTo>
                    <a:pt x="578545" y="66027"/>
                  </a:lnTo>
                  <a:lnTo>
                    <a:pt x="541270" y="43181"/>
                  </a:lnTo>
                  <a:lnTo>
                    <a:pt x="501255" y="24809"/>
                  </a:lnTo>
                  <a:lnTo>
                    <a:pt x="458846" y="11257"/>
                  </a:lnTo>
                  <a:lnTo>
                    <a:pt x="414391" y="2872"/>
                  </a:lnTo>
                  <a:lnTo>
                    <a:pt x="368236" y="0"/>
                  </a:lnTo>
                  <a:close/>
                </a:path>
              </a:pathLst>
            </a:custGeom>
            <a:solidFill>
              <a:srgbClr val="FFFFFF"/>
            </a:solidFill>
          </p:spPr>
          <p:txBody>
            <a:bodyPr wrap="square" lIns="0" tIns="0" rIns="0" bIns="0" rtlCol="0"/>
            <a:lstStyle/>
            <a:p>
              <a:endParaRPr sz="1828"/>
            </a:p>
          </p:txBody>
        </p:sp>
        <p:pic>
          <p:nvPicPr>
            <p:cNvPr id="53" name="bg object 24">
              <a:extLst>
                <a:ext uri="{FF2B5EF4-FFF2-40B4-BE49-F238E27FC236}">
                  <a16:creationId xmlns:a16="http://schemas.microsoft.com/office/drawing/2014/main" id="{710C2A66-EFA2-B14F-8EC1-4666745165A3}"/>
                </a:ext>
              </a:extLst>
            </p:cNvPr>
            <p:cNvPicPr/>
            <p:nvPr/>
          </p:nvPicPr>
          <p:blipFill>
            <a:blip r:embed="rId10" cstate="print"/>
            <a:stretch>
              <a:fillRect/>
            </a:stretch>
          </p:blipFill>
          <p:spPr>
            <a:xfrm>
              <a:off x="7094023" y="3581171"/>
              <a:ext cx="208114" cy="191808"/>
            </a:xfrm>
            <a:prstGeom prst="rect">
              <a:avLst/>
            </a:prstGeom>
          </p:spPr>
        </p:pic>
        <p:sp>
          <p:nvSpPr>
            <p:cNvPr id="54" name="bg object 25">
              <a:extLst>
                <a:ext uri="{FF2B5EF4-FFF2-40B4-BE49-F238E27FC236}">
                  <a16:creationId xmlns:a16="http://schemas.microsoft.com/office/drawing/2014/main" id="{F9D10A2C-9A3C-814A-AC8D-667FCC66D492}"/>
                </a:ext>
              </a:extLst>
            </p:cNvPr>
            <p:cNvSpPr/>
            <p:nvPr/>
          </p:nvSpPr>
          <p:spPr>
            <a:xfrm>
              <a:off x="6906209" y="3710347"/>
              <a:ext cx="802640" cy="995680"/>
            </a:xfrm>
            <a:custGeom>
              <a:avLst/>
              <a:gdLst/>
              <a:ahLst/>
              <a:cxnLst/>
              <a:rect l="l" t="t" r="r" b="b"/>
              <a:pathLst>
                <a:path w="802640" h="995679">
                  <a:moveTo>
                    <a:pt x="767154" y="0"/>
                  </a:moveTo>
                  <a:lnTo>
                    <a:pt x="755832" y="4145"/>
                  </a:lnTo>
                  <a:lnTo>
                    <a:pt x="606277" y="94620"/>
                  </a:lnTo>
                  <a:lnTo>
                    <a:pt x="445787" y="59212"/>
                  </a:lnTo>
                  <a:lnTo>
                    <a:pt x="438127" y="55707"/>
                  </a:lnTo>
                  <a:lnTo>
                    <a:pt x="429961" y="53850"/>
                  </a:lnTo>
                  <a:lnTo>
                    <a:pt x="421564" y="53683"/>
                  </a:lnTo>
                  <a:lnTo>
                    <a:pt x="412551" y="55466"/>
                  </a:lnTo>
                  <a:lnTo>
                    <a:pt x="306811" y="87064"/>
                  </a:lnTo>
                  <a:lnTo>
                    <a:pt x="261978" y="120389"/>
                  </a:lnTo>
                  <a:lnTo>
                    <a:pt x="253585" y="136860"/>
                  </a:lnTo>
                  <a:lnTo>
                    <a:pt x="157522" y="289362"/>
                  </a:lnTo>
                  <a:lnTo>
                    <a:pt x="157078" y="290391"/>
                  </a:lnTo>
                  <a:lnTo>
                    <a:pt x="12145" y="398531"/>
                  </a:lnTo>
                  <a:lnTo>
                    <a:pt x="4010" y="407444"/>
                  </a:lnTo>
                  <a:lnTo>
                    <a:pt x="0" y="418388"/>
                  </a:lnTo>
                  <a:lnTo>
                    <a:pt x="335" y="430046"/>
                  </a:lnTo>
                  <a:lnTo>
                    <a:pt x="5237" y="441101"/>
                  </a:lnTo>
                  <a:lnTo>
                    <a:pt x="13995" y="449407"/>
                  </a:lnTo>
                  <a:lnTo>
                    <a:pt x="24868" y="453633"/>
                  </a:lnTo>
                  <a:lnTo>
                    <a:pt x="36526" y="453549"/>
                  </a:lnTo>
                  <a:lnTo>
                    <a:pt x="208030" y="342143"/>
                  </a:lnTo>
                  <a:lnTo>
                    <a:pt x="221568" y="323347"/>
                  </a:lnTo>
                  <a:lnTo>
                    <a:pt x="270832" y="253586"/>
                  </a:lnTo>
                  <a:lnTo>
                    <a:pt x="318774" y="413860"/>
                  </a:lnTo>
                  <a:lnTo>
                    <a:pt x="287189" y="676344"/>
                  </a:lnTo>
                  <a:lnTo>
                    <a:pt x="287075" y="685856"/>
                  </a:lnTo>
                  <a:lnTo>
                    <a:pt x="288269" y="925937"/>
                  </a:lnTo>
                  <a:lnTo>
                    <a:pt x="262932" y="935131"/>
                  </a:lnTo>
                  <a:lnTo>
                    <a:pt x="245510" y="944654"/>
                  </a:lnTo>
                  <a:lnTo>
                    <a:pt x="231989" y="958620"/>
                  </a:lnTo>
                  <a:lnTo>
                    <a:pt x="223135" y="975929"/>
                  </a:lnTo>
                  <a:lnTo>
                    <a:pt x="219714" y="995482"/>
                  </a:lnTo>
                  <a:lnTo>
                    <a:pt x="360583" y="995533"/>
                  </a:lnTo>
                  <a:lnTo>
                    <a:pt x="360468" y="949762"/>
                  </a:lnTo>
                  <a:lnTo>
                    <a:pt x="391507" y="687215"/>
                  </a:lnTo>
                  <a:lnTo>
                    <a:pt x="404067" y="636656"/>
                  </a:lnTo>
                  <a:lnTo>
                    <a:pt x="408373" y="676559"/>
                  </a:lnTo>
                  <a:lnTo>
                    <a:pt x="407395" y="682389"/>
                  </a:lnTo>
                  <a:lnTo>
                    <a:pt x="407344" y="688409"/>
                  </a:lnTo>
                  <a:lnTo>
                    <a:pt x="409338" y="698530"/>
                  </a:lnTo>
                  <a:lnTo>
                    <a:pt x="468279" y="928235"/>
                  </a:lnTo>
                  <a:lnTo>
                    <a:pt x="449140" y="935131"/>
                  </a:lnTo>
                  <a:lnTo>
                    <a:pt x="431687" y="944654"/>
                  </a:lnTo>
                  <a:lnTo>
                    <a:pt x="418152" y="958620"/>
                  </a:lnTo>
                  <a:lnTo>
                    <a:pt x="409303" y="975929"/>
                  </a:lnTo>
                  <a:lnTo>
                    <a:pt x="405909" y="995482"/>
                  </a:lnTo>
                  <a:lnTo>
                    <a:pt x="546727" y="995533"/>
                  </a:lnTo>
                  <a:lnTo>
                    <a:pt x="546803" y="947489"/>
                  </a:lnTo>
                  <a:lnTo>
                    <a:pt x="545228" y="940681"/>
                  </a:lnTo>
                  <a:lnTo>
                    <a:pt x="513033" y="688790"/>
                  </a:lnTo>
                  <a:lnTo>
                    <a:pt x="513668" y="683837"/>
                  </a:lnTo>
                  <a:lnTo>
                    <a:pt x="517758" y="420273"/>
                  </a:lnTo>
                  <a:lnTo>
                    <a:pt x="518634" y="413415"/>
                  </a:lnTo>
                  <a:lnTo>
                    <a:pt x="518088" y="406240"/>
                  </a:lnTo>
                  <a:lnTo>
                    <a:pt x="438700" y="140721"/>
                  </a:lnTo>
                  <a:lnTo>
                    <a:pt x="594796" y="166426"/>
                  </a:lnTo>
                  <a:lnTo>
                    <a:pt x="601119" y="168769"/>
                  </a:lnTo>
                  <a:lnTo>
                    <a:pt x="607744" y="169887"/>
                  </a:lnTo>
                  <a:lnTo>
                    <a:pt x="614502" y="169737"/>
                  </a:lnTo>
                  <a:lnTo>
                    <a:pt x="628769" y="166756"/>
                  </a:lnTo>
                  <a:lnTo>
                    <a:pt x="635563" y="162730"/>
                  </a:lnTo>
                  <a:lnTo>
                    <a:pt x="640694" y="157028"/>
                  </a:lnTo>
                  <a:lnTo>
                    <a:pt x="789157" y="56012"/>
                  </a:lnTo>
                  <a:lnTo>
                    <a:pt x="797646" y="47486"/>
                  </a:lnTo>
                  <a:lnTo>
                    <a:pt x="802117" y="36732"/>
                  </a:lnTo>
                  <a:lnTo>
                    <a:pt x="802284" y="25071"/>
                  </a:lnTo>
                  <a:lnTo>
                    <a:pt x="797856" y="13823"/>
                  </a:lnTo>
                  <a:lnTo>
                    <a:pt x="789470" y="5124"/>
                  </a:lnTo>
                  <a:lnTo>
                    <a:pt x="778802" y="421"/>
                  </a:lnTo>
                  <a:lnTo>
                    <a:pt x="767154" y="0"/>
                  </a:lnTo>
                  <a:close/>
                </a:path>
              </a:pathLst>
            </a:custGeom>
            <a:solidFill>
              <a:srgbClr val="000000"/>
            </a:solidFill>
          </p:spPr>
          <p:txBody>
            <a:bodyPr wrap="square" lIns="0" tIns="0" rIns="0" bIns="0" rtlCol="0"/>
            <a:lstStyle/>
            <a:p>
              <a:endParaRPr sz="1828"/>
            </a:p>
          </p:txBody>
        </p:sp>
        <p:sp>
          <p:nvSpPr>
            <p:cNvPr id="55" name="bg object 26">
              <a:extLst>
                <a:ext uri="{FF2B5EF4-FFF2-40B4-BE49-F238E27FC236}">
                  <a16:creationId xmlns:a16="http://schemas.microsoft.com/office/drawing/2014/main" id="{37B9F823-263E-6047-84E9-AB5BE434E0A1}"/>
                </a:ext>
              </a:extLst>
            </p:cNvPr>
            <p:cNvSpPr/>
            <p:nvPr/>
          </p:nvSpPr>
          <p:spPr>
            <a:xfrm>
              <a:off x="6225413" y="3987685"/>
              <a:ext cx="2078989" cy="2079625"/>
            </a:xfrm>
            <a:custGeom>
              <a:avLst/>
              <a:gdLst/>
              <a:ahLst/>
              <a:cxnLst/>
              <a:rect l="l" t="t" r="r" b="b"/>
              <a:pathLst>
                <a:path w="2078990" h="2079625">
                  <a:moveTo>
                    <a:pt x="642594" y="1436395"/>
                  </a:moveTo>
                  <a:lnTo>
                    <a:pt x="0" y="1436395"/>
                  </a:lnTo>
                  <a:lnTo>
                    <a:pt x="0" y="2078990"/>
                  </a:lnTo>
                  <a:lnTo>
                    <a:pt x="642594" y="2078990"/>
                  </a:lnTo>
                  <a:lnTo>
                    <a:pt x="642594" y="1436395"/>
                  </a:lnTo>
                  <a:close/>
                </a:path>
                <a:path w="2078990" h="2079625">
                  <a:moveTo>
                    <a:pt x="1360792" y="718197"/>
                  </a:moveTo>
                  <a:lnTo>
                    <a:pt x="718197" y="718197"/>
                  </a:lnTo>
                  <a:lnTo>
                    <a:pt x="718197" y="2079015"/>
                  </a:lnTo>
                  <a:lnTo>
                    <a:pt x="1360792" y="2079015"/>
                  </a:lnTo>
                  <a:lnTo>
                    <a:pt x="1360792" y="718197"/>
                  </a:lnTo>
                  <a:close/>
                </a:path>
                <a:path w="2078990" h="2079625">
                  <a:moveTo>
                    <a:pt x="2078990" y="0"/>
                  </a:moveTo>
                  <a:lnTo>
                    <a:pt x="1436395" y="0"/>
                  </a:lnTo>
                  <a:lnTo>
                    <a:pt x="1436395" y="2079015"/>
                  </a:lnTo>
                  <a:lnTo>
                    <a:pt x="2078990" y="2079015"/>
                  </a:lnTo>
                  <a:lnTo>
                    <a:pt x="2078990" y="0"/>
                  </a:lnTo>
                  <a:close/>
                </a:path>
              </a:pathLst>
            </a:custGeom>
            <a:solidFill>
              <a:srgbClr val="FFFFFF"/>
            </a:solidFill>
          </p:spPr>
          <p:txBody>
            <a:bodyPr wrap="square" lIns="0" tIns="0" rIns="0" bIns="0" rtlCol="0"/>
            <a:lstStyle/>
            <a:p>
              <a:endParaRPr sz="1828"/>
            </a:p>
          </p:txBody>
        </p:sp>
        <p:sp>
          <p:nvSpPr>
            <p:cNvPr id="56" name="bg object 27">
              <a:extLst>
                <a:ext uri="{FF2B5EF4-FFF2-40B4-BE49-F238E27FC236}">
                  <a16:creationId xmlns:a16="http://schemas.microsoft.com/office/drawing/2014/main" id="{997C1AB4-3965-E142-B797-3AAE1B73BEC2}"/>
                </a:ext>
              </a:extLst>
            </p:cNvPr>
            <p:cNvSpPr/>
            <p:nvPr/>
          </p:nvSpPr>
          <p:spPr>
            <a:xfrm>
              <a:off x="5315420" y="5149189"/>
              <a:ext cx="368300" cy="615950"/>
            </a:xfrm>
            <a:custGeom>
              <a:avLst/>
              <a:gdLst/>
              <a:ahLst/>
              <a:cxnLst/>
              <a:rect l="l" t="t" r="r" b="b"/>
              <a:pathLst>
                <a:path w="368300" h="615950">
                  <a:moveTo>
                    <a:pt x="367868" y="564172"/>
                  </a:moveTo>
                  <a:lnTo>
                    <a:pt x="245579" y="214630"/>
                  </a:lnTo>
                  <a:lnTo>
                    <a:pt x="218986" y="68402"/>
                  </a:lnTo>
                  <a:lnTo>
                    <a:pt x="205968" y="37680"/>
                  </a:lnTo>
                  <a:lnTo>
                    <a:pt x="181546" y="14579"/>
                  </a:lnTo>
                  <a:lnTo>
                    <a:pt x="149136" y="1282"/>
                  </a:lnTo>
                  <a:lnTo>
                    <a:pt x="112217" y="0"/>
                  </a:lnTo>
                  <a:lnTo>
                    <a:pt x="61214" y="7277"/>
                  </a:lnTo>
                  <a:lnTo>
                    <a:pt x="33731" y="16421"/>
                  </a:lnTo>
                  <a:lnTo>
                    <a:pt x="13068" y="33616"/>
                  </a:lnTo>
                  <a:lnTo>
                    <a:pt x="1168" y="56438"/>
                  </a:lnTo>
                  <a:lnTo>
                    <a:pt x="0" y="82473"/>
                  </a:lnTo>
                  <a:lnTo>
                    <a:pt x="51714" y="368731"/>
                  </a:lnTo>
                  <a:lnTo>
                    <a:pt x="47650" y="615873"/>
                  </a:lnTo>
                  <a:lnTo>
                    <a:pt x="89217" y="615226"/>
                  </a:lnTo>
                  <a:lnTo>
                    <a:pt x="145148" y="610120"/>
                  </a:lnTo>
                  <a:lnTo>
                    <a:pt x="208216" y="601522"/>
                  </a:lnTo>
                  <a:lnTo>
                    <a:pt x="271183" y="590359"/>
                  </a:lnTo>
                  <a:lnTo>
                    <a:pt x="326809" y="577596"/>
                  </a:lnTo>
                  <a:lnTo>
                    <a:pt x="367868" y="564172"/>
                  </a:lnTo>
                  <a:close/>
                </a:path>
              </a:pathLst>
            </a:custGeom>
            <a:solidFill>
              <a:srgbClr val="000000"/>
            </a:solidFill>
          </p:spPr>
          <p:txBody>
            <a:bodyPr wrap="square" lIns="0" tIns="0" rIns="0" bIns="0" rtlCol="0"/>
            <a:lstStyle/>
            <a:p>
              <a:endParaRPr sz="1828"/>
            </a:p>
          </p:txBody>
        </p:sp>
        <p:pic>
          <p:nvPicPr>
            <p:cNvPr id="57" name="bg object 28">
              <a:extLst>
                <a:ext uri="{FF2B5EF4-FFF2-40B4-BE49-F238E27FC236}">
                  <a16:creationId xmlns:a16="http://schemas.microsoft.com/office/drawing/2014/main" id="{C56F2699-2BF4-AF49-B331-546F104E8113}"/>
                </a:ext>
              </a:extLst>
            </p:cNvPr>
            <p:cNvPicPr/>
            <p:nvPr/>
          </p:nvPicPr>
          <p:blipFill>
            <a:blip r:embed="rId11" cstate="print"/>
            <a:stretch>
              <a:fillRect/>
            </a:stretch>
          </p:blipFill>
          <p:spPr>
            <a:xfrm>
              <a:off x="5328871" y="5092070"/>
              <a:ext cx="253538" cy="150189"/>
            </a:xfrm>
            <a:prstGeom prst="rect">
              <a:avLst/>
            </a:prstGeom>
          </p:spPr>
        </p:pic>
        <p:sp>
          <p:nvSpPr>
            <p:cNvPr id="58" name="bg object 29">
              <a:extLst>
                <a:ext uri="{FF2B5EF4-FFF2-40B4-BE49-F238E27FC236}">
                  <a16:creationId xmlns:a16="http://schemas.microsoft.com/office/drawing/2014/main" id="{A23ABF97-F498-1A46-8944-636A20062505}"/>
                </a:ext>
              </a:extLst>
            </p:cNvPr>
            <p:cNvSpPr/>
            <p:nvPr/>
          </p:nvSpPr>
          <p:spPr>
            <a:xfrm>
              <a:off x="5249634" y="5430837"/>
              <a:ext cx="347980" cy="631190"/>
            </a:xfrm>
            <a:custGeom>
              <a:avLst/>
              <a:gdLst/>
              <a:ahLst/>
              <a:cxnLst/>
              <a:rect l="l" t="t" r="r" b="b"/>
              <a:pathLst>
                <a:path w="347979" h="631189">
                  <a:moveTo>
                    <a:pt x="347446" y="332244"/>
                  </a:moveTo>
                  <a:lnTo>
                    <a:pt x="347345" y="328104"/>
                  </a:lnTo>
                  <a:lnTo>
                    <a:pt x="346646" y="325539"/>
                  </a:lnTo>
                  <a:lnTo>
                    <a:pt x="347014" y="320065"/>
                  </a:lnTo>
                  <a:lnTo>
                    <a:pt x="316572" y="59436"/>
                  </a:lnTo>
                  <a:lnTo>
                    <a:pt x="287070" y="10680"/>
                  </a:lnTo>
                  <a:lnTo>
                    <a:pt x="235724" y="0"/>
                  </a:lnTo>
                  <a:lnTo>
                    <a:pt x="217766" y="7315"/>
                  </a:lnTo>
                  <a:lnTo>
                    <a:pt x="203377" y="990"/>
                  </a:lnTo>
                  <a:lnTo>
                    <a:pt x="151777" y="10248"/>
                  </a:lnTo>
                  <a:lnTo>
                    <a:pt x="121843" y="53301"/>
                  </a:lnTo>
                  <a:lnTo>
                    <a:pt x="78676" y="315734"/>
                  </a:lnTo>
                  <a:lnTo>
                    <a:pt x="78778" y="320852"/>
                  </a:lnTo>
                  <a:lnTo>
                    <a:pt x="1676" y="564413"/>
                  </a:lnTo>
                  <a:lnTo>
                    <a:pt x="11430" y="601903"/>
                  </a:lnTo>
                  <a:lnTo>
                    <a:pt x="36690" y="611479"/>
                  </a:lnTo>
                  <a:lnTo>
                    <a:pt x="49555" y="608787"/>
                  </a:lnTo>
                  <a:lnTo>
                    <a:pt x="178257" y="351243"/>
                  </a:lnTo>
                  <a:lnTo>
                    <a:pt x="182092" y="333260"/>
                  </a:lnTo>
                  <a:lnTo>
                    <a:pt x="215392" y="220129"/>
                  </a:lnTo>
                  <a:lnTo>
                    <a:pt x="243141" y="333654"/>
                  </a:lnTo>
                  <a:lnTo>
                    <a:pt x="243001" y="334733"/>
                  </a:lnTo>
                  <a:lnTo>
                    <a:pt x="273558" y="599020"/>
                  </a:lnTo>
                  <a:lnTo>
                    <a:pt x="277672" y="612216"/>
                  </a:lnTo>
                  <a:lnTo>
                    <a:pt x="286131" y="622617"/>
                  </a:lnTo>
                  <a:lnTo>
                    <a:pt x="297827" y="629221"/>
                  </a:lnTo>
                  <a:lnTo>
                    <a:pt x="311619" y="631037"/>
                  </a:lnTo>
                  <a:lnTo>
                    <a:pt x="324777" y="627621"/>
                  </a:lnTo>
                  <a:lnTo>
                    <a:pt x="335394" y="619899"/>
                  </a:lnTo>
                  <a:lnTo>
                    <a:pt x="342544" y="608926"/>
                  </a:lnTo>
                  <a:lnTo>
                    <a:pt x="345274" y="595541"/>
                  </a:lnTo>
                  <a:lnTo>
                    <a:pt x="347446" y="332244"/>
                  </a:lnTo>
                  <a:close/>
                </a:path>
              </a:pathLst>
            </a:custGeom>
            <a:solidFill>
              <a:srgbClr val="000000"/>
            </a:solidFill>
          </p:spPr>
          <p:txBody>
            <a:bodyPr wrap="square" lIns="0" tIns="0" rIns="0" bIns="0" rtlCol="0"/>
            <a:lstStyle/>
            <a:p>
              <a:endParaRPr sz="1828"/>
            </a:p>
          </p:txBody>
        </p:sp>
        <p:pic>
          <p:nvPicPr>
            <p:cNvPr id="59" name="bg object 30">
              <a:extLst>
                <a:ext uri="{FF2B5EF4-FFF2-40B4-BE49-F238E27FC236}">
                  <a16:creationId xmlns:a16="http://schemas.microsoft.com/office/drawing/2014/main" id="{1148227A-975A-9F43-B0D3-60010E8447BE}"/>
                </a:ext>
              </a:extLst>
            </p:cNvPr>
            <p:cNvPicPr/>
            <p:nvPr/>
          </p:nvPicPr>
          <p:blipFill>
            <a:blip r:embed="rId12" cstate="print"/>
            <a:stretch>
              <a:fillRect/>
            </a:stretch>
          </p:blipFill>
          <p:spPr>
            <a:xfrm>
              <a:off x="5521418" y="5985564"/>
              <a:ext cx="141363" cy="81114"/>
            </a:xfrm>
            <a:prstGeom prst="rect">
              <a:avLst/>
            </a:prstGeom>
          </p:spPr>
        </p:pic>
        <p:pic>
          <p:nvPicPr>
            <p:cNvPr id="60" name="bg object 31">
              <a:extLst>
                <a:ext uri="{FF2B5EF4-FFF2-40B4-BE49-F238E27FC236}">
                  <a16:creationId xmlns:a16="http://schemas.microsoft.com/office/drawing/2014/main" id="{5FFC3A14-65FC-7F4C-80CA-9B1B91319A61}"/>
                </a:ext>
              </a:extLst>
            </p:cNvPr>
            <p:cNvPicPr/>
            <p:nvPr/>
          </p:nvPicPr>
          <p:blipFill>
            <a:blip r:embed="rId13" cstate="print"/>
            <a:stretch>
              <a:fillRect/>
            </a:stretch>
          </p:blipFill>
          <p:spPr>
            <a:xfrm>
              <a:off x="5242602" y="5985564"/>
              <a:ext cx="141312" cy="81114"/>
            </a:xfrm>
            <a:prstGeom prst="rect">
              <a:avLst/>
            </a:prstGeom>
          </p:spPr>
        </p:pic>
        <p:sp>
          <p:nvSpPr>
            <p:cNvPr id="61" name="bg object 32">
              <a:extLst>
                <a:ext uri="{FF2B5EF4-FFF2-40B4-BE49-F238E27FC236}">
                  <a16:creationId xmlns:a16="http://schemas.microsoft.com/office/drawing/2014/main" id="{A52A7D0C-F37C-D34F-9FB5-833D9A1EB88F}"/>
                </a:ext>
              </a:extLst>
            </p:cNvPr>
            <p:cNvSpPr/>
            <p:nvPr/>
          </p:nvSpPr>
          <p:spPr>
            <a:xfrm>
              <a:off x="5443266" y="5091718"/>
              <a:ext cx="258445" cy="136525"/>
            </a:xfrm>
            <a:custGeom>
              <a:avLst/>
              <a:gdLst/>
              <a:ahLst/>
              <a:cxnLst/>
              <a:rect l="l" t="t" r="r" b="b"/>
              <a:pathLst>
                <a:path w="258445" h="136525">
                  <a:moveTo>
                    <a:pt x="226184" y="0"/>
                  </a:moveTo>
                  <a:lnTo>
                    <a:pt x="28191" y="55949"/>
                  </a:lnTo>
                  <a:lnTo>
                    <a:pt x="0" y="91556"/>
                  </a:lnTo>
                  <a:lnTo>
                    <a:pt x="1889" y="107765"/>
                  </a:lnTo>
                  <a:lnTo>
                    <a:pt x="9921" y="121995"/>
                  </a:lnTo>
                  <a:lnTo>
                    <a:pt x="22337" y="131687"/>
                  </a:lnTo>
                  <a:lnTo>
                    <a:pt x="37481" y="136010"/>
                  </a:lnTo>
                  <a:lnTo>
                    <a:pt x="53692" y="134131"/>
                  </a:lnTo>
                  <a:lnTo>
                    <a:pt x="234566" y="69703"/>
                  </a:lnTo>
                  <a:lnTo>
                    <a:pt x="246613" y="62529"/>
                  </a:lnTo>
                  <a:lnTo>
                    <a:pt x="254792" y="51701"/>
                  </a:lnTo>
                  <a:lnTo>
                    <a:pt x="258392" y="38607"/>
                  </a:lnTo>
                  <a:lnTo>
                    <a:pt x="256702" y="24631"/>
                  </a:lnTo>
                  <a:lnTo>
                    <a:pt x="249802" y="12358"/>
                  </a:lnTo>
                  <a:lnTo>
                    <a:pt x="239169" y="3914"/>
                  </a:lnTo>
                  <a:lnTo>
                    <a:pt x="226184" y="0"/>
                  </a:lnTo>
                  <a:close/>
                </a:path>
              </a:pathLst>
            </a:custGeom>
            <a:solidFill>
              <a:srgbClr val="000000"/>
            </a:solidFill>
          </p:spPr>
          <p:txBody>
            <a:bodyPr wrap="square" lIns="0" tIns="0" rIns="0" bIns="0" rtlCol="0"/>
            <a:lstStyle/>
            <a:p>
              <a:endParaRPr sz="1828"/>
            </a:p>
          </p:txBody>
        </p:sp>
        <p:pic>
          <p:nvPicPr>
            <p:cNvPr id="62" name="bg object 33">
              <a:extLst>
                <a:ext uri="{FF2B5EF4-FFF2-40B4-BE49-F238E27FC236}">
                  <a16:creationId xmlns:a16="http://schemas.microsoft.com/office/drawing/2014/main" id="{C5F6C2E1-E0F6-8F45-AE43-C03D44F30296}"/>
                </a:ext>
              </a:extLst>
            </p:cNvPr>
            <p:cNvPicPr/>
            <p:nvPr/>
          </p:nvPicPr>
          <p:blipFill>
            <a:blip r:embed="rId14" cstate="print"/>
            <a:stretch>
              <a:fillRect/>
            </a:stretch>
          </p:blipFill>
          <p:spPr>
            <a:xfrm>
              <a:off x="5630870" y="4955335"/>
              <a:ext cx="195664" cy="208888"/>
            </a:xfrm>
            <a:prstGeom prst="rect">
              <a:avLst/>
            </a:prstGeom>
          </p:spPr>
        </p:pic>
        <p:pic>
          <p:nvPicPr>
            <p:cNvPr id="63" name="bg object 34">
              <a:extLst>
                <a:ext uri="{FF2B5EF4-FFF2-40B4-BE49-F238E27FC236}">
                  <a16:creationId xmlns:a16="http://schemas.microsoft.com/office/drawing/2014/main" id="{7AACC29E-BAD2-1C46-A437-A38C4D7B5002}"/>
                </a:ext>
              </a:extLst>
            </p:cNvPr>
            <p:cNvPicPr/>
            <p:nvPr/>
          </p:nvPicPr>
          <p:blipFill>
            <a:blip r:embed="rId15" cstate="print"/>
            <a:stretch>
              <a:fillRect/>
            </a:stretch>
          </p:blipFill>
          <p:spPr>
            <a:xfrm>
              <a:off x="5250002" y="4933618"/>
              <a:ext cx="192553" cy="223654"/>
            </a:xfrm>
            <a:prstGeom prst="rect">
              <a:avLst/>
            </a:prstGeom>
          </p:spPr>
        </p:pic>
      </p:grpSp>
    </p:spTree>
    <p:extLst>
      <p:ext uri="{BB962C8B-B14F-4D97-AF65-F5344CB8AC3E}">
        <p14:creationId xmlns:p14="http://schemas.microsoft.com/office/powerpoint/2010/main" val="228657076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7783795"/>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F24D61-5313-4F14-A557-902DE0AAEE23}"/>
              </a:ext>
            </a:extLst>
          </p:cNvPr>
          <p:cNvSpPr/>
          <p:nvPr userDrawn="1">
            <p:custDataLst>
              <p:tags r:id="rId2"/>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5" name="Title Placeholder 2">
            <a:extLst>
              <a:ext uri="{FF2B5EF4-FFF2-40B4-BE49-F238E27FC236}">
                <a16:creationId xmlns:a16="http://schemas.microsoft.com/office/drawing/2014/main" id="{1CF00FC1-77FF-48FD-8945-D432EB9754D9}"/>
              </a:ext>
            </a:extLst>
          </p:cNvPr>
          <p:cNvSpPr>
            <a:spLocks noGrp="1" noChangeArrowheads="1"/>
          </p:cNvSpPr>
          <p:nvPr>
            <p:ph type="title"/>
          </p:nvPr>
        </p:nvSpPr>
        <p:spPr bwMode="gray">
          <a:xfrm>
            <a:off x="839041" y="283037"/>
            <a:ext cx="1111970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tabLst>
                <a:tab pos="549088" algn="l"/>
              </a:tabLst>
              <a:defRPr/>
            </a:lvl1pPr>
          </a:lstStyle>
          <a:p>
            <a:pPr lvl="0"/>
            <a:r>
              <a:rPr lang="nl-NL" noProof="0" dirty="0"/>
              <a:t>Click to edit Master title style</a:t>
            </a:r>
          </a:p>
        </p:txBody>
      </p:sp>
    </p:spTree>
    <p:extLst>
      <p:ext uri="{BB962C8B-B14F-4D97-AF65-F5344CB8AC3E}">
        <p14:creationId xmlns:p14="http://schemas.microsoft.com/office/powerpoint/2010/main" val="99806615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5BE47-2A2B-43B2-A85F-74DF39EFD07D}"/>
              </a:ext>
            </a:extLst>
          </p:cNvPr>
          <p:cNvGraphicFramePr>
            <a:graphicFrameLocks noChangeAspect="1"/>
          </p:cNvGraphicFramePr>
          <p:nvPr userDrawn="1">
            <p:custDataLst>
              <p:tags r:id="rId1"/>
            </p:custDataLst>
            <p:extLst>
              <p:ext uri="{D42A27DB-BD31-4B8C-83A1-F6EECF244321}">
                <p14:modId xmlns:p14="http://schemas.microsoft.com/office/powerpoint/2010/main" val="3626075901"/>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4" name="Object 3" hidden="1">
                        <a:extLst>
                          <a:ext uri="{FF2B5EF4-FFF2-40B4-BE49-F238E27FC236}">
                            <a16:creationId xmlns:a16="http://schemas.microsoft.com/office/drawing/2014/main" id="{E055BE47-2A2B-43B2-A85F-74DF39EFD07D}"/>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90D1DBB-A7F0-4A4F-96ED-21071423E3AB}"/>
              </a:ext>
            </a:extLst>
          </p:cNvPr>
          <p:cNvSpPr/>
          <p:nvPr userDrawn="1">
            <p:custDataLst>
              <p:tags r:id="rId2"/>
            </p:custDataLst>
          </p:nvPr>
        </p:nvSpPr>
        <p:spPr>
          <a:xfrm>
            <a:off x="0" y="0"/>
            <a:ext cx="161977" cy="16197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2" name="Title 1">
            <a:extLst>
              <a:ext uri="{FF2B5EF4-FFF2-40B4-BE49-F238E27FC236}">
                <a16:creationId xmlns:a16="http://schemas.microsoft.com/office/drawing/2014/main" id="{9734B9BF-C3B0-4969-8EE3-D3897CB3D972}"/>
              </a:ext>
            </a:extLst>
          </p:cNvPr>
          <p:cNvSpPr>
            <a:spLocks noGrp="1"/>
          </p:cNvSpPr>
          <p:nvPr>
            <p:ph type="title"/>
          </p:nvPr>
        </p:nvSpPr>
        <p:spPr/>
        <p:txBody>
          <a:bodyPr/>
          <a:lstStyle/>
          <a:p>
            <a:r>
              <a:rPr lang="nl-NL" dirty="0"/>
              <a:t>Click to edit Master title style</a:t>
            </a:r>
          </a:p>
        </p:txBody>
      </p:sp>
    </p:spTree>
    <p:extLst>
      <p:ext uri="{BB962C8B-B14F-4D97-AF65-F5344CB8AC3E}">
        <p14:creationId xmlns:p14="http://schemas.microsoft.com/office/powerpoint/2010/main" val="127066639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13997685"/>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l-NL" sz="2000" b="0" i="0" baseline="0" dirty="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vert="horz"/>
          <a:lstStyle>
            <a:lvl1pPr rtl="0">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10" name="Text Placeholder 9"/>
          <p:cNvSpPr>
            <a:spLocks noGrp="1"/>
          </p:cNvSpPr>
          <p:nvPr>
            <p:ph type="body" sz="quarter" idx="10" hasCustomPrompt="1"/>
          </p:nvPr>
        </p:nvSpPr>
        <p:spPr>
          <a:xfrm>
            <a:off x="352427" y="57746"/>
            <a:ext cx="5743575" cy="251222"/>
          </a:xfrm>
        </p:spPr>
        <p:txBody>
          <a:bodyPr anchor="ctr"/>
          <a:lstStyle>
            <a:lvl1pPr marL="120598" indent="0" rtl="0">
              <a:buFont typeface="+mj-lt"/>
              <a:buNone/>
              <a:defRPr b="1" baseline="0">
                <a:solidFill>
                  <a:schemeClr val="bg1">
                    <a:lumMod val="50000"/>
                  </a:schemeClr>
                </a:solidFill>
              </a:defRPr>
            </a:lvl1pPr>
            <a:lvl2pPr marL="440636" indent="0">
              <a:buFont typeface="+mj-lt"/>
              <a:buNone/>
              <a:defRPr/>
            </a:lvl2pPr>
            <a:lvl3pPr marL="669234" indent="0">
              <a:buFont typeface="+mj-lt"/>
              <a:buNone/>
              <a:defRPr/>
            </a:lvl3pPr>
            <a:lvl4pPr marL="943552" indent="0">
              <a:buFont typeface="+mj-lt"/>
              <a:buNone/>
              <a:defRPr/>
            </a:lvl4pPr>
            <a:lvl5pPr marL="1172150" indent="0">
              <a:buFont typeface="+mj-lt"/>
              <a:buNone/>
              <a:defRPr/>
            </a:lvl5pPr>
          </a:lstStyle>
          <a:p>
            <a:pPr lvl="0"/>
            <a:r>
              <a:rPr lang="nl-NL" dirty="0"/>
              <a:t>Add chapter or topic heading</a:t>
            </a:r>
          </a:p>
        </p:txBody>
      </p:sp>
      <p:sp>
        <p:nvSpPr>
          <p:cNvPr id="11" name="Text Placeholder 4"/>
          <p:cNvSpPr>
            <a:spLocks noGrp="1"/>
          </p:cNvSpPr>
          <p:nvPr>
            <p:ph type="body" sz="quarter" idx="11" hasCustomPrompt="1"/>
          </p:nvPr>
        </p:nvSpPr>
        <p:spPr>
          <a:xfrm>
            <a:off x="5956302" y="6420551"/>
            <a:ext cx="4244975" cy="123125"/>
          </a:xfrm>
        </p:spPr>
        <p:txBody>
          <a:bodyPr anchor="b"/>
          <a:lstStyle>
            <a:lvl1pPr marL="120598" indent="0" algn="ctr" rtl="0">
              <a:buNone/>
              <a:defRPr sz="800" b="1" baseline="0">
                <a:solidFill>
                  <a:schemeClr val="bg1">
                    <a:lumMod val="50000"/>
                  </a:schemeClr>
                </a:solidFill>
              </a:defRPr>
            </a:lvl1pPr>
            <a:lvl2pPr>
              <a:defRPr sz="800"/>
            </a:lvl2pPr>
            <a:lvl3pPr>
              <a:defRPr sz="800"/>
            </a:lvl3pPr>
            <a:lvl4pPr>
              <a:defRPr sz="800"/>
            </a:lvl4pPr>
            <a:lvl5pPr>
              <a:defRPr sz="800"/>
            </a:lvl5pPr>
          </a:lstStyle>
          <a:p>
            <a:pPr lvl="0"/>
            <a:r>
              <a:rPr lang="nl-NL" dirty="0"/>
              <a:t>1 – 2 – 3 – 4. Chapter name – 5 – 6</a:t>
            </a:r>
          </a:p>
        </p:txBody>
      </p:sp>
    </p:spTree>
    <p:extLst>
      <p:ext uri="{BB962C8B-B14F-4D97-AF65-F5344CB8AC3E}">
        <p14:creationId xmlns:p14="http://schemas.microsoft.com/office/powerpoint/2010/main" val="27877228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solidFill>
                  <a:schemeClr val="tx2"/>
                </a:solidFill>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endParaRPr lang="nl-NL" noProof="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endParaRPr lang="nl-NL" noProof="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endParaRPr lang="nl-NL" noProof="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endParaRPr lang="nl-NL" noProof="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endParaRPr lang="nl-NL" noProof="0"/>
          </a:p>
        </p:txBody>
      </p:sp>
    </p:spTree>
    <p:extLst>
      <p:ext uri="{BB962C8B-B14F-4D97-AF65-F5344CB8AC3E}">
        <p14:creationId xmlns:p14="http://schemas.microsoft.com/office/powerpoint/2010/main" val="1431414151"/>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EA23475-9EC2-4C0C-BE62-D93FA15DA2B5}"/>
              </a:ext>
            </a:extLst>
          </p:cNvPr>
          <p:cNvSpPr/>
          <p:nvPr userDrawn="1">
            <p:custDataLst>
              <p:tags r:id="rId2"/>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5510"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45" name="Rectangle 44">
            <a:extLst>
              <a:ext uri="{FF2B5EF4-FFF2-40B4-BE49-F238E27FC236}">
                <a16:creationId xmlns:a16="http://schemas.microsoft.com/office/drawing/2014/main" id="{E81A223E-4F63-48C8-B290-576BBFF2BC0E}"/>
              </a:ext>
            </a:extLst>
          </p:cNvPr>
          <p:cNvSpPr>
            <a:spLocks/>
          </p:cNvSpPr>
          <p:nvPr userDrawn="1"/>
        </p:nvSpPr>
        <p:spPr bwMode="ltGray">
          <a:xfrm>
            <a:off x="1" y="1"/>
            <a:ext cx="892515"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nl-NL" sz="1837" dirty="0">
              <a:solidFill>
                <a:schemeClr val="tx1"/>
              </a:solidFill>
            </a:endParaRPr>
          </a:p>
        </p:txBody>
      </p:sp>
      <p:sp>
        <p:nvSpPr>
          <p:cNvPr id="9" name="Document type" hidden="1"/>
          <p:cNvSpPr txBox="1">
            <a:spLocks noChangeArrowheads="1"/>
          </p:cNvSpPr>
          <p:nvPr/>
        </p:nvSpPr>
        <p:spPr bwMode="ltGray">
          <a:xfrm>
            <a:off x="1018834" y="5844155"/>
            <a:ext cx="10080491"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nl-NL" sz="1428" baseline="0" noProof="0" dirty="0">
                <a:solidFill>
                  <a:schemeClr val="bg1"/>
                </a:solidFill>
                <a:latin typeface="+mn-lt"/>
              </a:rPr>
              <a:t>Documenttype</a:t>
            </a:r>
          </a:p>
        </p:txBody>
      </p:sp>
      <p:sp>
        <p:nvSpPr>
          <p:cNvPr id="10" name="Date" hidden="1"/>
          <p:cNvSpPr txBox="1">
            <a:spLocks noChangeArrowheads="1"/>
          </p:cNvSpPr>
          <p:nvPr/>
        </p:nvSpPr>
        <p:spPr bwMode="ltGray">
          <a:xfrm>
            <a:off x="1018834" y="6117893"/>
            <a:ext cx="10080491"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nl-NL" sz="1428" baseline="0" noProof="0" dirty="0">
                <a:solidFill>
                  <a:schemeClr val="bg1"/>
                </a:solidFill>
                <a:latin typeface="+mn-lt"/>
              </a:rPr>
              <a:t>Datum</a:t>
            </a:r>
          </a:p>
        </p:txBody>
      </p:sp>
      <p:sp>
        <p:nvSpPr>
          <p:cNvPr id="13314" name="Rectangle 1026"/>
          <p:cNvSpPr>
            <a:spLocks noGrp="1" noChangeArrowheads="1"/>
          </p:cNvSpPr>
          <p:nvPr>
            <p:ph type="ctrTitle"/>
          </p:nvPr>
        </p:nvSpPr>
        <p:spPr bwMode="ltGray">
          <a:xfrm>
            <a:off x="1018834" y="2605299"/>
            <a:ext cx="10080491" cy="847876"/>
          </a:xfrm>
          <a:prstGeom prst="rect">
            <a:avLst/>
          </a:prstGeom>
        </p:spPr>
        <p:txBody>
          <a:bodyPr wrap="square" anchor="b">
            <a:spAutoFit/>
          </a:bodyPr>
          <a:lstStyle>
            <a:lvl1pPr>
              <a:defRPr sz="5510" b="1" kern="1200" baseline="0">
                <a:solidFill>
                  <a:schemeClr val="bg1"/>
                </a:solidFill>
                <a:latin typeface="+mj-lt"/>
                <a:ea typeface="+mj-ea"/>
              </a:defRPr>
            </a:lvl1pPr>
          </a:lstStyle>
          <a:p>
            <a:pPr lvl="0"/>
            <a:r>
              <a:rPr lang="nl-NL" noProof="0" dirty="0"/>
              <a:t>Click to edit Master title style</a:t>
            </a:r>
          </a:p>
        </p:txBody>
      </p:sp>
      <p:sp>
        <p:nvSpPr>
          <p:cNvPr id="13315" name="Rectangle 1027"/>
          <p:cNvSpPr>
            <a:spLocks noGrp="1" noChangeArrowheads="1"/>
          </p:cNvSpPr>
          <p:nvPr>
            <p:ph type="subTitle" idx="1"/>
          </p:nvPr>
        </p:nvSpPr>
        <p:spPr bwMode="ltGray">
          <a:xfrm>
            <a:off x="1018834" y="3600693"/>
            <a:ext cx="10080491" cy="533848"/>
          </a:xfrm>
        </p:spPr>
        <p:txBody>
          <a:bodyPr wrap="square">
            <a:noAutofit/>
          </a:bodyPr>
          <a:lstStyle>
            <a:lvl1pPr>
              <a:defRPr sz="3469" baseline="0">
                <a:solidFill>
                  <a:schemeClr val="bg1"/>
                </a:solidFill>
                <a:latin typeface="+mj-lt"/>
                <a:ea typeface="+mj-ea"/>
              </a:defRPr>
            </a:lvl1pPr>
          </a:lstStyle>
          <a:p>
            <a:pPr lvl="0"/>
            <a:r>
              <a:rPr lang="nl-NL" noProof="0" dirty="0"/>
              <a:t>Click to edit Master subtitle style</a:t>
            </a:r>
          </a:p>
        </p:txBody>
      </p:sp>
      <p:grpSp>
        <p:nvGrpSpPr>
          <p:cNvPr id="43" name="Group 42">
            <a:extLst>
              <a:ext uri="{FF2B5EF4-FFF2-40B4-BE49-F238E27FC236}">
                <a16:creationId xmlns:a16="http://schemas.microsoft.com/office/drawing/2014/main" id="{3DA9FF67-0D51-4D87-B84D-DE1262962156}"/>
              </a:ext>
            </a:extLst>
          </p:cNvPr>
          <p:cNvGrpSpPr/>
          <p:nvPr userDrawn="1"/>
        </p:nvGrpSpPr>
        <p:grpSpPr bwMode="ltGray">
          <a:xfrm>
            <a:off x="1018835" y="127961"/>
            <a:ext cx="1731533" cy="579869"/>
            <a:chOff x="998538" y="125413"/>
            <a:chExt cx="1697038" cy="568325"/>
          </a:xfrm>
        </p:grpSpPr>
        <p:sp>
          <p:nvSpPr>
            <p:cNvPr id="19" name="Freeform 45">
              <a:extLst>
                <a:ext uri="{FF2B5EF4-FFF2-40B4-BE49-F238E27FC236}">
                  <a16:creationId xmlns:a16="http://schemas.microsoft.com/office/drawing/2014/main" id="{3594579E-4C97-4E6E-B5D9-2035222C075C}"/>
                </a:ext>
              </a:extLst>
            </p:cNvPr>
            <p:cNvSpPr>
              <a:spLocks/>
            </p:cNvSpPr>
            <p:nvPr userDrawn="1"/>
          </p:nvSpPr>
          <p:spPr bwMode="ltGray">
            <a:xfrm>
              <a:off x="1011238" y="125413"/>
              <a:ext cx="211138" cy="236538"/>
            </a:xfrm>
            <a:custGeom>
              <a:avLst/>
              <a:gdLst>
                <a:gd name="T0" fmla="*/ 1125 w 1125"/>
                <a:gd name="T1" fmla="*/ 1148 h 1267"/>
                <a:gd name="T2" fmla="*/ 631 w 1125"/>
                <a:gd name="T3" fmla="*/ 1267 h 1267"/>
                <a:gd name="T4" fmla="*/ 0 w 1125"/>
                <a:gd name="T5" fmla="*/ 639 h 1267"/>
                <a:gd name="T6" fmla="*/ 631 w 1125"/>
                <a:gd name="T7" fmla="*/ 0 h 1267"/>
                <a:gd name="T8" fmla="*/ 1102 w 1125"/>
                <a:gd name="T9" fmla="*/ 152 h 1267"/>
                <a:gd name="T10" fmla="*/ 945 w 1125"/>
                <a:gd name="T11" fmla="*/ 312 h 1267"/>
                <a:gd name="T12" fmla="*/ 633 w 1125"/>
                <a:gd name="T13" fmla="*/ 194 h 1267"/>
                <a:gd name="T14" fmla="*/ 223 w 1125"/>
                <a:gd name="T15" fmla="*/ 625 h 1267"/>
                <a:gd name="T16" fmla="*/ 633 w 1125"/>
                <a:gd name="T17" fmla="*/ 1073 h 1267"/>
                <a:gd name="T18" fmla="*/ 913 w 1125"/>
                <a:gd name="T19" fmla="*/ 1010 h 1267"/>
                <a:gd name="T20" fmla="*/ 913 w 1125"/>
                <a:gd name="T21" fmla="*/ 726 h 1267"/>
                <a:gd name="T22" fmla="*/ 669 w 1125"/>
                <a:gd name="T23" fmla="*/ 726 h 1267"/>
                <a:gd name="T24" fmla="*/ 669 w 1125"/>
                <a:gd name="T25" fmla="*/ 532 h 1267"/>
                <a:gd name="T26" fmla="*/ 1125 w 1125"/>
                <a:gd name="T27" fmla="*/ 532 h 1267"/>
                <a:gd name="T28" fmla="*/ 1125 w 1125"/>
                <a:gd name="T29" fmla="*/ 1148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5" h="1267">
                  <a:moveTo>
                    <a:pt x="1125" y="1148"/>
                  </a:moveTo>
                  <a:cubicBezTo>
                    <a:pt x="981" y="1227"/>
                    <a:pt x="815" y="1267"/>
                    <a:pt x="631" y="1267"/>
                  </a:cubicBezTo>
                  <a:cubicBezTo>
                    <a:pt x="263" y="1267"/>
                    <a:pt x="0" y="1015"/>
                    <a:pt x="0" y="639"/>
                  </a:cubicBezTo>
                  <a:cubicBezTo>
                    <a:pt x="0" y="252"/>
                    <a:pt x="263" y="0"/>
                    <a:pt x="631" y="0"/>
                  </a:cubicBezTo>
                  <a:cubicBezTo>
                    <a:pt x="813" y="0"/>
                    <a:pt x="977" y="39"/>
                    <a:pt x="1102" y="152"/>
                  </a:cubicBezTo>
                  <a:cubicBezTo>
                    <a:pt x="945" y="312"/>
                    <a:pt x="945" y="312"/>
                    <a:pt x="945" y="312"/>
                  </a:cubicBezTo>
                  <a:cubicBezTo>
                    <a:pt x="869" y="237"/>
                    <a:pt x="752" y="194"/>
                    <a:pt x="633" y="194"/>
                  </a:cubicBezTo>
                  <a:cubicBezTo>
                    <a:pt x="387" y="194"/>
                    <a:pt x="223" y="385"/>
                    <a:pt x="223" y="625"/>
                  </a:cubicBezTo>
                  <a:cubicBezTo>
                    <a:pt x="223" y="882"/>
                    <a:pt x="387" y="1073"/>
                    <a:pt x="633" y="1073"/>
                  </a:cubicBezTo>
                  <a:cubicBezTo>
                    <a:pt x="741" y="1073"/>
                    <a:pt x="839" y="1053"/>
                    <a:pt x="913" y="1010"/>
                  </a:cubicBezTo>
                  <a:cubicBezTo>
                    <a:pt x="913" y="726"/>
                    <a:pt x="913" y="726"/>
                    <a:pt x="913" y="726"/>
                  </a:cubicBezTo>
                  <a:cubicBezTo>
                    <a:pt x="669" y="726"/>
                    <a:pt x="669" y="726"/>
                    <a:pt x="669" y="726"/>
                  </a:cubicBezTo>
                  <a:cubicBezTo>
                    <a:pt x="669" y="532"/>
                    <a:pt x="669" y="532"/>
                    <a:pt x="669" y="532"/>
                  </a:cubicBezTo>
                  <a:cubicBezTo>
                    <a:pt x="1125" y="532"/>
                    <a:pt x="1125" y="532"/>
                    <a:pt x="1125" y="532"/>
                  </a:cubicBezTo>
                  <a:lnTo>
                    <a:pt x="1125" y="114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0" name="Freeform 46">
              <a:extLst>
                <a:ext uri="{FF2B5EF4-FFF2-40B4-BE49-F238E27FC236}">
                  <a16:creationId xmlns:a16="http://schemas.microsoft.com/office/drawing/2014/main" id="{F032D30D-15CF-4E12-8402-F1C574D25FE7}"/>
                </a:ext>
              </a:extLst>
            </p:cNvPr>
            <p:cNvSpPr>
              <a:spLocks noEditPoints="1"/>
            </p:cNvSpPr>
            <p:nvPr userDrawn="1"/>
          </p:nvSpPr>
          <p:spPr bwMode="ltGray">
            <a:xfrm>
              <a:off x="1258888" y="200025"/>
              <a:ext cx="155575" cy="160338"/>
            </a:xfrm>
            <a:custGeom>
              <a:avLst/>
              <a:gdLst>
                <a:gd name="T0" fmla="*/ 204 w 825"/>
                <a:gd name="T1" fmla="*/ 501 h 858"/>
                <a:gd name="T2" fmla="*/ 423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4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08" y="695"/>
                    <a:pt x="423"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8"/>
                    <a:pt x="542" y="153"/>
                    <a:pt x="414" y="153"/>
                  </a:cubicBezTo>
                  <a:cubicBezTo>
                    <a:pt x="293"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1" name="Freeform 47">
              <a:extLst>
                <a:ext uri="{FF2B5EF4-FFF2-40B4-BE49-F238E27FC236}">
                  <a16:creationId xmlns:a16="http://schemas.microsoft.com/office/drawing/2014/main" id="{62181A78-9679-473A-A970-452B7964DC86}"/>
                </a:ext>
              </a:extLst>
            </p:cNvPr>
            <p:cNvSpPr>
              <a:spLocks/>
            </p:cNvSpPr>
            <p:nvPr userDrawn="1"/>
          </p:nvSpPr>
          <p:spPr bwMode="ltGray">
            <a:xfrm>
              <a:off x="1447800" y="200025"/>
              <a:ext cx="236538" cy="155575"/>
            </a:xfrm>
            <a:custGeom>
              <a:avLst/>
              <a:gdLst>
                <a:gd name="T0" fmla="*/ 0 w 1259"/>
                <a:gd name="T1" fmla="*/ 20 h 833"/>
                <a:gd name="T2" fmla="*/ 193 w 1259"/>
                <a:gd name="T3" fmla="*/ 20 h 833"/>
                <a:gd name="T4" fmla="*/ 193 w 1259"/>
                <a:gd name="T5" fmla="*/ 148 h 833"/>
                <a:gd name="T6" fmla="*/ 197 w 1259"/>
                <a:gd name="T7" fmla="*/ 148 h 833"/>
                <a:gd name="T8" fmla="*/ 445 w 1259"/>
                <a:gd name="T9" fmla="*/ 0 h 833"/>
                <a:gd name="T10" fmla="*/ 699 w 1259"/>
                <a:gd name="T11" fmla="*/ 151 h 833"/>
                <a:gd name="T12" fmla="*/ 966 w 1259"/>
                <a:gd name="T13" fmla="*/ 0 h 833"/>
                <a:gd name="T14" fmla="*/ 1259 w 1259"/>
                <a:gd name="T15" fmla="*/ 349 h 833"/>
                <a:gd name="T16" fmla="*/ 1259 w 1259"/>
                <a:gd name="T17" fmla="*/ 833 h 833"/>
                <a:gd name="T18" fmla="*/ 1056 w 1259"/>
                <a:gd name="T19" fmla="*/ 833 h 833"/>
                <a:gd name="T20" fmla="*/ 1056 w 1259"/>
                <a:gd name="T21" fmla="*/ 372 h 833"/>
                <a:gd name="T22" fmla="*/ 905 w 1259"/>
                <a:gd name="T23" fmla="*/ 183 h 833"/>
                <a:gd name="T24" fmla="*/ 731 w 1259"/>
                <a:gd name="T25" fmla="*/ 393 h 833"/>
                <a:gd name="T26" fmla="*/ 731 w 1259"/>
                <a:gd name="T27" fmla="*/ 833 h 833"/>
                <a:gd name="T28" fmla="*/ 528 w 1259"/>
                <a:gd name="T29" fmla="*/ 833 h 833"/>
                <a:gd name="T30" fmla="*/ 528 w 1259"/>
                <a:gd name="T31" fmla="*/ 349 h 833"/>
                <a:gd name="T32" fmla="*/ 389 w 1259"/>
                <a:gd name="T33" fmla="*/ 183 h 833"/>
                <a:gd name="T34" fmla="*/ 204 w 1259"/>
                <a:gd name="T35" fmla="*/ 390 h 833"/>
                <a:gd name="T36" fmla="*/ 204 w 1259"/>
                <a:gd name="T37" fmla="*/ 833 h 833"/>
                <a:gd name="T38" fmla="*/ 0 w 1259"/>
                <a:gd name="T39" fmla="*/ 833 h 833"/>
                <a:gd name="T40" fmla="*/ 0 w 1259"/>
                <a:gd name="T41" fmla="*/ 2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9" h="833">
                  <a:moveTo>
                    <a:pt x="0" y="20"/>
                  </a:moveTo>
                  <a:cubicBezTo>
                    <a:pt x="193" y="20"/>
                    <a:pt x="193" y="20"/>
                    <a:pt x="193" y="20"/>
                  </a:cubicBezTo>
                  <a:cubicBezTo>
                    <a:pt x="193" y="148"/>
                    <a:pt x="193" y="148"/>
                    <a:pt x="193" y="148"/>
                  </a:cubicBezTo>
                  <a:cubicBezTo>
                    <a:pt x="197" y="148"/>
                    <a:pt x="197" y="148"/>
                    <a:pt x="197" y="148"/>
                  </a:cubicBezTo>
                  <a:cubicBezTo>
                    <a:pt x="232" y="72"/>
                    <a:pt x="310" y="0"/>
                    <a:pt x="445" y="0"/>
                  </a:cubicBezTo>
                  <a:cubicBezTo>
                    <a:pt x="570" y="0"/>
                    <a:pt x="656" y="49"/>
                    <a:pt x="699" y="151"/>
                  </a:cubicBezTo>
                  <a:cubicBezTo>
                    <a:pt x="758" y="47"/>
                    <a:pt x="844" y="0"/>
                    <a:pt x="966" y="0"/>
                  </a:cubicBezTo>
                  <a:cubicBezTo>
                    <a:pt x="1183" y="0"/>
                    <a:pt x="1259" y="155"/>
                    <a:pt x="1259" y="349"/>
                  </a:cubicBezTo>
                  <a:cubicBezTo>
                    <a:pt x="1259" y="833"/>
                    <a:pt x="1259" y="833"/>
                    <a:pt x="1259" y="833"/>
                  </a:cubicBezTo>
                  <a:cubicBezTo>
                    <a:pt x="1056" y="833"/>
                    <a:pt x="1056" y="833"/>
                    <a:pt x="1056" y="833"/>
                  </a:cubicBezTo>
                  <a:cubicBezTo>
                    <a:pt x="1056" y="372"/>
                    <a:pt x="1056" y="372"/>
                    <a:pt x="1056" y="372"/>
                  </a:cubicBezTo>
                  <a:cubicBezTo>
                    <a:pt x="1056" y="271"/>
                    <a:pt x="1025" y="183"/>
                    <a:pt x="905" y="183"/>
                  </a:cubicBezTo>
                  <a:cubicBezTo>
                    <a:pt x="778" y="183"/>
                    <a:pt x="731" y="288"/>
                    <a:pt x="731" y="393"/>
                  </a:cubicBezTo>
                  <a:cubicBezTo>
                    <a:pt x="731" y="833"/>
                    <a:pt x="731" y="833"/>
                    <a:pt x="731" y="833"/>
                  </a:cubicBezTo>
                  <a:cubicBezTo>
                    <a:pt x="528" y="833"/>
                    <a:pt x="528" y="833"/>
                    <a:pt x="528" y="833"/>
                  </a:cubicBezTo>
                  <a:cubicBezTo>
                    <a:pt x="528" y="349"/>
                    <a:pt x="528" y="349"/>
                    <a:pt x="528" y="349"/>
                  </a:cubicBezTo>
                  <a:cubicBezTo>
                    <a:pt x="528" y="249"/>
                    <a:pt x="487" y="183"/>
                    <a:pt x="389" y="183"/>
                  </a:cubicBezTo>
                  <a:cubicBezTo>
                    <a:pt x="256" y="183"/>
                    <a:pt x="204" y="281"/>
                    <a:pt x="204" y="390"/>
                  </a:cubicBezTo>
                  <a:cubicBezTo>
                    <a:pt x="204" y="833"/>
                    <a:pt x="204" y="833"/>
                    <a:pt x="204" y="833"/>
                  </a:cubicBezTo>
                  <a:cubicBezTo>
                    <a:pt x="0" y="833"/>
                    <a:pt x="0" y="833"/>
                    <a:pt x="0" y="833"/>
                  </a:cubicBezTo>
                  <a:lnTo>
                    <a:pt x="0" y="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2" name="Freeform 48">
              <a:extLst>
                <a:ext uri="{FF2B5EF4-FFF2-40B4-BE49-F238E27FC236}">
                  <a16:creationId xmlns:a16="http://schemas.microsoft.com/office/drawing/2014/main" id="{0C7F4442-2C2D-4A55-8C64-21A57A1756DF}"/>
                </a:ext>
              </a:extLst>
            </p:cNvPr>
            <p:cNvSpPr>
              <a:spLocks noEditPoints="1"/>
            </p:cNvSpPr>
            <p:nvPr userDrawn="1"/>
          </p:nvSpPr>
          <p:spPr bwMode="ltGray">
            <a:xfrm>
              <a:off x="1717675" y="200025"/>
              <a:ext cx="153988" cy="160338"/>
            </a:xfrm>
            <a:custGeom>
              <a:avLst/>
              <a:gdLst>
                <a:gd name="T0" fmla="*/ 204 w 825"/>
                <a:gd name="T1" fmla="*/ 501 h 858"/>
                <a:gd name="T2" fmla="*/ 423 w 825"/>
                <a:gd name="T3" fmla="*/ 695 h 858"/>
                <a:gd name="T4" fmla="*/ 642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5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10" y="695"/>
                    <a:pt x="423" y="695"/>
                  </a:cubicBezTo>
                  <a:cubicBezTo>
                    <a:pt x="525" y="695"/>
                    <a:pt x="591" y="647"/>
                    <a:pt x="642"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8"/>
                    <a:pt x="542" y="153"/>
                    <a:pt x="415" y="153"/>
                  </a:cubicBezTo>
                  <a:cubicBezTo>
                    <a:pt x="294"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3" name="Freeform 49">
              <a:extLst>
                <a:ext uri="{FF2B5EF4-FFF2-40B4-BE49-F238E27FC236}">
                  <a16:creationId xmlns:a16="http://schemas.microsoft.com/office/drawing/2014/main" id="{E708E535-9F33-4B32-AF3A-89677DD5E41B}"/>
                </a:ext>
              </a:extLst>
            </p:cNvPr>
            <p:cNvSpPr>
              <a:spLocks noEditPoints="1"/>
            </p:cNvSpPr>
            <p:nvPr userDrawn="1"/>
          </p:nvSpPr>
          <p:spPr bwMode="ltGray">
            <a:xfrm>
              <a:off x="1900238" y="200025"/>
              <a:ext cx="153988" cy="160338"/>
            </a:xfrm>
            <a:custGeom>
              <a:avLst/>
              <a:gdLst>
                <a:gd name="T0" fmla="*/ 204 w 825"/>
                <a:gd name="T1" fmla="*/ 501 h 858"/>
                <a:gd name="T2" fmla="*/ 422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4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08" y="695"/>
                    <a:pt x="422"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19" y="228"/>
                    <a:pt x="542" y="153"/>
                    <a:pt x="414" y="153"/>
                  </a:cubicBezTo>
                  <a:cubicBezTo>
                    <a:pt x="293"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4" name="Freeform 50">
              <a:extLst>
                <a:ext uri="{FF2B5EF4-FFF2-40B4-BE49-F238E27FC236}">
                  <a16:creationId xmlns:a16="http://schemas.microsoft.com/office/drawing/2014/main" id="{8850C9E0-7F66-4B6F-A5E3-B030EA899A8C}"/>
                </a:ext>
              </a:extLst>
            </p:cNvPr>
            <p:cNvSpPr>
              <a:spLocks/>
            </p:cNvSpPr>
            <p:nvPr userDrawn="1"/>
          </p:nvSpPr>
          <p:spPr bwMode="ltGray">
            <a:xfrm>
              <a:off x="2089150" y="200025"/>
              <a:ext cx="139700" cy="155575"/>
            </a:xfrm>
            <a:custGeom>
              <a:avLst/>
              <a:gdLst>
                <a:gd name="T0" fmla="*/ 0 w 750"/>
                <a:gd name="T1" fmla="*/ 20 h 833"/>
                <a:gd name="T2" fmla="*/ 195 w 750"/>
                <a:gd name="T3" fmla="*/ 20 h 833"/>
                <a:gd name="T4" fmla="*/ 195 w 750"/>
                <a:gd name="T5" fmla="*/ 151 h 833"/>
                <a:gd name="T6" fmla="*/ 199 w 750"/>
                <a:gd name="T7" fmla="*/ 151 h 833"/>
                <a:gd name="T8" fmla="*/ 450 w 750"/>
                <a:gd name="T9" fmla="*/ 0 h 833"/>
                <a:gd name="T10" fmla="*/ 750 w 750"/>
                <a:gd name="T11" fmla="*/ 320 h 833"/>
                <a:gd name="T12" fmla="*/ 750 w 750"/>
                <a:gd name="T13" fmla="*/ 833 h 833"/>
                <a:gd name="T14" fmla="*/ 545 w 750"/>
                <a:gd name="T15" fmla="*/ 833 h 833"/>
                <a:gd name="T16" fmla="*/ 545 w 750"/>
                <a:gd name="T17" fmla="*/ 421 h 833"/>
                <a:gd name="T18" fmla="*/ 394 w 750"/>
                <a:gd name="T19" fmla="*/ 183 h 833"/>
                <a:gd name="T20" fmla="*/ 206 w 750"/>
                <a:gd name="T21" fmla="*/ 390 h 833"/>
                <a:gd name="T22" fmla="*/ 206 w 750"/>
                <a:gd name="T23" fmla="*/ 833 h 833"/>
                <a:gd name="T24" fmla="*/ 0 w 750"/>
                <a:gd name="T25" fmla="*/ 833 h 833"/>
                <a:gd name="T26" fmla="*/ 0 w 750"/>
                <a:gd name="T27" fmla="*/ 2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0" h="833">
                  <a:moveTo>
                    <a:pt x="0" y="20"/>
                  </a:moveTo>
                  <a:cubicBezTo>
                    <a:pt x="195" y="20"/>
                    <a:pt x="195" y="20"/>
                    <a:pt x="195" y="20"/>
                  </a:cubicBezTo>
                  <a:cubicBezTo>
                    <a:pt x="195" y="151"/>
                    <a:pt x="195" y="151"/>
                    <a:pt x="195" y="151"/>
                  </a:cubicBezTo>
                  <a:cubicBezTo>
                    <a:pt x="199" y="151"/>
                    <a:pt x="199" y="151"/>
                    <a:pt x="199" y="151"/>
                  </a:cubicBezTo>
                  <a:cubicBezTo>
                    <a:pt x="237" y="69"/>
                    <a:pt x="313" y="0"/>
                    <a:pt x="450" y="0"/>
                  </a:cubicBezTo>
                  <a:cubicBezTo>
                    <a:pt x="671" y="0"/>
                    <a:pt x="750" y="155"/>
                    <a:pt x="750" y="320"/>
                  </a:cubicBezTo>
                  <a:cubicBezTo>
                    <a:pt x="750" y="833"/>
                    <a:pt x="750" y="833"/>
                    <a:pt x="750" y="833"/>
                  </a:cubicBezTo>
                  <a:cubicBezTo>
                    <a:pt x="545" y="833"/>
                    <a:pt x="545" y="833"/>
                    <a:pt x="545" y="833"/>
                  </a:cubicBezTo>
                  <a:cubicBezTo>
                    <a:pt x="545" y="421"/>
                    <a:pt x="545" y="421"/>
                    <a:pt x="545" y="421"/>
                  </a:cubicBezTo>
                  <a:cubicBezTo>
                    <a:pt x="545" y="333"/>
                    <a:pt x="538" y="183"/>
                    <a:pt x="394" y="183"/>
                  </a:cubicBezTo>
                  <a:cubicBezTo>
                    <a:pt x="259" y="183"/>
                    <a:pt x="206" y="281"/>
                    <a:pt x="206" y="390"/>
                  </a:cubicBezTo>
                  <a:cubicBezTo>
                    <a:pt x="206" y="833"/>
                    <a:pt x="206" y="833"/>
                    <a:pt x="206" y="833"/>
                  </a:cubicBezTo>
                  <a:cubicBezTo>
                    <a:pt x="0" y="833"/>
                    <a:pt x="0" y="833"/>
                    <a:pt x="0" y="833"/>
                  </a:cubicBezTo>
                  <a:lnTo>
                    <a:pt x="0" y="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5" name="Freeform 51">
              <a:extLst>
                <a:ext uri="{FF2B5EF4-FFF2-40B4-BE49-F238E27FC236}">
                  <a16:creationId xmlns:a16="http://schemas.microsoft.com/office/drawing/2014/main" id="{5E7243FB-D22C-4780-A2BD-2B0FE0EBDE84}"/>
                </a:ext>
              </a:extLst>
            </p:cNvPr>
            <p:cNvSpPr>
              <a:spLocks/>
            </p:cNvSpPr>
            <p:nvPr userDrawn="1"/>
          </p:nvSpPr>
          <p:spPr bwMode="ltGray">
            <a:xfrm>
              <a:off x="2254250" y="158750"/>
              <a:ext cx="111125" cy="201613"/>
            </a:xfrm>
            <a:custGeom>
              <a:avLst/>
              <a:gdLst>
                <a:gd name="T0" fmla="*/ 0 w 591"/>
                <a:gd name="T1" fmla="*/ 411 h 1075"/>
                <a:gd name="T2" fmla="*/ 0 w 591"/>
                <a:gd name="T3" fmla="*/ 237 h 1075"/>
                <a:gd name="T4" fmla="*/ 166 w 591"/>
                <a:gd name="T5" fmla="*/ 237 h 1075"/>
                <a:gd name="T6" fmla="*/ 166 w 591"/>
                <a:gd name="T7" fmla="*/ 0 h 1075"/>
                <a:gd name="T8" fmla="*/ 369 w 591"/>
                <a:gd name="T9" fmla="*/ 0 h 1075"/>
                <a:gd name="T10" fmla="*/ 369 w 591"/>
                <a:gd name="T11" fmla="*/ 237 h 1075"/>
                <a:gd name="T12" fmla="*/ 591 w 591"/>
                <a:gd name="T13" fmla="*/ 237 h 1075"/>
                <a:gd name="T14" fmla="*/ 591 w 591"/>
                <a:gd name="T15" fmla="*/ 411 h 1075"/>
                <a:gd name="T16" fmla="*/ 369 w 591"/>
                <a:gd name="T17" fmla="*/ 411 h 1075"/>
                <a:gd name="T18" fmla="*/ 369 w 591"/>
                <a:gd name="T19" fmla="*/ 769 h 1075"/>
                <a:gd name="T20" fmla="*/ 482 w 591"/>
                <a:gd name="T21" fmla="*/ 901 h 1075"/>
                <a:gd name="T22" fmla="*/ 591 w 591"/>
                <a:gd name="T23" fmla="*/ 876 h 1075"/>
                <a:gd name="T24" fmla="*/ 591 w 591"/>
                <a:gd name="T25" fmla="*/ 1048 h 1075"/>
                <a:gd name="T26" fmla="*/ 432 w 591"/>
                <a:gd name="T27" fmla="*/ 1075 h 1075"/>
                <a:gd name="T28" fmla="*/ 166 w 591"/>
                <a:gd name="T29" fmla="*/ 786 h 1075"/>
                <a:gd name="T30" fmla="*/ 166 w 591"/>
                <a:gd name="T31" fmla="*/ 411 h 1075"/>
                <a:gd name="T32" fmla="*/ 0 w 591"/>
                <a:gd name="T33" fmla="*/ 411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1" h="1075">
                  <a:moveTo>
                    <a:pt x="0" y="411"/>
                  </a:moveTo>
                  <a:cubicBezTo>
                    <a:pt x="0" y="237"/>
                    <a:pt x="0" y="237"/>
                    <a:pt x="0" y="237"/>
                  </a:cubicBezTo>
                  <a:cubicBezTo>
                    <a:pt x="166" y="237"/>
                    <a:pt x="166" y="237"/>
                    <a:pt x="166" y="237"/>
                  </a:cubicBezTo>
                  <a:cubicBezTo>
                    <a:pt x="166" y="0"/>
                    <a:pt x="166" y="0"/>
                    <a:pt x="166" y="0"/>
                  </a:cubicBezTo>
                  <a:cubicBezTo>
                    <a:pt x="369" y="0"/>
                    <a:pt x="369" y="0"/>
                    <a:pt x="369" y="0"/>
                  </a:cubicBezTo>
                  <a:cubicBezTo>
                    <a:pt x="369" y="237"/>
                    <a:pt x="369" y="237"/>
                    <a:pt x="369" y="237"/>
                  </a:cubicBezTo>
                  <a:cubicBezTo>
                    <a:pt x="591" y="237"/>
                    <a:pt x="591" y="237"/>
                    <a:pt x="591" y="237"/>
                  </a:cubicBezTo>
                  <a:cubicBezTo>
                    <a:pt x="591" y="411"/>
                    <a:pt x="591" y="411"/>
                    <a:pt x="591" y="411"/>
                  </a:cubicBezTo>
                  <a:cubicBezTo>
                    <a:pt x="369" y="411"/>
                    <a:pt x="369" y="411"/>
                    <a:pt x="369" y="411"/>
                  </a:cubicBezTo>
                  <a:cubicBezTo>
                    <a:pt x="369" y="769"/>
                    <a:pt x="369" y="769"/>
                    <a:pt x="369" y="769"/>
                  </a:cubicBezTo>
                  <a:cubicBezTo>
                    <a:pt x="369" y="851"/>
                    <a:pt x="392" y="901"/>
                    <a:pt x="482" y="901"/>
                  </a:cubicBezTo>
                  <a:cubicBezTo>
                    <a:pt x="517" y="901"/>
                    <a:pt x="566" y="894"/>
                    <a:pt x="591" y="876"/>
                  </a:cubicBezTo>
                  <a:cubicBezTo>
                    <a:pt x="591" y="1048"/>
                    <a:pt x="591" y="1048"/>
                    <a:pt x="591" y="1048"/>
                  </a:cubicBezTo>
                  <a:cubicBezTo>
                    <a:pt x="550" y="1068"/>
                    <a:pt x="478" y="1075"/>
                    <a:pt x="432" y="1075"/>
                  </a:cubicBezTo>
                  <a:cubicBezTo>
                    <a:pt x="216" y="1075"/>
                    <a:pt x="166" y="978"/>
                    <a:pt x="166" y="786"/>
                  </a:cubicBezTo>
                  <a:cubicBezTo>
                    <a:pt x="166" y="411"/>
                    <a:pt x="166" y="411"/>
                    <a:pt x="166" y="411"/>
                  </a:cubicBezTo>
                  <a:lnTo>
                    <a:pt x="0" y="41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6" name="Freeform 52">
              <a:extLst>
                <a:ext uri="{FF2B5EF4-FFF2-40B4-BE49-F238E27FC236}">
                  <a16:creationId xmlns:a16="http://schemas.microsoft.com/office/drawing/2014/main" id="{6E9E2EC8-D504-4CF1-B77E-DDBDE4017BF5}"/>
                </a:ext>
              </a:extLst>
            </p:cNvPr>
            <p:cNvSpPr>
              <a:spLocks noEditPoints="1"/>
            </p:cNvSpPr>
            <p:nvPr userDrawn="1"/>
          </p:nvSpPr>
          <p:spPr bwMode="ltGray">
            <a:xfrm>
              <a:off x="2387600" y="200025"/>
              <a:ext cx="155575" cy="160338"/>
            </a:xfrm>
            <a:custGeom>
              <a:avLst/>
              <a:gdLst>
                <a:gd name="T0" fmla="*/ 203 w 825"/>
                <a:gd name="T1" fmla="*/ 501 h 858"/>
                <a:gd name="T2" fmla="*/ 422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3 w 825"/>
                <a:gd name="T19" fmla="*/ 501 h 858"/>
                <a:gd name="T20" fmla="*/ 622 w 825"/>
                <a:gd name="T21" fmla="*/ 347 h 858"/>
                <a:gd name="T22" fmla="*/ 414 w 825"/>
                <a:gd name="T23" fmla="*/ 153 h 858"/>
                <a:gd name="T24" fmla="*/ 203 w 825"/>
                <a:gd name="T25" fmla="*/ 347 h 858"/>
                <a:gd name="T26" fmla="*/ 622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3" y="501"/>
                  </a:moveTo>
                  <a:cubicBezTo>
                    <a:pt x="217" y="621"/>
                    <a:pt x="309" y="695"/>
                    <a:pt x="422"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1" y="0"/>
                    <a:pt x="825" y="160"/>
                    <a:pt x="825" y="445"/>
                  </a:cubicBezTo>
                  <a:cubicBezTo>
                    <a:pt x="825" y="501"/>
                    <a:pt x="825" y="501"/>
                    <a:pt x="825" y="501"/>
                  </a:cubicBezTo>
                  <a:lnTo>
                    <a:pt x="203" y="501"/>
                  </a:lnTo>
                  <a:close/>
                  <a:moveTo>
                    <a:pt x="622" y="347"/>
                  </a:moveTo>
                  <a:cubicBezTo>
                    <a:pt x="619" y="228"/>
                    <a:pt x="542" y="153"/>
                    <a:pt x="414" y="153"/>
                  </a:cubicBezTo>
                  <a:cubicBezTo>
                    <a:pt x="293" y="153"/>
                    <a:pt x="218" y="229"/>
                    <a:pt x="203" y="347"/>
                  </a:cubicBezTo>
                  <a:lnTo>
                    <a:pt x="622"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7" name="Freeform 53">
              <a:extLst>
                <a:ext uri="{FF2B5EF4-FFF2-40B4-BE49-F238E27FC236}">
                  <a16:creationId xmlns:a16="http://schemas.microsoft.com/office/drawing/2014/main" id="{8A66AFFE-C1AF-4BF3-961F-5537D56D006C}"/>
                </a:ext>
              </a:extLst>
            </p:cNvPr>
            <p:cNvSpPr>
              <a:spLocks noEditPoints="1"/>
            </p:cNvSpPr>
            <p:nvPr userDrawn="1"/>
          </p:nvSpPr>
          <p:spPr bwMode="ltGray">
            <a:xfrm>
              <a:off x="998538" y="465138"/>
              <a:ext cx="228600" cy="225425"/>
            </a:xfrm>
            <a:custGeom>
              <a:avLst/>
              <a:gdLst>
                <a:gd name="T0" fmla="*/ 61 w 144"/>
                <a:gd name="T1" fmla="*/ 0 h 142"/>
                <a:gd name="T2" fmla="*/ 83 w 144"/>
                <a:gd name="T3" fmla="*/ 0 h 142"/>
                <a:gd name="T4" fmla="*/ 144 w 144"/>
                <a:gd name="T5" fmla="*/ 142 h 142"/>
                <a:gd name="T6" fmla="*/ 115 w 144"/>
                <a:gd name="T7" fmla="*/ 142 h 142"/>
                <a:gd name="T8" fmla="*/ 103 w 144"/>
                <a:gd name="T9" fmla="*/ 109 h 142"/>
                <a:gd name="T10" fmla="*/ 41 w 144"/>
                <a:gd name="T11" fmla="*/ 109 h 142"/>
                <a:gd name="T12" fmla="*/ 28 w 144"/>
                <a:gd name="T13" fmla="*/ 142 h 142"/>
                <a:gd name="T14" fmla="*/ 0 w 144"/>
                <a:gd name="T15" fmla="*/ 142 h 142"/>
                <a:gd name="T16" fmla="*/ 61 w 144"/>
                <a:gd name="T17" fmla="*/ 0 h 142"/>
                <a:gd name="T18" fmla="*/ 94 w 144"/>
                <a:gd name="T19" fmla="*/ 88 h 142"/>
                <a:gd name="T20" fmla="*/ 72 w 144"/>
                <a:gd name="T21" fmla="*/ 30 h 142"/>
                <a:gd name="T22" fmla="*/ 50 w 144"/>
                <a:gd name="T23" fmla="*/ 88 h 142"/>
                <a:gd name="T24" fmla="*/ 94 w 144"/>
                <a:gd name="T25" fmla="*/ 8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42">
                  <a:moveTo>
                    <a:pt x="61" y="0"/>
                  </a:moveTo>
                  <a:lnTo>
                    <a:pt x="83" y="0"/>
                  </a:lnTo>
                  <a:lnTo>
                    <a:pt x="144" y="142"/>
                  </a:lnTo>
                  <a:lnTo>
                    <a:pt x="115" y="142"/>
                  </a:lnTo>
                  <a:lnTo>
                    <a:pt x="103" y="109"/>
                  </a:lnTo>
                  <a:lnTo>
                    <a:pt x="41" y="109"/>
                  </a:lnTo>
                  <a:lnTo>
                    <a:pt x="28" y="142"/>
                  </a:lnTo>
                  <a:lnTo>
                    <a:pt x="0" y="142"/>
                  </a:lnTo>
                  <a:lnTo>
                    <a:pt x="61" y="0"/>
                  </a:lnTo>
                  <a:close/>
                  <a:moveTo>
                    <a:pt x="94" y="88"/>
                  </a:moveTo>
                  <a:lnTo>
                    <a:pt x="72" y="30"/>
                  </a:lnTo>
                  <a:lnTo>
                    <a:pt x="50" y="88"/>
                  </a:lnTo>
                  <a:lnTo>
                    <a:pt x="94" y="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8" name="Freeform 54">
              <a:extLst>
                <a:ext uri="{FF2B5EF4-FFF2-40B4-BE49-F238E27FC236}">
                  <a16:creationId xmlns:a16="http://schemas.microsoft.com/office/drawing/2014/main" id="{EC606987-D892-4CD1-9A72-6B9C2DC29614}"/>
                </a:ext>
              </a:extLst>
            </p:cNvPr>
            <p:cNvSpPr>
              <a:spLocks/>
            </p:cNvSpPr>
            <p:nvPr userDrawn="1"/>
          </p:nvSpPr>
          <p:spPr bwMode="ltGray">
            <a:xfrm>
              <a:off x="1247775" y="533400"/>
              <a:ext cx="236538" cy="157163"/>
            </a:xfrm>
            <a:custGeom>
              <a:avLst/>
              <a:gdLst>
                <a:gd name="T0" fmla="*/ 0 w 1267"/>
                <a:gd name="T1" fmla="*/ 21 h 842"/>
                <a:gd name="T2" fmla="*/ 194 w 1267"/>
                <a:gd name="T3" fmla="*/ 21 h 842"/>
                <a:gd name="T4" fmla="*/ 194 w 1267"/>
                <a:gd name="T5" fmla="*/ 149 h 842"/>
                <a:gd name="T6" fmla="*/ 198 w 1267"/>
                <a:gd name="T7" fmla="*/ 149 h 842"/>
                <a:gd name="T8" fmla="*/ 448 w 1267"/>
                <a:gd name="T9" fmla="*/ 0 h 842"/>
                <a:gd name="T10" fmla="*/ 704 w 1267"/>
                <a:gd name="T11" fmla="*/ 153 h 842"/>
                <a:gd name="T12" fmla="*/ 972 w 1267"/>
                <a:gd name="T13" fmla="*/ 0 h 842"/>
                <a:gd name="T14" fmla="*/ 1267 w 1267"/>
                <a:gd name="T15" fmla="*/ 352 h 842"/>
                <a:gd name="T16" fmla="*/ 1267 w 1267"/>
                <a:gd name="T17" fmla="*/ 842 h 842"/>
                <a:gd name="T18" fmla="*/ 1063 w 1267"/>
                <a:gd name="T19" fmla="*/ 842 h 842"/>
                <a:gd name="T20" fmla="*/ 1063 w 1267"/>
                <a:gd name="T21" fmla="*/ 377 h 842"/>
                <a:gd name="T22" fmla="*/ 911 w 1267"/>
                <a:gd name="T23" fmla="*/ 185 h 842"/>
                <a:gd name="T24" fmla="*/ 736 w 1267"/>
                <a:gd name="T25" fmla="*/ 397 h 842"/>
                <a:gd name="T26" fmla="*/ 736 w 1267"/>
                <a:gd name="T27" fmla="*/ 842 h 842"/>
                <a:gd name="T28" fmla="*/ 532 w 1267"/>
                <a:gd name="T29" fmla="*/ 842 h 842"/>
                <a:gd name="T30" fmla="*/ 532 w 1267"/>
                <a:gd name="T31" fmla="*/ 352 h 842"/>
                <a:gd name="T32" fmla="*/ 392 w 1267"/>
                <a:gd name="T33" fmla="*/ 185 h 842"/>
                <a:gd name="T34" fmla="*/ 205 w 1267"/>
                <a:gd name="T35" fmla="*/ 394 h 842"/>
                <a:gd name="T36" fmla="*/ 205 w 1267"/>
                <a:gd name="T37" fmla="*/ 842 h 842"/>
                <a:gd name="T38" fmla="*/ 0 w 1267"/>
                <a:gd name="T39" fmla="*/ 842 h 842"/>
                <a:gd name="T40" fmla="*/ 0 w 1267"/>
                <a:gd name="T41"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7" h="842">
                  <a:moveTo>
                    <a:pt x="0" y="21"/>
                  </a:moveTo>
                  <a:cubicBezTo>
                    <a:pt x="194" y="21"/>
                    <a:pt x="194" y="21"/>
                    <a:pt x="194" y="21"/>
                  </a:cubicBezTo>
                  <a:cubicBezTo>
                    <a:pt x="194" y="149"/>
                    <a:pt x="194" y="149"/>
                    <a:pt x="194" y="149"/>
                  </a:cubicBezTo>
                  <a:cubicBezTo>
                    <a:pt x="198" y="149"/>
                    <a:pt x="198" y="149"/>
                    <a:pt x="198" y="149"/>
                  </a:cubicBezTo>
                  <a:cubicBezTo>
                    <a:pt x="234" y="72"/>
                    <a:pt x="312" y="0"/>
                    <a:pt x="448" y="0"/>
                  </a:cubicBezTo>
                  <a:cubicBezTo>
                    <a:pt x="574" y="0"/>
                    <a:pt x="661" y="50"/>
                    <a:pt x="704" y="153"/>
                  </a:cubicBezTo>
                  <a:cubicBezTo>
                    <a:pt x="763" y="48"/>
                    <a:pt x="850" y="0"/>
                    <a:pt x="972" y="0"/>
                  </a:cubicBezTo>
                  <a:cubicBezTo>
                    <a:pt x="1191" y="0"/>
                    <a:pt x="1267" y="156"/>
                    <a:pt x="1267" y="352"/>
                  </a:cubicBezTo>
                  <a:cubicBezTo>
                    <a:pt x="1267" y="842"/>
                    <a:pt x="1267" y="842"/>
                    <a:pt x="1267" y="842"/>
                  </a:cubicBezTo>
                  <a:cubicBezTo>
                    <a:pt x="1063" y="842"/>
                    <a:pt x="1063" y="842"/>
                    <a:pt x="1063" y="842"/>
                  </a:cubicBezTo>
                  <a:cubicBezTo>
                    <a:pt x="1063" y="377"/>
                    <a:pt x="1063" y="377"/>
                    <a:pt x="1063" y="377"/>
                  </a:cubicBezTo>
                  <a:cubicBezTo>
                    <a:pt x="1063" y="274"/>
                    <a:pt x="1032" y="185"/>
                    <a:pt x="911" y="185"/>
                  </a:cubicBezTo>
                  <a:cubicBezTo>
                    <a:pt x="784" y="185"/>
                    <a:pt x="736" y="291"/>
                    <a:pt x="736" y="397"/>
                  </a:cubicBezTo>
                  <a:cubicBezTo>
                    <a:pt x="736" y="842"/>
                    <a:pt x="736" y="842"/>
                    <a:pt x="736" y="842"/>
                  </a:cubicBezTo>
                  <a:cubicBezTo>
                    <a:pt x="532" y="842"/>
                    <a:pt x="532" y="842"/>
                    <a:pt x="532" y="842"/>
                  </a:cubicBezTo>
                  <a:cubicBezTo>
                    <a:pt x="532" y="352"/>
                    <a:pt x="532" y="352"/>
                    <a:pt x="532" y="352"/>
                  </a:cubicBezTo>
                  <a:cubicBezTo>
                    <a:pt x="532" y="252"/>
                    <a:pt x="490" y="185"/>
                    <a:pt x="392" y="185"/>
                  </a:cubicBezTo>
                  <a:cubicBezTo>
                    <a:pt x="258" y="185"/>
                    <a:pt x="205" y="284"/>
                    <a:pt x="205" y="394"/>
                  </a:cubicBezTo>
                  <a:cubicBezTo>
                    <a:pt x="205" y="842"/>
                    <a:pt x="205" y="842"/>
                    <a:pt x="205"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9" name="Freeform 55">
              <a:extLst>
                <a:ext uri="{FF2B5EF4-FFF2-40B4-BE49-F238E27FC236}">
                  <a16:creationId xmlns:a16="http://schemas.microsoft.com/office/drawing/2014/main" id="{938EECDB-9B08-44D8-9CAE-92D9483255BB}"/>
                </a:ext>
              </a:extLst>
            </p:cNvPr>
            <p:cNvSpPr>
              <a:spLocks/>
            </p:cNvSpPr>
            <p:nvPr userDrawn="1"/>
          </p:nvSpPr>
          <p:spPr bwMode="ltGray">
            <a:xfrm>
              <a:off x="1512888" y="533400"/>
              <a:ext cx="123825" cy="160338"/>
            </a:xfrm>
            <a:custGeom>
              <a:avLst/>
              <a:gdLst>
                <a:gd name="T0" fmla="*/ 507 w 667"/>
                <a:gd name="T1" fmla="*/ 247 h 859"/>
                <a:gd name="T2" fmla="*/ 348 w 667"/>
                <a:gd name="T3" fmla="*/ 164 h 859"/>
                <a:gd name="T4" fmla="*/ 228 w 667"/>
                <a:gd name="T5" fmla="*/ 251 h 859"/>
                <a:gd name="T6" fmla="*/ 667 w 667"/>
                <a:gd name="T7" fmla="*/ 597 h 859"/>
                <a:gd name="T8" fmla="*/ 317 w 667"/>
                <a:gd name="T9" fmla="*/ 859 h 859"/>
                <a:gd name="T10" fmla="*/ 0 w 667"/>
                <a:gd name="T11" fmla="*/ 733 h 859"/>
                <a:gd name="T12" fmla="*/ 136 w 667"/>
                <a:gd name="T13" fmla="*/ 605 h 859"/>
                <a:gd name="T14" fmla="*/ 329 w 667"/>
                <a:gd name="T15" fmla="*/ 706 h 859"/>
                <a:gd name="T16" fmla="*/ 464 w 667"/>
                <a:gd name="T17" fmla="*/ 612 h 859"/>
                <a:gd name="T18" fmla="*/ 25 w 667"/>
                <a:gd name="T19" fmla="*/ 264 h 859"/>
                <a:gd name="T20" fmla="*/ 352 w 667"/>
                <a:gd name="T21" fmla="*/ 0 h 859"/>
                <a:gd name="T22" fmla="*/ 642 w 667"/>
                <a:gd name="T23" fmla="*/ 125 h 859"/>
                <a:gd name="T24" fmla="*/ 507 w 667"/>
                <a:gd name="T25" fmla="*/ 2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7" h="859">
                  <a:moveTo>
                    <a:pt x="507" y="247"/>
                  </a:moveTo>
                  <a:cubicBezTo>
                    <a:pt x="467" y="193"/>
                    <a:pt x="417" y="164"/>
                    <a:pt x="348" y="164"/>
                  </a:cubicBezTo>
                  <a:cubicBezTo>
                    <a:pt x="293" y="164"/>
                    <a:pt x="228" y="190"/>
                    <a:pt x="228" y="251"/>
                  </a:cubicBezTo>
                  <a:cubicBezTo>
                    <a:pt x="228" y="397"/>
                    <a:pt x="667" y="278"/>
                    <a:pt x="667" y="597"/>
                  </a:cubicBezTo>
                  <a:cubicBezTo>
                    <a:pt x="667" y="791"/>
                    <a:pt x="483" y="859"/>
                    <a:pt x="317" y="859"/>
                  </a:cubicBezTo>
                  <a:cubicBezTo>
                    <a:pt x="191" y="859"/>
                    <a:pt x="83" y="826"/>
                    <a:pt x="0" y="733"/>
                  </a:cubicBezTo>
                  <a:cubicBezTo>
                    <a:pt x="136" y="605"/>
                    <a:pt x="136" y="605"/>
                    <a:pt x="136" y="605"/>
                  </a:cubicBezTo>
                  <a:cubicBezTo>
                    <a:pt x="188" y="662"/>
                    <a:pt x="242" y="706"/>
                    <a:pt x="329" y="706"/>
                  </a:cubicBezTo>
                  <a:cubicBezTo>
                    <a:pt x="387" y="706"/>
                    <a:pt x="464" y="677"/>
                    <a:pt x="464" y="612"/>
                  </a:cubicBezTo>
                  <a:cubicBezTo>
                    <a:pt x="464" y="443"/>
                    <a:pt x="25" y="575"/>
                    <a:pt x="25" y="264"/>
                  </a:cubicBezTo>
                  <a:cubicBezTo>
                    <a:pt x="25" y="82"/>
                    <a:pt x="188" y="0"/>
                    <a:pt x="352" y="0"/>
                  </a:cubicBezTo>
                  <a:cubicBezTo>
                    <a:pt x="461" y="0"/>
                    <a:pt x="576" y="35"/>
                    <a:pt x="642" y="125"/>
                  </a:cubicBezTo>
                  <a:lnTo>
                    <a:pt x="507" y="2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0" name="Freeform 56">
              <a:extLst>
                <a:ext uri="{FF2B5EF4-FFF2-40B4-BE49-F238E27FC236}">
                  <a16:creationId xmlns:a16="http://schemas.microsoft.com/office/drawing/2014/main" id="{201C2FD4-4458-4C08-B319-3082B6BC5FFC}"/>
                </a:ext>
              </a:extLst>
            </p:cNvPr>
            <p:cNvSpPr>
              <a:spLocks/>
            </p:cNvSpPr>
            <p:nvPr userDrawn="1"/>
          </p:nvSpPr>
          <p:spPr bwMode="ltGray">
            <a:xfrm>
              <a:off x="1647825" y="493713"/>
              <a:ext cx="112713" cy="200025"/>
            </a:xfrm>
            <a:custGeom>
              <a:avLst/>
              <a:gdLst>
                <a:gd name="T0" fmla="*/ 0 w 600"/>
                <a:gd name="T1" fmla="*/ 407 h 1067"/>
                <a:gd name="T2" fmla="*/ 0 w 600"/>
                <a:gd name="T3" fmla="*/ 235 h 1067"/>
                <a:gd name="T4" fmla="*/ 169 w 600"/>
                <a:gd name="T5" fmla="*/ 235 h 1067"/>
                <a:gd name="T6" fmla="*/ 169 w 600"/>
                <a:gd name="T7" fmla="*/ 0 h 1067"/>
                <a:gd name="T8" fmla="*/ 374 w 600"/>
                <a:gd name="T9" fmla="*/ 0 h 1067"/>
                <a:gd name="T10" fmla="*/ 374 w 600"/>
                <a:gd name="T11" fmla="*/ 235 h 1067"/>
                <a:gd name="T12" fmla="*/ 600 w 600"/>
                <a:gd name="T13" fmla="*/ 235 h 1067"/>
                <a:gd name="T14" fmla="*/ 600 w 600"/>
                <a:gd name="T15" fmla="*/ 407 h 1067"/>
                <a:gd name="T16" fmla="*/ 374 w 600"/>
                <a:gd name="T17" fmla="*/ 407 h 1067"/>
                <a:gd name="T18" fmla="*/ 374 w 600"/>
                <a:gd name="T19" fmla="*/ 762 h 1067"/>
                <a:gd name="T20" fmla="*/ 488 w 600"/>
                <a:gd name="T21" fmla="*/ 894 h 1067"/>
                <a:gd name="T22" fmla="*/ 600 w 600"/>
                <a:gd name="T23" fmla="*/ 868 h 1067"/>
                <a:gd name="T24" fmla="*/ 600 w 600"/>
                <a:gd name="T25" fmla="*/ 1040 h 1067"/>
                <a:gd name="T26" fmla="*/ 437 w 600"/>
                <a:gd name="T27" fmla="*/ 1067 h 1067"/>
                <a:gd name="T28" fmla="*/ 169 w 600"/>
                <a:gd name="T29" fmla="*/ 780 h 1067"/>
                <a:gd name="T30" fmla="*/ 169 w 600"/>
                <a:gd name="T31" fmla="*/ 407 h 1067"/>
                <a:gd name="T32" fmla="*/ 0 w 600"/>
                <a:gd name="T33" fmla="*/ 40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0" h="1067">
                  <a:moveTo>
                    <a:pt x="0" y="407"/>
                  </a:moveTo>
                  <a:cubicBezTo>
                    <a:pt x="0" y="235"/>
                    <a:pt x="0" y="235"/>
                    <a:pt x="0" y="235"/>
                  </a:cubicBezTo>
                  <a:cubicBezTo>
                    <a:pt x="169" y="235"/>
                    <a:pt x="169" y="235"/>
                    <a:pt x="169" y="235"/>
                  </a:cubicBezTo>
                  <a:cubicBezTo>
                    <a:pt x="169" y="0"/>
                    <a:pt x="169" y="0"/>
                    <a:pt x="169" y="0"/>
                  </a:cubicBezTo>
                  <a:cubicBezTo>
                    <a:pt x="374" y="0"/>
                    <a:pt x="374" y="0"/>
                    <a:pt x="374" y="0"/>
                  </a:cubicBezTo>
                  <a:cubicBezTo>
                    <a:pt x="374" y="235"/>
                    <a:pt x="374" y="235"/>
                    <a:pt x="374" y="235"/>
                  </a:cubicBezTo>
                  <a:cubicBezTo>
                    <a:pt x="600" y="235"/>
                    <a:pt x="600" y="235"/>
                    <a:pt x="600" y="235"/>
                  </a:cubicBezTo>
                  <a:cubicBezTo>
                    <a:pt x="600" y="407"/>
                    <a:pt x="600" y="407"/>
                    <a:pt x="600" y="407"/>
                  </a:cubicBezTo>
                  <a:cubicBezTo>
                    <a:pt x="374" y="407"/>
                    <a:pt x="374" y="407"/>
                    <a:pt x="374" y="407"/>
                  </a:cubicBezTo>
                  <a:cubicBezTo>
                    <a:pt x="374" y="762"/>
                    <a:pt x="374" y="762"/>
                    <a:pt x="374" y="762"/>
                  </a:cubicBezTo>
                  <a:cubicBezTo>
                    <a:pt x="374" y="844"/>
                    <a:pt x="399" y="894"/>
                    <a:pt x="488" y="894"/>
                  </a:cubicBezTo>
                  <a:cubicBezTo>
                    <a:pt x="525" y="894"/>
                    <a:pt x="574" y="887"/>
                    <a:pt x="600" y="868"/>
                  </a:cubicBezTo>
                  <a:cubicBezTo>
                    <a:pt x="600" y="1040"/>
                    <a:pt x="600" y="1040"/>
                    <a:pt x="600" y="1040"/>
                  </a:cubicBezTo>
                  <a:cubicBezTo>
                    <a:pt x="557" y="1060"/>
                    <a:pt x="486" y="1067"/>
                    <a:pt x="437" y="1067"/>
                  </a:cubicBezTo>
                  <a:cubicBezTo>
                    <a:pt x="221" y="1067"/>
                    <a:pt x="169" y="970"/>
                    <a:pt x="169" y="780"/>
                  </a:cubicBezTo>
                  <a:cubicBezTo>
                    <a:pt x="169" y="407"/>
                    <a:pt x="169" y="407"/>
                    <a:pt x="169" y="407"/>
                  </a:cubicBezTo>
                  <a:lnTo>
                    <a:pt x="0" y="40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1" name="Freeform 57">
              <a:extLst>
                <a:ext uri="{FF2B5EF4-FFF2-40B4-BE49-F238E27FC236}">
                  <a16:creationId xmlns:a16="http://schemas.microsoft.com/office/drawing/2014/main" id="{5A3F9447-F0E2-44F7-8372-1CAA2787262A}"/>
                </a:ext>
              </a:extLst>
            </p:cNvPr>
            <p:cNvSpPr>
              <a:spLocks noEditPoints="1"/>
            </p:cNvSpPr>
            <p:nvPr userDrawn="1"/>
          </p:nvSpPr>
          <p:spPr bwMode="ltGray">
            <a:xfrm>
              <a:off x="1781175" y="533400"/>
              <a:ext cx="155575" cy="160338"/>
            </a:xfrm>
            <a:custGeom>
              <a:avLst/>
              <a:gdLst>
                <a:gd name="T0" fmla="*/ 204 w 825"/>
                <a:gd name="T1" fmla="*/ 501 h 859"/>
                <a:gd name="T2" fmla="*/ 423 w 825"/>
                <a:gd name="T3" fmla="*/ 695 h 859"/>
                <a:gd name="T4" fmla="*/ 642 w 825"/>
                <a:gd name="T5" fmla="*/ 585 h 859"/>
                <a:gd name="T6" fmla="*/ 787 w 825"/>
                <a:gd name="T7" fmla="*/ 695 h 859"/>
                <a:gd name="T8" fmla="*/ 443 w 825"/>
                <a:gd name="T9" fmla="*/ 859 h 859"/>
                <a:gd name="T10" fmla="*/ 0 w 825"/>
                <a:gd name="T11" fmla="*/ 430 h 859"/>
                <a:gd name="T12" fmla="*/ 443 w 825"/>
                <a:gd name="T13" fmla="*/ 0 h 859"/>
                <a:gd name="T14" fmla="*/ 825 w 825"/>
                <a:gd name="T15" fmla="*/ 445 h 859"/>
                <a:gd name="T16" fmla="*/ 825 w 825"/>
                <a:gd name="T17" fmla="*/ 501 h 859"/>
                <a:gd name="T18" fmla="*/ 204 w 825"/>
                <a:gd name="T19" fmla="*/ 501 h 859"/>
                <a:gd name="T20" fmla="*/ 621 w 825"/>
                <a:gd name="T21" fmla="*/ 347 h 859"/>
                <a:gd name="T22" fmla="*/ 415 w 825"/>
                <a:gd name="T23" fmla="*/ 153 h 859"/>
                <a:gd name="T24" fmla="*/ 204 w 825"/>
                <a:gd name="T25" fmla="*/ 347 h 859"/>
                <a:gd name="T26" fmla="*/ 621 w 825"/>
                <a:gd name="T27" fmla="*/ 3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9">
                  <a:moveTo>
                    <a:pt x="204" y="501"/>
                  </a:moveTo>
                  <a:cubicBezTo>
                    <a:pt x="218" y="622"/>
                    <a:pt x="309" y="695"/>
                    <a:pt x="423" y="695"/>
                  </a:cubicBezTo>
                  <a:cubicBezTo>
                    <a:pt x="525" y="695"/>
                    <a:pt x="590" y="647"/>
                    <a:pt x="642" y="585"/>
                  </a:cubicBezTo>
                  <a:cubicBezTo>
                    <a:pt x="787" y="695"/>
                    <a:pt x="787" y="695"/>
                    <a:pt x="787" y="695"/>
                  </a:cubicBezTo>
                  <a:cubicBezTo>
                    <a:pt x="692" y="813"/>
                    <a:pt x="572" y="859"/>
                    <a:pt x="443" y="859"/>
                  </a:cubicBezTo>
                  <a:cubicBezTo>
                    <a:pt x="197" y="859"/>
                    <a:pt x="0" y="687"/>
                    <a:pt x="0" y="430"/>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9"/>
                    <a:pt x="541" y="153"/>
                    <a:pt x="415" y="153"/>
                  </a:cubicBezTo>
                  <a:cubicBezTo>
                    <a:pt x="294" y="153"/>
                    <a:pt x="219" y="230"/>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2" name="Freeform 58">
              <a:extLst>
                <a:ext uri="{FF2B5EF4-FFF2-40B4-BE49-F238E27FC236}">
                  <a16:creationId xmlns:a16="http://schemas.microsoft.com/office/drawing/2014/main" id="{09ED63FC-E10D-4A0E-BC83-4FE0D72454AD}"/>
                </a:ext>
              </a:extLst>
            </p:cNvPr>
            <p:cNvSpPr>
              <a:spLocks/>
            </p:cNvSpPr>
            <p:nvPr userDrawn="1"/>
          </p:nvSpPr>
          <p:spPr bwMode="ltGray">
            <a:xfrm>
              <a:off x="1971675" y="533400"/>
              <a:ext cx="96838" cy="157163"/>
            </a:xfrm>
            <a:custGeom>
              <a:avLst/>
              <a:gdLst>
                <a:gd name="T0" fmla="*/ 0 w 517"/>
                <a:gd name="T1" fmla="*/ 21 h 842"/>
                <a:gd name="T2" fmla="*/ 202 w 517"/>
                <a:gd name="T3" fmla="*/ 21 h 842"/>
                <a:gd name="T4" fmla="*/ 202 w 517"/>
                <a:gd name="T5" fmla="*/ 150 h 842"/>
                <a:gd name="T6" fmla="*/ 206 w 517"/>
                <a:gd name="T7" fmla="*/ 150 h 842"/>
                <a:gd name="T8" fmla="*/ 445 w 517"/>
                <a:gd name="T9" fmla="*/ 0 h 842"/>
                <a:gd name="T10" fmla="*/ 517 w 517"/>
                <a:gd name="T11" fmla="*/ 12 h 842"/>
                <a:gd name="T12" fmla="*/ 517 w 517"/>
                <a:gd name="T13" fmla="*/ 211 h 842"/>
                <a:gd name="T14" fmla="*/ 420 w 517"/>
                <a:gd name="T15" fmla="*/ 195 h 842"/>
                <a:gd name="T16" fmla="*/ 202 w 517"/>
                <a:gd name="T17" fmla="*/ 402 h 842"/>
                <a:gd name="T18" fmla="*/ 202 w 517"/>
                <a:gd name="T19" fmla="*/ 842 h 842"/>
                <a:gd name="T20" fmla="*/ 0 w 517"/>
                <a:gd name="T21" fmla="*/ 842 h 842"/>
                <a:gd name="T22" fmla="*/ 0 w 517"/>
                <a:gd name="T23"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7" h="842">
                  <a:moveTo>
                    <a:pt x="0" y="21"/>
                  </a:moveTo>
                  <a:cubicBezTo>
                    <a:pt x="202" y="21"/>
                    <a:pt x="202" y="21"/>
                    <a:pt x="202" y="21"/>
                  </a:cubicBezTo>
                  <a:cubicBezTo>
                    <a:pt x="202" y="150"/>
                    <a:pt x="202" y="150"/>
                    <a:pt x="202" y="150"/>
                  </a:cubicBezTo>
                  <a:cubicBezTo>
                    <a:pt x="206" y="150"/>
                    <a:pt x="206" y="150"/>
                    <a:pt x="206" y="150"/>
                  </a:cubicBezTo>
                  <a:cubicBezTo>
                    <a:pt x="250" y="57"/>
                    <a:pt x="339" y="0"/>
                    <a:pt x="445" y="0"/>
                  </a:cubicBezTo>
                  <a:cubicBezTo>
                    <a:pt x="471" y="0"/>
                    <a:pt x="494" y="5"/>
                    <a:pt x="517" y="12"/>
                  </a:cubicBezTo>
                  <a:cubicBezTo>
                    <a:pt x="517" y="211"/>
                    <a:pt x="517" y="211"/>
                    <a:pt x="517" y="211"/>
                  </a:cubicBezTo>
                  <a:cubicBezTo>
                    <a:pt x="483" y="202"/>
                    <a:pt x="452" y="195"/>
                    <a:pt x="420" y="195"/>
                  </a:cubicBezTo>
                  <a:cubicBezTo>
                    <a:pt x="230" y="195"/>
                    <a:pt x="202" y="358"/>
                    <a:pt x="202" y="402"/>
                  </a:cubicBezTo>
                  <a:cubicBezTo>
                    <a:pt x="202" y="842"/>
                    <a:pt x="202" y="842"/>
                    <a:pt x="202"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3" name="Freeform 59">
              <a:extLst>
                <a:ext uri="{FF2B5EF4-FFF2-40B4-BE49-F238E27FC236}">
                  <a16:creationId xmlns:a16="http://schemas.microsoft.com/office/drawing/2014/main" id="{D631A289-79D1-4DEE-A37E-F23443011D02}"/>
                </a:ext>
              </a:extLst>
            </p:cNvPr>
            <p:cNvSpPr>
              <a:spLocks noEditPoints="1"/>
            </p:cNvSpPr>
            <p:nvPr userDrawn="1"/>
          </p:nvSpPr>
          <p:spPr bwMode="ltGray">
            <a:xfrm>
              <a:off x="2082800" y="450850"/>
              <a:ext cx="163513" cy="242888"/>
            </a:xfrm>
            <a:custGeom>
              <a:avLst/>
              <a:gdLst>
                <a:gd name="T0" fmla="*/ 683 w 875"/>
                <a:gd name="T1" fmla="*/ 1157 h 1300"/>
                <a:gd name="T2" fmla="*/ 679 w 875"/>
                <a:gd name="T3" fmla="*/ 1157 h 1300"/>
                <a:gd name="T4" fmla="*/ 400 w 875"/>
                <a:gd name="T5" fmla="*/ 1300 h 1300"/>
                <a:gd name="T6" fmla="*/ 0 w 875"/>
                <a:gd name="T7" fmla="*/ 873 h 1300"/>
                <a:gd name="T8" fmla="*/ 392 w 875"/>
                <a:gd name="T9" fmla="*/ 447 h 1300"/>
                <a:gd name="T10" fmla="*/ 667 w 875"/>
                <a:gd name="T11" fmla="*/ 571 h 1300"/>
                <a:gd name="T12" fmla="*/ 672 w 875"/>
                <a:gd name="T13" fmla="*/ 571 h 1300"/>
                <a:gd name="T14" fmla="*/ 672 w 875"/>
                <a:gd name="T15" fmla="*/ 0 h 1300"/>
                <a:gd name="T16" fmla="*/ 875 w 875"/>
                <a:gd name="T17" fmla="*/ 0 h 1300"/>
                <a:gd name="T18" fmla="*/ 875 w 875"/>
                <a:gd name="T19" fmla="*/ 1280 h 1300"/>
                <a:gd name="T20" fmla="*/ 683 w 875"/>
                <a:gd name="T21" fmla="*/ 1280 h 1300"/>
                <a:gd name="T22" fmla="*/ 683 w 875"/>
                <a:gd name="T23" fmla="*/ 1157 h 1300"/>
                <a:gd name="T24" fmla="*/ 441 w 875"/>
                <a:gd name="T25" fmla="*/ 1116 h 1300"/>
                <a:gd name="T26" fmla="*/ 679 w 875"/>
                <a:gd name="T27" fmla="*/ 873 h 1300"/>
                <a:gd name="T28" fmla="*/ 441 w 875"/>
                <a:gd name="T29" fmla="*/ 629 h 1300"/>
                <a:gd name="T30" fmla="*/ 203 w 875"/>
                <a:gd name="T31" fmla="*/ 873 h 1300"/>
                <a:gd name="T32" fmla="*/ 441 w 875"/>
                <a:gd name="T33" fmla="*/ 11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5" h="1300">
                  <a:moveTo>
                    <a:pt x="683" y="1157"/>
                  </a:moveTo>
                  <a:cubicBezTo>
                    <a:pt x="679" y="1157"/>
                    <a:pt x="679" y="1157"/>
                    <a:pt x="679" y="1157"/>
                  </a:cubicBezTo>
                  <a:cubicBezTo>
                    <a:pt x="620" y="1255"/>
                    <a:pt x="513" y="1300"/>
                    <a:pt x="400" y="1300"/>
                  </a:cubicBezTo>
                  <a:cubicBezTo>
                    <a:pt x="151" y="1300"/>
                    <a:pt x="0" y="1114"/>
                    <a:pt x="0" y="873"/>
                  </a:cubicBezTo>
                  <a:cubicBezTo>
                    <a:pt x="0" y="633"/>
                    <a:pt x="160" y="447"/>
                    <a:pt x="392" y="447"/>
                  </a:cubicBezTo>
                  <a:cubicBezTo>
                    <a:pt x="544" y="447"/>
                    <a:pt x="625" y="518"/>
                    <a:pt x="667" y="571"/>
                  </a:cubicBezTo>
                  <a:cubicBezTo>
                    <a:pt x="672" y="571"/>
                    <a:pt x="672" y="571"/>
                    <a:pt x="672" y="571"/>
                  </a:cubicBezTo>
                  <a:cubicBezTo>
                    <a:pt x="672" y="0"/>
                    <a:pt x="672" y="0"/>
                    <a:pt x="672" y="0"/>
                  </a:cubicBezTo>
                  <a:cubicBezTo>
                    <a:pt x="875" y="0"/>
                    <a:pt x="875" y="0"/>
                    <a:pt x="875" y="0"/>
                  </a:cubicBezTo>
                  <a:cubicBezTo>
                    <a:pt x="875" y="1280"/>
                    <a:pt x="875" y="1280"/>
                    <a:pt x="875" y="1280"/>
                  </a:cubicBezTo>
                  <a:cubicBezTo>
                    <a:pt x="683" y="1280"/>
                    <a:pt x="683" y="1280"/>
                    <a:pt x="683" y="1280"/>
                  </a:cubicBezTo>
                  <a:lnTo>
                    <a:pt x="683" y="1157"/>
                  </a:lnTo>
                  <a:close/>
                  <a:moveTo>
                    <a:pt x="441" y="1116"/>
                  </a:moveTo>
                  <a:cubicBezTo>
                    <a:pt x="589" y="1116"/>
                    <a:pt x="679" y="1001"/>
                    <a:pt x="679" y="873"/>
                  </a:cubicBezTo>
                  <a:cubicBezTo>
                    <a:pt x="679" y="746"/>
                    <a:pt x="589" y="629"/>
                    <a:pt x="441" y="629"/>
                  </a:cubicBezTo>
                  <a:cubicBezTo>
                    <a:pt x="292" y="629"/>
                    <a:pt x="203" y="746"/>
                    <a:pt x="203" y="873"/>
                  </a:cubicBezTo>
                  <a:cubicBezTo>
                    <a:pt x="203" y="1001"/>
                    <a:pt x="292" y="1116"/>
                    <a:pt x="441" y="1116"/>
                  </a:cubicBez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4" name="Freeform 60">
              <a:extLst>
                <a:ext uri="{FF2B5EF4-FFF2-40B4-BE49-F238E27FC236}">
                  <a16:creationId xmlns:a16="http://schemas.microsoft.com/office/drawing/2014/main" id="{3DD2871F-37DF-4206-87CE-46715E9EFAB6}"/>
                </a:ext>
              </a:extLst>
            </p:cNvPr>
            <p:cNvSpPr>
              <a:spLocks noEditPoints="1"/>
            </p:cNvSpPr>
            <p:nvPr userDrawn="1"/>
          </p:nvSpPr>
          <p:spPr bwMode="ltGray">
            <a:xfrm>
              <a:off x="2279650" y="533400"/>
              <a:ext cx="139700" cy="160338"/>
            </a:xfrm>
            <a:custGeom>
              <a:avLst/>
              <a:gdLst>
                <a:gd name="T0" fmla="*/ 566 w 750"/>
                <a:gd name="T1" fmla="*/ 726 h 859"/>
                <a:gd name="T2" fmla="*/ 562 w 750"/>
                <a:gd name="T3" fmla="*/ 726 h 859"/>
                <a:gd name="T4" fmla="*/ 299 w 750"/>
                <a:gd name="T5" fmla="*/ 859 h 859"/>
                <a:gd name="T6" fmla="*/ 0 w 750"/>
                <a:gd name="T7" fmla="*/ 613 h 859"/>
                <a:gd name="T8" fmla="*/ 515 w 750"/>
                <a:gd name="T9" fmla="*/ 329 h 859"/>
                <a:gd name="T10" fmla="*/ 566 w 750"/>
                <a:gd name="T11" fmla="*/ 329 h 859"/>
                <a:gd name="T12" fmla="*/ 566 w 750"/>
                <a:gd name="T13" fmla="*/ 307 h 859"/>
                <a:gd name="T14" fmla="*/ 379 w 750"/>
                <a:gd name="T15" fmla="*/ 153 h 859"/>
                <a:gd name="T16" fmla="*/ 160 w 750"/>
                <a:gd name="T17" fmla="*/ 239 h 859"/>
                <a:gd name="T18" fmla="*/ 53 w 750"/>
                <a:gd name="T19" fmla="*/ 131 h 859"/>
                <a:gd name="T20" fmla="*/ 400 w 750"/>
                <a:gd name="T21" fmla="*/ 0 h 859"/>
                <a:gd name="T22" fmla="*/ 750 w 750"/>
                <a:gd name="T23" fmla="*/ 369 h 859"/>
                <a:gd name="T24" fmla="*/ 750 w 750"/>
                <a:gd name="T25" fmla="*/ 839 h 859"/>
                <a:gd name="T26" fmla="*/ 566 w 750"/>
                <a:gd name="T27" fmla="*/ 839 h 859"/>
                <a:gd name="T28" fmla="*/ 566 w 750"/>
                <a:gd name="T29" fmla="*/ 726 h 859"/>
                <a:gd name="T30" fmla="*/ 555 w 750"/>
                <a:gd name="T31" fmla="*/ 472 h 859"/>
                <a:gd name="T32" fmla="*/ 512 w 750"/>
                <a:gd name="T33" fmla="*/ 472 h 859"/>
                <a:gd name="T34" fmla="*/ 205 w 750"/>
                <a:gd name="T35" fmla="*/ 598 h 859"/>
                <a:gd name="T36" fmla="*/ 347 w 750"/>
                <a:gd name="T37" fmla="*/ 706 h 859"/>
                <a:gd name="T38" fmla="*/ 555 w 750"/>
                <a:gd name="T39" fmla="*/ 518 h 859"/>
                <a:gd name="T40" fmla="*/ 555 w 750"/>
                <a:gd name="T41" fmla="*/ 472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0" h="859">
                  <a:moveTo>
                    <a:pt x="566" y="726"/>
                  </a:moveTo>
                  <a:cubicBezTo>
                    <a:pt x="562" y="726"/>
                    <a:pt x="562" y="726"/>
                    <a:pt x="562" y="726"/>
                  </a:cubicBezTo>
                  <a:cubicBezTo>
                    <a:pt x="503" y="818"/>
                    <a:pt x="408" y="859"/>
                    <a:pt x="299" y="859"/>
                  </a:cubicBezTo>
                  <a:cubicBezTo>
                    <a:pt x="147" y="859"/>
                    <a:pt x="0" y="775"/>
                    <a:pt x="0" y="613"/>
                  </a:cubicBezTo>
                  <a:cubicBezTo>
                    <a:pt x="0" y="347"/>
                    <a:pt x="311" y="329"/>
                    <a:pt x="515" y="329"/>
                  </a:cubicBezTo>
                  <a:cubicBezTo>
                    <a:pt x="566" y="329"/>
                    <a:pt x="566" y="329"/>
                    <a:pt x="566" y="329"/>
                  </a:cubicBezTo>
                  <a:cubicBezTo>
                    <a:pt x="566" y="307"/>
                    <a:pt x="566" y="307"/>
                    <a:pt x="566" y="307"/>
                  </a:cubicBezTo>
                  <a:cubicBezTo>
                    <a:pt x="566" y="206"/>
                    <a:pt x="488" y="153"/>
                    <a:pt x="379" y="153"/>
                  </a:cubicBezTo>
                  <a:cubicBezTo>
                    <a:pt x="293" y="153"/>
                    <a:pt x="214" y="187"/>
                    <a:pt x="160" y="239"/>
                  </a:cubicBezTo>
                  <a:cubicBezTo>
                    <a:pt x="53" y="131"/>
                    <a:pt x="53" y="131"/>
                    <a:pt x="53" y="131"/>
                  </a:cubicBezTo>
                  <a:cubicBezTo>
                    <a:pt x="144" y="39"/>
                    <a:pt x="271" y="0"/>
                    <a:pt x="400" y="0"/>
                  </a:cubicBezTo>
                  <a:cubicBezTo>
                    <a:pt x="750" y="0"/>
                    <a:pt x="750" y="252"/>
                    <a:pt x="750" y="369"/>
                  </a:cubicBezTo>
                  <a:cubicBezTo>
                    <a:pt x="750" y="839"/>
                    <a:pt x="750" y="839"/>
                    <a:pt x="750" y="839"/>
                  </a:cubicBezTo>
                  <a:cubicBezTo>
                    <a:pt x="566" y="839"/>
                    <a:pt x="566" y="839"/>
                    <a:pt x="566" y="839"/>
                  </a:cubicBezTo>
                  <a:lnTo>
                    <a:pt x="566" y="726"/>
                  </a:lnTo>
                  <a:close/>
                  <a:moveTo>
                    <a:pt x="555" y="472"/>
                  </a:moveTo>
                  <a:cubicBezTo>
                    <a:pt x="512" y="472"/>
                    <a:pt x="512" y="472"/>
                    <a:pt x="512" y="472"/>
                  </a:cubicBezTo>
                  <a:cubicBezTo>
                    <a:pt x="399" y="472"/>
                    <a:pt x="205" y="480"/>
                    <a:pt x="205" y="598"/>
                  </a:cubicBezTo>
                  <a:cubicBezTo>
                    <a:pt x="205" y="673"/>
                    <a:pt x="282" y="706"/>
                    <a:pt x="347" y="706"/>
                  </a:cubicBezTo>
                  <a:cubicBezTo>
                    <a:pt x="488" y="706"/>
                    <a:pt x="555" y="632"/>
                    <a:pt x="555" y="518"/>
                  </a:cubicBezTo>
                  <a:lnTo>
                    <a:pt x="555" y="472"/>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5" name="Freeform 61">
              <a:extLst>
                <a:ext uri="{FF2B5EF4-FFF2-40B4-BE49-F238E27FC236}">
                  <a16:creationId xmlns:a16="http://schemas.microsoft.com/office/drawing/2014/main" id="{28C5B83D-471B-4E36-AF30-F8E4A4B12E42}"/>
                </a:ext>
              </a:extLst>
            </p:cNvPr>
            <p:cNvSpPr>
              <a:spLocks/>
            </p:cNvSpPr>
            <p:nvPr userDrawn="1"/>
          </p:nvSpPr>
          <p:spPr bwMode="ltGray">
            <a:xfrm>
              <a:off x="2459038" y="533400"/>
              <a:ext cx="236538" cy="157163"/>
            </a:xfrm>
            <a:custGeom>
              <a:avLst/>
              <a:gdLst>
                <a:gd name="T0" fmla="*/ 0 w 1267"/>
                <a:gd name="T1" fmla="*/ 21 h 842"/>
                <a:gd name="T2" fmla="*/ 194 w 1267"/>
                <a:gd name="T3" fmla="*/ 21 h 842"/>
                <a:gd name="T4" fmla="*/ 194 w 1267"/>
                <a:gd name="T5" fmla="*/ 149 h 842"/>
                <a:gd name="T6" fmla="*/ 198 w 1267"/>
                <a:gd name="T7" fmla="*/ 149 h 842"/>
                <a:gd name="T8" fmla="*/ 448 w 1267"/>
                <a:gd name="T9" fmla="*/ 0 h 842"/>
                <a:gd name="T10" fmla="*/ 703 w 1267"/>
                <a:gd name="T11" fmla="*/ 153 h 842"/>
                <a:gd name="T12" fmla="*/ 972 w 1267"/>
                <a:gd name="T13" fmla="*/ 0 h 842"/>
                <a:gd name="T14" fmla="*/ 1267 w 1267"/>
                <a:gd name="T15" fmla="*/ 352 h 842"/>
                <a:gd name="T16" fmla="*/ 1267 w 1267"/>
                <a:gd name="T17" fmla="*/ 842 h 842"/>
                <a:gd name="T18" fmla="*/ 1063 w 1267"/>
                <a:gd name="T19" fmla="*/ 842 h 842"/>
                <a:gd name="T20" fmla="*/ 1063 w 1267"/>
                <a:gd name="T21" fmla="*/ 377 h 842"/>
                <a:gd name="T22" fmla="*/ 911 w 1267"/>
                <a:gd name="T23" fmla="*/ 185 h 842"/>
                <a:gd name="T24" fmla="*/ 736 w 1267"/>
                <a:gd name="T25" fmla="*/ 397 h 842"/>
                <a:gd name="T26" fmla="*/ 736 w 1267"/>
                <a:gd name="T27" fmla="*/ 842 h 842"/>
                <a:gd name="T28" fmla="*/ 532 w 1267"/>
                <a:gd name="T29" fmla="*/ 842 h 842"/>
                <a:gd name="T30" fmla="*/ 532 w 1267"/>
                <a:gd name="T31" fmla="*/ 352 h 842"/>
                <a:gd name="T32" fmla="*/ 392 w 1267"/>
                <a:gd name="T33" fmla="*/ 185 h 842"/>
                <a:gd name="T34" fmla="*/ 205 w 1267"/>
                <a:gd name="T35" fmla="*/ 394 h 842"/>
                <a:gd name="T36" fmla="*/ 205 w 1267"/>
                <a:gd name="T37" fmla="*/ 842 h 842"/>
                <a:gd name="T38" fmla="*/ 0 w 1267"/>
                <a:gd name="T39" fmla="*/ 842 h 842"/>
                <a:gd name="T40" fmla="*/ 0 w 1267"/>
                <a:gd name="T41"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7" h="842">
                  <a:moveTo>
                    <a:pt x="0" y="21"/>
                  </a:moveTo>
                  <a:cubicBezTo>
                    <a:pt x="194" y="21"/>
                    <a:pt x="194" y="21"/>
                    <a:pt x="194" y="21"/>
                  </a:cubicBezTo>
                  <a:cubicBezTo>
                    <a:pt x="194" y="149"/>
                    <a:pt x="194" y="149"/>
                    <a:pt x="194" y="149"/>
                  </a:cubicBezTo>
                  <a:cubicBezTo>
                    <a:pt x="198" y="149"/>
                    <a:pt x="198" y="149"/>
                    <a:pt x="198" y="149"/>
                  </a:cubicBezTo>
                  <a:cubicBezTo>
                    <a:pt x="234" y="72"/>
                    <a:pt x="312" y="0"/>
                    <a:pt x="448" y="0"/>
                  </a:cubicBezTo>
                  <a:cubicBezTo>
                    <a:pt x="574" y="0"/>
                    <a:pt x="661" y="50"/>
                    <a:pt x="703" y="153"/>
                  </a:cubicBezTo>
                  <a:cubicBezTo>
                    <a:pt x="763" y="48"/>
                    <a:pt x="850" y="0"/>
                    <a:pt x="972" y="0"/>
                  </a:cubicBezTo>
                  <a:cubicBezTo>
                    <a:pt x="1191" y="0"/>
                    <a:pt x="1267" y="156"/>
                    <a:pt x="1267" y="352"/>
                  </a:cubicBezTo>
                  <a:cubicBezTo>
                    <a:pt x="1267" y="842"/>
                    <a:pt x="1267" y="842"/>
                    <a:pt x="1267" y="842"/>
                  </a:cubicBezTo>
                  <a:cubicBezTo>
                    <a:pt x="1063" y="842"/>
                    <a:pt x="1063" y="842"/>
                    <a:pt x="1063" y="842"/>
                  </a:cubicBezTo>
                  <a:cubicBezTo>
                    <a:pt x="1063" y="377"/>
                    <a:pt x="1063" y="377"/>
                    <a:pt x="1063" y="377"/>
                  </a:cubicBezTo>
                  <a:cubicBezTo>
                    <a:pt x="1063" y="274"/>
                    <a:pt x="1032" y="185"/>
                    <a:pt x="911" y="185"/>
                  </a:cubicBezTo>
                  <a:cubicBezTo>
                    <a:pt x="783" y="185"/>
                    <a:pt x="736" y="291"/>
                    <a:pt x="736" y="397"/>
                  </a:cubicBezTo>
                  <a:cubicBezTo>
                    <a:pt x="736" y="842"/>
                    <a:pt x="736" y="842"/>
                    <a:pt x="736" y="842"/>
                  </a:cubicBezTo>
                  <a:cubicBezTo>
                    <a:pt x="532" y="842"/>
                    <a:pt x="532" y="842"/>
                    <a:pt x="532" y="842"/>
                  </a:cubicBezTo>
                  <a:cubicBezTo>
                    <a:pt x="532" y="352"/>
                    <a:pt x="532" y="352"/>
                    <a:pt x="532" y="352"/>
                  </a:cubicBezTo>
                  <a:cubicBezTo>
                    <a:pt x="532" y="252"/>
                    <a:pt x="490" y="185"/>
                    <a:pt x="392" y="185"/>
                  </a:cubicBezTo>
                  <a:cubicBezTo>
                    <a:pt x="258" y="185"/>
                    <a:pt x="205" y="284"/>
                    <a:pt x="205" y="394"/>
                  </a:cubicBezTo>
                  <a:cubicBezTo>
                    <a:pt x="205" y="842"/>
                    <a:pt x="205" y="842"/>
                    <a:pt x="205"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grpSp>
      <p:grpSp>
        <p:nvGrpSpPr>
          <p:cNvPr id="47" name="Group 46">
            <a:extLst>
              <a:ext uri="{FF2B5EF4-FFF2-40B4-BE49-F238E27FC236}">
                <a16:creationId xmlns:a16="http://schemas.microsoft.com/office/drawing/2014/main" id="{1F962ECB-3A1A-44FE-818D-CB9B4A34412E}"/>
              </a:ext>
            </a:extLst>
          </p:cNvPr>
          <p:cNvGrpSpPr>
            <a:grpSpLocks/>
          </p:cNvGrpSpPr>
          <p:nvPr userDrawn="1"/>
        </p:nvGrpSpPr>
        <p:grpSpPr bwMode="ltGray">
          <a:xfrm>
            <a:off x="233258" y="106904"/>
            <a:ext cx="426000" cy="1448052"/>
            <a:chOff x="177800" y="104775"/>
            <a:chExt cx="417513" cy="1419225"/>
          </a:xfrm>
          <a:solidFill>
            <a:schemeClr val="tx2"/>
          </a:solidFill>
        </p:grpSpPr>
        <p:sp>
          <p:nvSpPr>
            <p:cNvPr id="48" name="Freeform 42">
              <a:extLst>
                <a:ext uri="{FF2B5EF4-FFF2-40B4-BE49-F238E27FC236}">
                  <a16:creationId xmlns:a16="http://schemas.microsoft.com/office/drawing/2014/main" id="{133798F6-4EEC-435A-9713-7BFDDC5FFB74}"/>
                </a:ext>
              </a:extLst>
            </p:cNvPr>
            <p:cNvSpPr>
              <a:spLocks/>
            </p:cNvSpPr>
            <p:nvPr userDrawn="1"/>
          </p:nvSpPr>
          <p:spPr bwMode="ltGray">
            <a:xfrm>
              <a:off x="177800" y="1108075"/>
              <a:ext cx="417513" cy="415925"/>
            </a:xfrm>
            <a:custGeom>
              <a:avLst/>
              <a:gdLst>
                <a:gd name="T0" fmla="*/ 0 w 263"/>
                <a:gd name="T1" fmla="*/ 209 h 262"/>
                <a:gd name="T2" fmla="*/ 80 w 263"/>
                <a:gd name="T3" fmla="*/ 131 h 262"/>
                <a:gd name="T4" fmla="*/ 0 w 263"/>
                <a:gd name="T5" fmla="*/ 52 h 262"/>
                <a:gd name="T6" fmla="*/ 53 w 263"/>
                <a:gd name="T7" fmla="*/ 0 h 262"/>
                <a:gd name="T8" fmla="*/ 132 w 263"/>
                <a:gd name="T9" fmla="*/ 78 h 262"/>
                <a:gd name="T10" fmla="*/ 210 w 263"/>
                <a:gd name="T11" fmla="*/ 0 h 262"/>
                <a:gd name="T12" fmla="*/ 263 w 263"/>
                <a:gd name="T13" fmla="*/ 52 h 262"/>
                <a:gd name="T14" fmla="*/ 185 w 263"/>
                <a:gd name="T15" fmla="*/ 131 h 262"/>
                <a:gd name="T16" fmla="*/ 263 w 263"/>
                <a:gd name="T17" fmla="*/ 209 h 262"/>
                <a:gd name="T18" fmla="*/ 210 w 263"/>
                <a:gd name="T19" fmla="*/ 262 h 262"/>
                <a:gd name="T20" fmla="*/ 132 w 263"/>
                <a:gd name="T21" fmla="*/ 183 h 262"/>
                <a:gd name="T22" fmla="*/ 53 w 263"/>
                <a:gd name="T23" fmla="*/ 262 h 262"/>
                <a:gd name="T24" fmla="*/ 0 w 263"/>
                <a:gd name="T25" fmla="*/ 20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2">
                  <a:moveTo>
                    <a:pt x="0" y="209"/>
                  </a:moveTo>
                  <a:lnTo>
                    <a:pt x="80" y="131"/>
                  </a:lnTo>
                  <a:lnTo>
                    <a:pt x="0" y="52"/>
                  </a:lnTo>
                  <a:lnTo>
                    <a:pt x="53" y="0"/>
                  </a:lnTo>
                  <a:lnTo>
                    <a:pt x="132" y="78"/>
                  </a:lnTo>
                  <a:lnTo>
                    <a:pt x="210" y="0"/>
                  </a:lnTo>
                  <a:lnTo>
                    <a:pt x="263" y="52"/>
                  </a:lnTo>
                  <a:lnTo>
                    <a:pt x="185" y="131"/>
                  </a:lnTo>
                  <a:lnTo>
                    <a:pt x="263" y="209"/>
                  </a:lnTo>
                  <a:lnTo>
                    <a:pt x="210" y="262"/>
                  </a:lnTo>
                  <a:lnTo>
                    <a:pt x="132" y="183"/>
                  </a:lnTo>
                  <a:lnTo>
                    <a:pt x="53" y="262"/>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49" name="Freeform 43">
              <a:extLst>
                <a:ext uri="{FF2B5EF4-FFF2-40B4-BE49-F238E27FC236}">
                  <a16:creationId xmlns:a16="http://schemas.microsoft.com/office/drawing/2014/main" id="{8E16C36D-5041-4E7E-A415-3F2271D253D9}"/>
                </a:ext>
              </a:extLst>
            </p:cNvPr>
            <p:cNvSpPr>
              <a:spLocks/>
            </p:cNvSpPr>
            <p:nvPr userDrawn="1"/>
          </p:nvSpPr>
          <p:spPr bwMode="ltGray">
            <a:xfrm>
              <a:off x="177800" y="104775"/>
              <a:ext cx="417513" cy="417513"/>
            </a:xfrm>
            <a:custGeom>
              <a:avLst/>
              <a:gdLst>
                <a:gd name="T0" fmla="*/ 0 w 263"/>
                <a:gd name="T1" fmla="*/ 211 h 263"/>
                <a:gd name="T2" fmla="*/ 80 w 263"/>
                <a:gd name="T3" fmla="*/ 132 h 263"/>
                <a:gd name="T4" fmla="*/ 0 w 263"/>
                <a:gd name="T5" fmla="*/ 53 h 263"/>
                <a:gd name="T6" fmla="*/ 53 w 263"/>
                <a:gd name="T7" fmla="*/ 0 h 263"/>
                <a:gd name="T8" fmla="*/ 132 w 263"/>
                <a:gd name="T9" fmla="*/ 80 h 263"/>
                <a:gd name="T10" fmla="*/ 210 w 263"/>
                <a:gd name="T11" fmla="*/ 0 h 263"/>
                <a:gd name="T12" fmla="*/ 263 w 263"/>
                <a:gd name="T13" fmla="*/ 53 h 263"/>
                <a:gd name="T14" fmla="*/ 185 w 263"/>
                <a:gd name="T15" fmla="*/ 132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2"/>
                  </a:lnTo>
                  <a:lnTo>
                    <a:pt x="0" y="53"/>
                  </a:lnTo>
                  <a:lnTo>
                    <a:pt x="53" y="0"/>
                  </a:lnTo>
                  <a:lnTo>
                    <a:pt x="132" y="80"/>
                  </a:lnTo>
                  <a:lnTo>
                    <a:pt x="210" y="0"/>
                  </a:lnTo>
                  <a:lnTo>
                    <a:pt x="263" y="53"/>
                  </a:lnTo>
                  <a:lnTo>
                    <a:pt x="185" y="132"/>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50" name="Freeform 44">
              <a:extLst>
                <a:ext uri="{FF2B5EF4-FFF2-40B4-BE49-F238E27FC236}">
                  <a16:creationId xmlns:a16="http://schemas.microsoft.com/office/drawing/2014/main" id="{F926A661-97B8-4B43-9A12-C9C8083A5839}"/>
                </a:ext>
              </a:extLst>
            </p:cNvPr>
            <p:cNvSpPr>
              <a:spLocks/>
            </p:cNvSpPr>
            <p:nvPr userDrawn="1"/>
          </p:nvSpPr>
          <p:spPr bwMode="ltGray">
            <a:xfrm>
              <a:off x="177800" y="606425"/>
              <a:ext cx="417513" cy="417513"/>
            </a:xfrm>
            <a:custGeom>
              <a:avLst/>
              <a:gdLst>
                <a:gd name="T0" fmla="*/ 0 w 263"/>
                <a:gd name="T1" fmla="*/ 211 h 263"/>
                <a:gd name="T2" fmla="*/ 80 w 263"/>
                <a:gd name="T3" fmla="*/ 131 h 263"/>
                <a:gd name="T4" fmla="*/ 0 w 263"/>
                <a:gd name="T5" fmla="*/ 53 h 263"/>
                <a:gd name="T6" fmla="*/ 53 w 263"/>
                <a:gd name="T7" fmla="*/ 0 h 263"/>
                <a:gd name="T8" fmla="*/ 132 w 263"/>
                <a:gd name="T9" fmla="*/ 79 h 263"/>
                <a:gd name="T10" fmla="*/ 210 w 263"/>
                <a:gd name="T11" fmla="*/ 0 h 263"/>
                <a:gd name="T12" fmla="*/ 263 w 263"/>
                <a:gd name="T13" fmla="*/ 53 h 263"/>
                <a:gd name="T14" fmla="*/ 185 w 263"/>
                <a:gd name="T15" fmla="*/ 131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1"/>
                  </a:lnTo>
                  <a:lnTo>
                    <a:pt x="0" y="53"/>
                  </a:lnTo>
                  <a:lnTo>
                    <a:pt x="53" y="0"/>
                  </a:lnTo>
                  <a:lnTo>
                    <a:pt x="132" y="79"/>
                  </a:lnTo>
                  <a:lnTo>
                    <a:pt x="210" y="0"/>
                  </a:lnTo>
                  <a:lnTo>
                    <a:pt x="263" y="53"/>
                  </a:lnTo>
                  <a:lnTo>
                    <a:pt x="185" y="131"/>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grpSp>
    </p:spTree>
    <p:extLst>
      <p:ext uri="{BB962C8B-B14F-4D97-AF65-F5344CB8AC3E}">
        <p14:creationId xmlns:p14="http://schemas.microsoft.com/office/powerpoint/2010/main" val="414567437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F24D61-5313-4F14-A557-902DE0AAEE23}"/>
              </a:ext>
            </a:extLst>
          </p:cNvPr>
          <p:cNvSpPr/>
          <p:nvPr userDrawn="1">
            <p:custDataLst>
              <p:tags r:id="rId2"/>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5" name="Title Placeholder 2">
            <a:extLst>
              <a:ext uri="{FF2B5EF4-FFF2-40B4-BE49-F238E27FC236}">
                <a16:creationId xmlns:a16="http://schemas.microsoft.com/office/drawing/2014/main" id="{1CF00FC1-77FF-48FD-8945-D432EB9754D9}"/>
              </a:ext>
            </a:extLst>
          </p:cNvPr>
          <p:cNvSpPr>
            <a:spLocks noGrp="1" noChangeArrowheads="1"/>
          </p:cNvSpPr>
          <p:nvPr>
            <p:ph type="title"/>
          </p:nvPr>
        </p:nvSpPr>
        <p:spPr bwMode="gray">
          <a:xfrm>
            <a:off x="839041" y="283037"/>
            <a:ext cx="1111970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tabLst>
                <a:tab pos="549088" algn="l"/>
              </a:tabLst>
              <a:defRPr/>
            </a:lvl1pPr>
          </a:lstStyle>
          <a:p>
            <a:pPr lvl="0"/>
            <a:r>
              <a:rPr lang="nl-NL" noProof="0" dirty="0"/>
              <a:t>Click to edit Master title style</a:t>
            </a:r>
          </a:p>
        </p:txBody>
      </p:sp>
    </p:spTree>
    <p:extLst>
      <p:ext uri="{BB962C8B-B14F-4D97-AF65-F5344CB8AC3E}">
        <p14:creationId xmlns:p14="http://schemas.microsoft.com/office/powerpoint/2010/main" val="6714854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5BE47-2A2B-43B2-A85F-74DF39EFD07D}"/>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4" name="Object 3" hidden="1">
                        <a:extLst>
                          <a:ext uri="{FF2B5EF4-FFF2-40B4-BE49-F238E27FC236}">
                            <a16:creationId xmlns:a16="http://schemas.microsoft.com/office/drawing/2014/main" id="{E055BE47-2A2B-43B2-A85F-74DF39EFD07D}"/>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90D1DBB-A7F0-4A4F-96ED-21071423E3AB}"/>
              </a:ext>
            </a:extLst>
          </p:cNvPr>
          <p:cNvSpPr/>
          <p:nvPr userDrawn="1">
            <p:custDataLst>
              <p:tags r:id="rId2"/>
            </p:custDataLst>
          </p:nvPr>
        </p:nvSpPr>
        <p:spPr>
          <a:xfrm>
            <a:off x="0" y="0"/>
            <a:ext cx="161977" cy="16197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2" name="Title 1">
            <a:extLst>
              <a:ext uri="{FF2B5EF4-FFF2-40B4-BE49-F238E27FC236}">
                <a16:creationId xmlns:a16="http://schemas.microsoft.com/office/drawing/2014/main" id="{9734B9BF-C3B0-4969-8EE3-D3897CB3D972}"/>
              </a:ext>
            </a:extLst>
          </p:cNvPr>
          <p:cNvSpPr>
            <a:spLocks noGrp="1"/>
          </p:cNvSpPr>
          <p:nvPr>
            <p:ph type="title"/>
          </p:nvPr>
        </p:nvSpPr>
        <p:spPr/>
        <p:txBody>
          <a:bodyPr/>
          <a:lstStyle/>
          <a:p>
            <a:r>
              <a:rPr lang="nl-NL" dirty="0"/>
              <a:t>Click to edit Master title style</a:t>
            </a:r>
          </a:p>
        </p:txBody>
      </p:sp>
    </p:spTree>
    <p:extLst>
      <p:ext uri="{BB962C8B-B14F-4D97-AF65-F5344CB8AC3E}">
        <p14:creationId xmlns:p14="http://schemas.microsoft.com/office/powerpoint/2010/main" val="419735236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4719012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EA23475-9EC2-4C0C-BE62-D93FA15DA2B5}"/>
              </a:ext>
            </a:extLst>
          </p:cNvPr>
          <p:cNvSpPr/>
          <p:nvPr userDrawn="1">
            <p:custDataLst>
              <p:tags r:id="rId2"/>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5510"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45" name="Rectangle 44">
            <a:extLst>
              <a:ext uri="{FF2B5EF4-FFF2-40B4-BE49-F238E27FC236}">
                <a16:creationId xmlns:a16="http://schemas.microsoft.com/office/drawing/2014/main" id="{E81A223E-4F63-48C8-B290-576BBFF2BC0E}"/>
              </a:ext>
            </a:extLst>
          </p:cNvPr>
          <p:cNvSpPr>
            <a:spLocks/>
          </p:cNvSpPr>
          <p:nvPr userDrawn="1"/>
        </p:nvSpPr>
        <p:spPr bwMode="ltGray">
          <a:xfrm>
            <a:off x="1" y="1"/>
            <a:ext cx="892515"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nl-NL" sz="1837" dirty="0">
              <a:solidFill>
                <a:schemeClr val="tx1"/>
              </a:solidFill>
            </a:endParaRPr>
          </a:p>
        </p:txBody>
      </p:sp>
      <p:sp>
        <p:nvSpPr>
          <p:cNvPr id="9" name="Document type" hidden="1"/>
          <p:cNvSpPr txBox="1">
            <a:spLocks noChangeArrowheads="1"/>
          </p:cNvSpPr>
          <p:nvPr/>
        </p:nvSpPr>
        <p:spPr bwMode="ltGray">
          <a:xfrm>
            <a:off x="1018834" y="5844155"/>
            <a:ext cx="10080491"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nl-NL" sz="1428" baseline="0" noProof="0" dirty="0">
                <a:solidFill>
                  <a:schemeClr val="bg1"/>
                </a:solidFill>
                <a:latin typeface="+mn-lt"/>
              </a:rPr>
              <a:t>Documenttype</a:t>
            </a:r>
          </a:p>
        </p:txBody>
      </p:sp>
      <p:sp>
        <p:nvSpPr>
          <p:cNvPr id="10" name="Date" hidden="1"/>
          <p:cNvSpPr txBox="1">
            <a:spLocks noChangeArrowheads="1"/>
          </p:cNvSpPr>
          <p:nvPr/>
        </p:nvSpPr>
        <p:spPr bwMode="ltGray">
          <a:xfrm>
            <a:off x="1018834" y="6117893"/>
            <a:ext cx="10080491"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nl-NL" sz="1428" baseline="0" noProof="0" dirty="0">
                <a:solidFill>
                  <a:schemeClr val="bg1"/>
                </a:solidFill>
                <a:latin typeface="+mn-lt"/>
              </a:rPr>
              <a:t>Datum</a:t>
            </a:r>
          </a:p>
        </p:txBody>
      </p:sp>
      <p:sp>
        <p:nvSpPr>
          <p:cNvPr id="13314" name="Rectangle 1026"/>
          <p:cNvSpPr>
            <a:spLocks noGrp="1" noChangeArrowheads="1"/>
          </p:cNvSpPr>
          <p:nvPr>
            <p:ph type="ctrTitle"/>
          </p:nvPr>
        </p:nvSpPr>
        <p:spPr bwMode="ltGray">
          <a:xfrm>
            <a:off x="1018834" y="2605299"/>
            <a:ext cx="10080491" cy="847876"/>
          </a:xfrm>
          <a:prstGeom prst="rect">
            <a:avLst/>
          </a:prstGeom>
        </p:spPr>
        <p:txBody>
          <a:bodyPr wrap="square" anchor="b">
            <a:spAutoFit/>
          </a:bodyPr>
          <a:lstStyle>
            <a:lvl1pPr>
              <a:defRPr sz="5510" b="1" kern="1200" baseline="0">
                <a:solidFill>
                  <a:schemeClr val="bg1"/>
                </a:solidFill>
                <a:latin typeface="+mj-lt"/>
                <a:ea typeface="+mj-ea"/>
              </a:defRPr>
            </a:lvl1pPr>
          </a:lstStyle>
          <a:p>
            <a:pPr lvl="0"/>
            <a:r>
              <a:rPr lang="nl-NL" noProof="0" dirty="0"/>
              <a:t>Click to edit Master title style</a:t>
            </a:r>
          </a:p>
        </p:txBody>
      </p:sp>
      <p:sp>
        <p:nvSpPr>
          <p:cNvPr id="13315" name="Rectangle 1027"/>
          <p:cNvSpPr>
            <a:spLocks noGrp="1" noChangeArrowheads="1"/>
          </p:cNvSpPr>
          <p:nvPr>
            <p:ph type="subTitle" idx="1"/>
          </p:nvPr>
        </p:nvSpPr>
        <p:spPr bwMode="ltGray">
          <a:xfrm>
            <a:off x="1018834" y="3600693"/>
            <a:ext cx="10080491" cy="533848"/>
          </a:xfrm>
        </p:spPr>
        <p:txBody>
          <a:bodyPr wrap="square">
            <a:noAutofit/>
          </a:bodyPr>
          <a:lstStyle>
            <a:lvl1pPr>
              <a:defRPr sz="3469" baseline="0">
                <a:solidFill>
                  <a:schemeClr val="bg1"/>
                </a:solidFill>
                <a:latin typeface="+mj-lt"/>
                <a:ea typeface="+mj-ea"/>
              </a:defRPr>
            </a:lvl1pPr>
          </a:lstStyle>
          <a:p>
            <a:pPr lvl="0"/>
            <a:r>
              <a:rPr lang="nl-NL" noProof="0" dirty="0"/>
              <a:t>Click to edit Master subtitle style</a:t>
            </a:r>
          </a:p>
        </p:txBody>
      </p:sp>
      <p:grpSp>
        <p:nvGrpSpPr>
          <p:cNvPr id="43" name="Group 42">
            <a:extLst>
              <a:ext uri="{FF2B5EF4-FFF2-40B4-BE49-F238E27FC236}">
                <a16:creationId xmlns:a16="http://schemas.microsoft.com/office/drawing/2014/main" id="{3DA9FF67-0D51-4D87-B84D-DE1262962156}"/>
              </a:ext>
            </a:extLst>
          </p:cNvPr>
          <p:cNvGrpSpPr/>
          <p:nvPr userDrawn="1"/>
        </p:nvGrpSpPr>
        <p:grpSpPr bwMode="ltGray">
          <a:xfrm>
            <a:off x="1018835" y="127961"/>
            <a:ext cx="1731533" cy="579869"/>
            <a:chOff x="998538" y="125413"/>
            <a:chExt cx="1697038" cy="568325"/>
          </a:xfrm>
        </p:grpSpPr>
        <p:sp>
          <p:nvSpPr>
            <p:cNvPr id="19" name="Freeform 45">
              <a:extLst>
                <a:ext uri="{FF2B5EF4-FFF2-40B4-BE49-F238E27FC236}">
                  <a16:creationId xmlns:a16="http://schemas.microsoft.com/office/drawing/2014/main" id="{3594579E-4C97-4E6E-B5D9-2035222C075C}"/>
                </a:ext>
              </a:extLst>
            </p:cNvPr>
            <p:cNvSpPr>
              <a:spLocks/>
            </p:cNvSpPr>
            <p:nvPr userDrawn="1"/>
          </p:nvSpPr>
          <p:spPr bwMode="ltGray">
            <a:xfrm>
              <a:off x="1011238" y="125413"/>
              <a:ext cx="211138" cy="236538"/>
            </a:xfrm>
            <a:custGeom>
              <a:avLst/>
              <a:gdLst>
                <a:gd name="T0" fmla="*/ 1125 w 1125"/>
                <a:gd name="T1" fmla="*/ 1148 h 1267"/>
                <a:gd name="T2" fmla="*/ 631 w 1125"/>
                <a:gd name="T3" fmla="*/ 1267 h 1267"/>
                <a:gd name="T4" fmla="*/ 0 w 1125"/>
                <a:gd name="T5" fmla="*/ 639 h 1267"/>
                <a:gd name="T6" fmla="*/ 631 w 1125"/>
                <a:gd name="T7" fmla="*/ 0 h 1267"/>
                <a:gd name="T8" fmla="*/ 1102 w 1125"/>
                <a:gd name="T9" fmla="*/ 152 h 1267"/>
                <a:gd name="T10" fmla="*/ 945 w 1125"/>
                <a:gd name="T11" fmla="*/ 312 h 1267"/>
                <a:gd name="T12" fmla="*/ 633 w 1125"/>
                <a:gd name="T13" fmla="*/ 194 h 1267"/>
                <a:gd name="T14" fmla="*/ 223 w 1125"/>
                <a:gd name="T15" fmla="*/ 625 h 1267"/>
                <a:gd name="T16" fmla="*/ 633 w 1125"/>
                <a:gd name="T17" fmla="*/ 1073 h 1267"/>
                <a:gd name="T18" fmla="*/ 913 w 1125"/>
                <a:gd name="T19" fmla="*/ 1010 h 1267"/>
                <a:gd name="T20" fmla="*/ 913 w 1125"/>
                <a:gd name="T21" fmla="*/ 726 h 1267"/>
                <a:gd name="T22" fmla="*/ 669 w 1125"/>
                <a:gd name="T23" fmla="*/ 726 h 1267"/>
                <a:gd name="T24" fmla="*/ 669 w 1125"/>
                <a:gd name="T25" fmla="*/ 532 h 1267"/>
                <a:gd name="T26" fmla="*/ 1125 w 1125"/>
                <a:gd name="T27" fmla="*/ 532 h 1267"/>
                <a:gd name="T28" fmla="*/ 1125 w 1125"/>
                <a:gd name="T29" fmla="*/ 1148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5" h="1267">
                  <a:moveTo>
                    <a:pt x="1125" y="1148"/>
                  </a:moveTo>
                  <a:cubicBezTo>
                    <a:pt x="981" y="1227"/>
                    <a:pt x="815" y="1267"/>
                    <a:pt x="631" y="1267"/>
                  </a:cubicBezTo>
                  <a:cubicBezTo>
                    <a:pt x="263" y="1267"/>
                    <a:pt x="0" y="1015"/>
                    <a:pt x="0" y="639"/>
                  </a:cubicBezTo>
                  <a:cubicBezTo>
                    <a:pt x="0" y="252"/>
                    <a:pt x="263" y="0"/>
                    <a:pt x="631" y="0"/>
                  </a:cubicBezTo>
                  <a:cubicBezTo>
                    <a:pt x="813" y="0"/>
                    <a:pt x="977" y="39"/>
                    <a:pt x="1102" y="152"/>
                  </a:cubicBezTo>
                  <a:cubicBezTo>
                    <a:pt x="945" y="312"/>
                    <a:pt x="945" y="312"/>
                    <a:pt x="945" y="312"/>
                  </a:cubicBezTo>
                  <a:cubicBezTo>
                    <a:pt x="869" y="237"/>
                    <a:pt x="752" y="194"/>
                    <a:pt x="633" y="194"/>
                  </a:cubicBezTo>
                  <a:cubicBezTo>
                    <a:pt x="387" y="194"/>
                    <a:pt x="223" y="385"/>
                    <a:pt x="223" y="625"/>
                  </a:cubicBezTo>
                  <a:cubicBezTo>
                    <a:pt x="223" y="882"/>
                    <a:pt x="387" y="1073"/>
                    <a:pt x="633" y="1073"/>
                  </a:cubicBezTo>
                  <a:cubicBezTo>
                    <a:pt x="741" y="1073"/>
                    <a:pt x="839" y="1053"/>
                    <a:pt x="913" y="1010"/>
                  </a:cubicBezTo>
                  <a:cubicBezTo>
                    <a:pt x="913" y="726"/>
                    <a:pt x="913" y="726"/>
                    <a:pt x="913" y="726"/>
                  </a:cubicBezTo>
                  <a:cubicBezTo>
                    <a:pt x="669" y="726"/>
                    <a:pt x="669" y="726"/>
                    <a:pt x="669" y="726"/>
                  </a:cubicBezTo>
                  <a:cubicBezTo>
                    <a:pt x="669" y="532"/>
                    <a:pt x="669" y="532"/>
                    <a:pt x="669" y="532"/>
                  </a:cubicBezTo>
                  <a:cubicBezTo>
                    <a:pt x="1125" y="532"/>
                    <a:pt x="1125" y="532"/>
                    <a:pt x="1125" y="532"/>
                  </a:cubicBezTo>
                  <a:lnTo>
                    <a:pt x="1125" y="114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0" name="Freeform 46">
              <a:extLst>
                <a:ext uri="{FF2B5EF4-FFF2-40B4-BE49-F238E27FC236}">
                  <a16:creationId xmlns:a16="http://schemas.microsoft.com/office/drawing/2014/main" id="{F032D30D-15CF-4E12-8402-F1C574D25FE7}"/>
                </a:ext>
              </a:extLst>
            </p:cNvPr>
            <p:cNvSpPr>
              <a:spLocks noEditPoints="1"/>
            </p:cNvSpPr>
            <p:nvPr userDrawn="1"/>
          </p:nvSpPr>
          <p:spPr bwMode="ltGray">
            <a:xfrm>
              <a:off x="1258888" y="200025"/>
              <a:ext cx="155575" cy="160338"/>
            </a:xfrm>
            <a:custGeom>
              <a:avLst/>
              <a:gdLst>
                <a:gd name="T0" fmla="*/ 204 w 825"/>
                <a:gd name="T1" fmla="*/ 501 h 858"/>
                <a:gd name="T2" fmla="*/ 423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4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08" y="695"/>
                    <a:pt x="423"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8"/>
                    <a:pt x="542" y="153"/>
                    <a:pt x="414" y="153"/>
                  </a:cubicBezTo>
                  <a:cubicBezTo>
                    <a:pt x="293"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1" name="Freeform 47">
              <a:extLst>
                <a:ext uri="{FF2B5EF4-FFF2-40B4-BE49-F238E27FC236}">
                  <a16:creationId xmlns:a16="http://schemas.microsoft.com/office/drawing/2014/main" id="{62181A78-9679-473A-A970-452B7964DC86}"/>
                </a:ext>
              </a:extLst>
            </p:cNvPr>
            <p:cNvSpPr>
              <a:spLocks/>
            </p:cNvSpPr>
            <p:nvPr userDrawn="1"/>
          </p:nvSpPr>
          <p:spPr bwMode="ltGray">
            <a:xfrm>
              <a:off x="1447800" y="200025"/>
              <a:ext cx="236538" cy="155575"/>
            </a:xfrm>
            <a:custGeom>
              <a:avLst/>
              <a:gdLst>
                <a:gd name="T0" fmla="*/ 0 w 1259"/>
                <a:gd name="T1" fmla="*/ 20 h 833"/>
                <a:gd name="T2" fmla="*/ 193 w 1259"/>
                <a:gd name="T3" fmla="*/ 20 h 833"/>
                <a:gd name="T4" fmla="*/ 193 w 1259"/>
                <a:gd name="T5" fmla="*/ 148 h 833"/>
                <a:gd name="T6" fmla="*/ 197 w 1259"/>
                <a:gd name="T7" fmla="*/ 148 h 833"/>
                <a:gd name="T8" fmla="*/ 445 w 1259"/>
                <a:gd name="T9" fmla="*/ 0 h 833"/>
                <a:gd name="T10" fmla="*/ 699 w 1259"/>
                <a:gd name="T11" fmla="*/ 151 h 833"/>
                <a:gd name="T12" fmla="*/ 966 w 1259"/>
                <a:gd name="T13" fmla="*/ 0 h 833"/>
                <a:gd name="T14" fmla="*/ 1259 w 1259"/>
                <a:gd name="T15" fmla="*/ 349 h 833"/>
                <a:gd name="T16" fmla="*/ 1259 w 1259"/>
                <a:gd name="T17" fmla="*/ 833 h 833"/>
                <a:gd name="T18" fmla="*/ 1056 w 1259"/>
                <a:gd name="T19" fmla="*/ 833 h 833"/>
                <a:gd name="T20" fmla="*/ 1056 w 1259"/>
                <a:gd name="T21" fmla="*/ 372 h 833"/>
                <a:gd name="T22" fmla="*/ 905 w 1259"/>
                <a:gd name="T23" fmla="*/ 183 h 833"/>
                <a:gd name="T24" fmla="*/ 731 w 1259"/>
                <a:gd name="T25" fmla="*/ 393 h 833"/>
                <a:gd name="T26" fmla="*/ 731 w 1259"/>
                <a:gd name="T27" fmla="*/ 833 h 833"/>
                <a:gd name="T28" fmla="*/ 528 w 1259"/>
                <a:gd name="T29" fmla="*/ 833 h 833"/>
                <a:gd name="T30" fmla="*/ 528 w 1259"/>
                <a:gd name="T31" fmla="*/ 349 h 833"/>
                <a:gd name="T32" fmla="*/ 389 w 1259"/>
                <a:gd name="T33" fmla="*/ 183 h 833"/>
                <a:gd name="T34" fmla="*/ 204 w 1259"/>
                <a:gd name="T35" fmla="*/ 390 h 833"/>
                <a:gd name="T36" fmla="*/ 204 w 1259"/>
                <a:gd name="T37" fmla="*/ 833 h 833"/>
                <a:gd name="T38" fmla="*/ 0 w 1259"/>
                <a:gd name="T39" fmla="*/ 833 h 833"/>
                <a:gd name="T40" fmla="*/ 0 w 1259"/>
                <a:gd name="T41" fmla="*/ 2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9" h="833">
                  <a:moveTo>
                    <a:pt x="0" y="20"/>
                  </a:moveTo>
                  <a:cubicBezTo>
                    <a:pt x="193" y="20"/>
                    <a:pt x="193" y="20"/>
                    <a:pt x="193" y="20"/>
                  </a:cubicBezTo>
                  <a:cubicBezTo>
                    <a:pt x="193" y="148"/>
                    <a:pt x="193" y="148"/>
                    <a:pt x="193" y="148"/>
                  </a:cubicBezTo>
                  <a:cubicBezTo>
                    <a:pt x="197" y="148"/>
                    <a:pt x="197" y="148"/>
                    <a:pt x="197" y="148"/>
                  </a:cubicBezTo>
                  <a:cubicBezTo>
                    <a:pt x="232" y="72"/>
                    <a:pt x="310" y="0"/>
                    <a:pt x="445" y="0"/>
                  </a:cubicBezTo>
                  <a:cubicBezTo>
                    <a:pt x="570" y="0"/>
                    <a:pt x="656" y="49"/>
                    <a:pt x="699" y="151"/>
                  </a:cubicBezTo>
                  <a:cubicBezTo>
                    <a:pt x="758" y="47"/>
                    <a:pt x="844" y="0"/>
                    <a:pt x="966" y="0"/>
                  </a:cubicBezTo>
                  <a:cubicBezTo>
                    <a:pt x="1183" y="0"/>
                    <a:pt x="1259" y="155"/>
                    <a:pt x="1259" y="349"/>
                  </a:cubicBezTo>
                  <a:cubicBezTo>
                    <a:pt x="1259" y="833"/>
                    <a:pt x="1259" y="833"/>
                    <a:pt x="1259" y="833"/>
                  </a:cubicBezTo>
                  <a:cubicBezTo>
                    <a:pt x="1056" y="833"/>
                    <a:pt x="1056" y="833"/>
                    <a:pt x="1056" y="833"/>
                  </a:cubicBezTo>
                  <a:cubicBezTo>
                    <a:pt x="1056" y="372"/>
                    <a:pt x="1056" y="372"/>
                    <a:pt x="1056" y="372"/>
                  </a:cubicBezTo>
                  <a:cubicBezTo>
                    <a:pt x="1056" y="271"/>
                    <a:pt x="1025" y="183"/>
                    <a:pt x="905" y="183"/>
                  </a:cubicBezTo>
                  <a:cubicBezTo>
                    <a:pt x="778" y="183"/>
                    <a:pt x="731" y="288"/>
                    <a:pt x="731" y="393"/>
                  </a:cubicBezTo>
                  <a:cubicBezTo>
                    <a:pt x="731" y="833"/>
                    <a:pt x="731" y="833"/>
                    <a:pt x="731" y="833"/>
                  </a:cubicBezTo>
                  <a:cubicBezTo>
                    <a:pt x="528" y="833"/>
                    <a:pt x="528" y="833"/>
                    <a:pt x="528" y="833"/>
                  </a:cubicBezTo>
                  <a:cubicBezTo>
                    <a:pt x="528" y="349"/>
                    <a:pt x="528" y="349"/>
                    <a:pt x="528" y="349"/>
                  </a:cubicBezTo>
                  <a:cubicBezTo>
                    <a:pt x="528" y="249"/>
                    <a:pt x="487" y="183"/>
                    <a:pt x="389" y="183"/>
                  </a:cubicBezTo>
                  <a:cubicBezTo>
                    <a:pt x="256" y="183"/>
                    <a:pt x="204" y="281"/>
                    <a:pt x="204" y="390"/>
                  </a:cubicBezTo>
                  <a:cubicBezTo>
                    <a:pt x="204" y="833"/>
                    <a:pt x="204" y="833"/>
                    <a:pt x="204" y="833"/>
                  </a:cubicBezTo>
                  <a:cubicBezTo>
                    <a:pt x="0" y="833"/>
                    <a:pt x="0" y="833"/>
                    <a:pt x="0" y="833"/>
                  </a:cubicBezTo>
                  <a:lnTo>
                    <a:pt x="0" y="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2" name="Freeform 48">
              <a:extLst>
                <a:ext uri="{FF2B5EF4-FFF2-40B4-BE49-F238E27FC236}">
                  <a16:creationId xmlns:a16="http://schemas.microsoft.com/office/drawing/2014/main" id="{0C7F4442-2C2D-4A55-8C64-21A57A1756DF}"/>
                </a:ext>
              </a:extLst>
            </p:cNvPr>
            <p:cNvSpPr>
              <a:spLocks noEditPoints="1"/>
            </p:cNvSpPr>
            <p:nvPr userDrawn="1"/>
          </p:nvSpPr>
          <p:spPr bwMode="ltGray">
            <a:xfrm>
              <a:off x="1717675" y="200025"/>
              <a:ext cx="153988" cy="160338"/>
            </a:xfrm>
            <a:custGeom>
              <a:avLst/>
              <a:gdLst>
                <a:gd name="T0" fmla="*/ 204 w 825"/>
                <a:gd name="T1" fmla="*/ 501 h 858"/>
                <a:gd name="T2" fmla="*/ 423 w 825"/>
                <a:gd name="T3" fmla="*/ 695 h 858"/>
                <a:gd name="T4" fmla="*/ 642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5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10" y="695"/>
                    <a:pt x="423" y="695"/>
                  </a:cubicBezTo>
                  <a:cubicBezTo>
                    <a:pt x="525" y="695"/>
                    <a:pt x="591" y="647"/>
                    <a:pt x="642"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8"/>
                    <a:pt x="542" y="153"/>
                    <a:pt x="415" y="153"/>
                  </a:cubicBezTo>
                  <a:cubicBezTo>
                    <a:pt x="294"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3" name="Freeform 49">
              <a:extLst>
                <a:ext uri="{FF2B5EF4-FFF2-40B4-BE49-F238E27FC236}">
                  <a16:creationId xmlns:a16="http://schemas.microsoft.com/office/drawing/2014/main" id="{E708E535-9F33-4B32-AF3A-89677DD5E41B}"/>
                </a:ext>
              </a:extLst>
            </p:cNvPr>
            <p:cNvSpPr>
              <a:spLocks noEditPoints="1"/>
            </p:cNvSpPr>
            <p:nvPr userDrawn="1"/>
          </p:nvSpPr>
          <p:spPr bwMode="ltGray">
            <a:xfrm>
              <a:off x="1900238" y="200025"/>
              <a:ext cx="153988" cy="160338"/>
            </a:xfrm>
            <a:custGeom>
              <a:avLst/>
              <a:gdLst>
                <a:gd name="T0" fmla="*/ 204 w 825"/>
                <a:gd name="T1" fmla="*/ 501 h 858"/>
                <a:gd name="T2" fmla="*/ 422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4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08" y="695"/>
                    <a:pt x="422"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19" y="228"/>
                    <a:pt x="542" y="153"/>
                    <a:pt x="414" y="153"/>
                  </a:cubicBezTo>
                  <a:cubicBezTo>
                    <a:pt x="293"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4" name="Freeform 50">
              <a:extLst>
                <a:ext uri="{FF2B5EF4-FFF2-40B4-BE49-F238E27FC236}">
                  <a16:creationId xmlns:a16="http://schemas.microsoft.com/office/drawing/2014/main" id="{8850C9E0-7F66-4B6F-A5E3-B030EA899A8C}"/>
                </a:ext>
              </a:extLst>
            </p:cNvPr>
            <p:cNvSpPr>
              <a:spLocks/>
            </p:cNvSpPr>
            <p:nvPr userDrawn="1"/>
          </p:nvSpPr>
          <p:spPr bwMode="ltGray">
            <a:xfrm>
              <a:off x="2089150" y="200025"/>
              <a:ext cx="139700" cy="155575"/>
            </a:xfrm>
            <a:custGeom>
              <a:avLst/>
              <a:gdLst>
                <a:gd name="T0" fmla="*/ 0 w 750"/>
                <a:gd name="T1" fmla="*/ 20 h 833"/>
                <a:gd name="T2" fmla="*/ 195 w 750"/>
                <a:gd name="T3" fmla="*/ 20 h 833"/>
                <a:gd name="T4" fmla="*/ 195 w 750"/>
                <a:gd name="T5" fmla="*/ 151 h 833"/>
                <a:gd name="T6" fmla="*/ 199 w 750"/>
                <a:gd name="T7" fmla="*/ 151 h 833"/>
                <a:gd name="T8" fmla="*/ 450 w 750"/>
                <a:gd name="T9" fmla="*/ 0 h 833"/>
                <a:gd name="T10" fmla="*/ 750 w 750"/>
                <a:gd name="T11" fmla="*/ 320 h 833"/>
                <a:gd name="T12" fmla="*/ 750 w 750"/>
                <a:gd name="T13" fmla="*/ 833 h 833"/>
                <a:gd name="T14" fmla="*/ 545 w 750"/>
                <a:gd name="T15" fmla="*/ 833 h 833"/>
                <a:gd name="T16" fmla="*/ 545 w 750"/>
                <a:gd name="T17" fmla="*/ 421 h 833"/>
                <a:gd name="T18" fmla="*/ 394 w 750"/>
                <a:gd name="T19" fmla="*/ 183 h 833"/>
                <a:gd name="T20" fmla="*/ 206 w 750"/>
                <a:gd name="T21" fmla="*/ 390 h 833"/>
                <a:gd name="T22" fmla="*/ 206 w 750"/>
                <a:gd name="T23" fmla="*/ 833 h 833"/>
                <a:gd name="T24" fmla="*/ 0 w 750"/>
                <a:gd name="T25" fmla="*/ 833 h 833"/>
                <a:gd name="T26" fmla="*/ 0 w 750"/>
                <a:gd name="T27" fmla="*/ 2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0" h="833">
                  <a:moveTo>
                    <a:pt x="0" y="20"/>
                  </a:moveTo>
                  <a:cubicBezTo>
                    <a:pt x="195" y="20"/>
                    <a:pt x="195" y="20"/>
                    <a:pt x="195" y="20"/>
                  </a:cubicBezTo>
                  <a:cubicBezTo>
                    <a:pt x="195" y="151"/>
                    <a:pt x="195" y="151"/>
                    <a:pt x="195" y="151"/>
                  </a:cubicBezTo>
                  <a:cubicBezTo>
                    <a:pt x="199" y="151"/>
                    <a:pt x="199" y="151"/>
                    <a:pt x="199" y="151"/>
                  </a:cubicBezTo>
                  <a:cubicBezTo>
                    <a:pt x="237" y="69"/>
                    <a:pt x="313" y="0"/>
                    <a:pt x="450" y="0"/>
                  </a:cubicBezTo>
                  <a:cubicBezTo>
                    <a:pt x="671" y="0"/>
                    <a:pt x="750" y="155"/>
                    <a:pt x="750" y="320"/>
                  </a:cubicBezTo>
                  <a:cubicBezTo>
                    <a:pt x="750" y="833"/>
                    <a:pt x="750" y="833"/>
                    <a:pt x="750" y="833"/>
                  </a:cubicBezTo>
                  <a:cubicBezTo>
                    <a:pt x="545" y="833"/>
                    <a:pt x="545" y="833"/>
                    <a:pt x="545" y="833"/>
                  </a:cubicBezTo>
                  <a:cubicBezTo>
                    <a:pt x="545" y="421"/>
                    <a:pt x="545" y="421"/>
                    <a:pt x="545" y="421"/>
                  </a:cubicBezTo>
                  <a:cubicBezTo>
                    <a:pt x="545" y="333"/>
                    <a:pt x="538" y="183"/>
                    <a:pt x="394" y="183"/>
                  </a:cubicBezTo>
                  <a:cubicBezTo>
                    <a:pt x="259" y="183"/>
                    <a:pt x="206" y="281"/>
                    <a:pt x="206" y="390"/>
                  </a:cubicBezTo>
                  <a:cubicBezTo>
                    <a:pt x="206" y="833"/>
                    <a:pt x="206" y="833"/>
                    <a:pt x="206" y="833"/>
                  </a:cubicBezTo>
                  <a:cubicBezTo>
                    <a:pt x="0" y="833"/>
                    <a:pt x="0" y="833"/>
                    <a:pt x="0" y="833"/>
                  </a:cubicBezTo>
                  <a:lnTo>
                    <a:pt x="0" y="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5" name="Freeform 51">
              <a:extLst>
                <a:ext uri="{FF2B5EF4-FFF2-40B4-BE49-F238E27FC236}">
                  <a16:creationId xmlns:a16="http://schemas.microsoft.com/office/drawing/2014/main" id="{5E7243FB-D22C-4780-A2BD-2B0FE0EBDE84}"/>
                </a:ext>
              </a:extLst>
            </p:cNvPr>
            <p:cNvSpPr>
              <a:spLocks/>
            </p:cNvSpPr>
            <p:nvPr userDrawn="1"/>
          </p:nvSpPr>
          <p:spPr bwMode="ltGray">
            <a:xfrm>
              <a:off x="2254250" y="158750"/>
              <a:ext cx="111125" cy="201613"/>
            </a:xfrm>
            <a:custGeom>
              <a:avLst/>
              <a:gdLst>
                <a:gd name="T0" fmla="*/ 0 w 591"/>
                <a:gd name="T1" fmla="*/ 411 h 1075"/>
                <a:gd name="T2" fmla="*/ 0 w 591"/>
                <a:gd name="T3" fmla="*/ 237 h 1075"/>
                <a:gd name="T4" fmla="*/ 166 w 591"/>
                <a:gd name="T5" fmla="*/ 237 h 1075"/>
                <a:gd name="T6" fmla="*/ 166 w 591"/>
                <a:gd name="T7" fmla="*/ 0 h 1075"/>
                <a:gd name="T8" fmla="*/ 369 w 591"/>
                <a:gd name="T9" fmla="*/ 0 h 1075"/>
                <a:gd name="T10" fmla="*/ 369 w 591"/>
                <a:gd name="T11" fmla="*/ 237 h 1075"/>
                <a:gd name="T12" fmla="*/ 591 w 591"/>
                <a:gd name="T13" fmla="*/ 237 h 1075"/>
                <a:gd name="T14" fmla="*/ 591 w 591"/>
                <a:gd name="T15" fmla="*/ 411 h 1075"/>
                <a:gd name="T16" fmla="*/ 369 w 591"/>
                <a:gd name="T17" fmla="*/ 411 h 1075"/>
                <a:gd name="T18" fmla="*/ 369 w 591"/>
                <a:gd name="T19" fmla="*/ 769 h 1075"/>
                <a:gd name="T20" fmla="*/ 482 w 591"/>
                <a:gd name="T21" fmla="*/ 901 h 1075"/>
                <a:gd name="T22" fmla="*/ 591 w 591"/>
                <a:gd name="T23" fmla="*/ 876 h 1075"/>
                <a:gd name="T24" fmla="*/ 591 w 591"/>
                <a:gd name="T25" fmla="*/ 1048 h 1075"/>
                <a:gd name="T26" fmla="*/ 432 w 591"/>
                <a:gd name="T27" fmla="*/ 1075 h 1075"/>
                <a:gd name="T28" fmla="*/ 166 w 591"/>
                <a:gd name="T29" fmla="*/ 786 h 1075"/>
                <a:gd name="T30" fmla="*/ 166 w 591"/>
                <a:gd name="T31" fmla="*/ 411 h 1075"/>
                <a:gd name="T32" fmla="*/ 0 w 591"/>
                <a:gd name="T33" fmla="*/ 411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1" h="1075">
                  <a:moveTo>
                    <a:pt x="0" y="411"/>
                  </a:moveTo>
                  <a:cubicBezTo>
                    <a:pt x="0" y="237"/>
                    <a:pt x="0" y="237"/>
                    <a:pt x="0" y="237"/>
                  </a:cubicBezTo>
                  <a:cubicBezTo>
                    <a:pt x="166" y="237"/>
                    <a:pt x="166" y="237"/>
                    <a:pt x="166" y="237"/>
                  </a:cubicBezTo>
                  <a:cubicBezTo>
                    <a:pt x="166" y="0"/>
                    <a:pt x="166" y="0"/>
                    <a:pt x="166" y="0"/>
                  </a:cubicBezTo>
                  <a:cubicBezTo>
                    <a:pt x="369" y="0"/>
                    <a:pt x="369" y="0"/>
                    <a:pt x="369" y="0"/>
                  </a:cubicBezTo>
                  <a:cubicBezTo>
                    <a:pt x="369" y="237"/>
                    <a:pt x="369" y="237"/>
                    <a:pt x="369" y="237"/>
                  </a:cubicBezTo>
                  <a:cubicBezTo>
                    <a:pt x="591" y="237"/>
                    <a:pt x="591" y="237"/>
                    <a:pt x="591" y="237"/>
                  </a:cubicBezTo>
                  <a:cubicBezTo>
                    <a:pt x="591" y="411"/>
                    <a:pt x="591" y="411"/>
                    <a:pt x="591" y="411"/>
                  </a:cubicBezTo>
                  <a:cubicBezTo>
                    <a:pt x="369" y="411"/>
                    <a:pt x="369" y="411"/>
                    <a:pt x="369" y="411"/>
                  </a:cubicBezTo>
                  <a:cubicBezTo>
                    <a:pt x="369" y="769"/>
                    <a:pt x="369" y="769"/>
                    <a:pt x="369" y="769"/>
                  </a:cubicBezTo>
                  <a:cubicBezTo>
                    <a:pt x="369" y="851"/>
                    <a:pt x="392" y="901"/>
                    <a:pt x="482" y="901"/>
                  </a:cubicBezTo>
                  <a:cubicBezTo>
                    <a:pt x="517" y="901"/>
                    <a:pt x="566" y="894"/>
                    <a:pt x="591" y="876"/>
                  </a:cubicBezTo>
                  <a:cubicBezTo>
                    <a:pt x="591" y="1048"/>
                    <a:pt x="591" y="1048"/>
                    <a:pt x="591" y="1048"/>
                  </a:cubicBezTo>
                  <a:cubicBezTo>
                    <a:pt x="550" y="1068"/>
                    <a:pt x="478" y="1075"/>
                    <a:pt x="432" y="1075"/>
                  </a:cubicBezTo>
                  <a:cubicBezTo>
                    <a:pt x="216" y="1075"/>
                    <a:pt x="166" y="978"/>
                    <a:pt x="166" y="786"/>
                  </a:cubicBezTo>
                  <a:cubicBezTo>
                    <a:pt x="166" y="411"/>
                    <a:pt x="166" y="411"/>
                    <a:pt x="166" y="411"/>
                  </a:cubicBezTo>
                  <a:lnTo>
                    <a:pt x="0" y="41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6" name="Freeform 52">
              <a:extLst>
                <a:ext uri="{FF2B5EF4-FFF2-40B4-BE49-F238E27FC236}">
                  <a16:creationId xmlns:a16="http://schemas.microsoft.com/office/drawing/2014/main" id="{6E9E2EC8-D504-4CF1-B77E-DDBDE4017BF5}"/>
                </a:ext>
              </a:extLst>
            </p:cNvPr>
            <p:cNvSpPr>
              <a:spLocks noEditPoints="1"/>
            </p:cNvSpPr>
            <p:nvPr userDrawn="1"/>
          </p:nvSpPr>
          <p:spPr bwMode="ltGray">
            <a:xfrm>
              <a:off x="2387600" y="200025"/>
              <a:ext cx="155575" cy="160338"/>
            </a:xfrm>
            <a:custGeom>
              <a:avLst/>
              <a:gdLst>
                <a:gd name="T0" fmla="*/ 203 w 825"/>
                <a:gd name="T1" fmla="*/ 501 h 858"/>
                <a:gd name="T2" fmla="*/ 422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3 w 825"/>
                <a:gd name="T19" fmla="*/ 501 h 858"/>
                <a:gd name="T20" fmla="*/ 622 w 825"/>
                <a:gd name="T21" fmla="*/ 347 h 858"/>
                <a:gd name="T22" fmla="*/ 414 w 825"/>
                <a:gd name="T23" fmla="*/ 153 h 858"/>
                <a:gd name="T24" fmla="*/ 203 w 825"/>
                <a:gd name="T25" fmla="*/ 347 h 858"/>
                <a:gd name="T26" fmla="*/ 622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3" y="501"/>
                  </a:moveTo>
                  <a:cubicBezTo>
                    <a:pt x="217" y="621"/>
                    <a:pt x="309" y="695"/>
                    <a:pt x="422"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1" y="0"/>
                    <a:pt x="825" y="160"/>
                    <a:pt x="825" y="445"/>
                  </a:cubicBezTo>
                  <a:cubicBezTo>
                    <a:pt x="825" y="501"/>
                    <a:pt x="825" y="501"/>
                    <a:pt x="825" y="501"/>
                  </a:cubicBezTo>
                  <a:lnTo>
                    <a:pt x="203" y="501"/>
                  </a:lnTo>
                  <a:close/>
                  <a:moveTo>
                    <a:pt x="622" y="347"/>
                  </a:moveTo>
                  <a:cubicBezTo>
                    <a:pt x="619" y="228"/>
                    <a:pt x="542" y="153"/>
                    <a:pt x="414" y="153"/>
                  </a:cubicBezTo>
                  <a:cubicBezTo>
                    <a:pt x="293" y="153"/>
                    <a:pt x="218" y="229"/>
                    <a:pt x="203" y="347"/>
                  </a:cubicBezTo>
                  <a:lnTo>
                    <a:pt x="622"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7" name="Freeform 53">
              <a:extLst>
                <a:ext uri="{FF2B5EF4-FFF2-40B4-BE49-F238E27FC236}">
                  <a16:creationId xmlns:a16="http://schemas.microsoft.com/office/drawing/2014/main" id="{8A66AFFE-C1AF-4BF3-961F-5537D56D006C}"/>
                </a:ext>
              </a:extLst>
            </p:cNvPr>
            <p:cNvSpPr>
              <a:spLocks noEditPoints="1"/>
            </p:cNvSpPr>
            <p:nvPr userDrawn="1"/>
          </p:nvSpPr>
          <p:spPr bwMode="ltGray">
            <a:xfrm>
              <a:off x="998538" y="465138"/>
              <a:ext cx="228600" cy="225425"/>
            </a:xfrm>
            <a:custGeom>
              <a:avLst/>
              <a:gdLst>
                <a:gd name="T0" fmla="*/ 61 w 144"/>
                <a:gd name="T1" fmla="*/ 0 h 142"/>
                <a:gd name="T2" fmla="*/ 83 w 144"/>
                <a:gd name="T3" fmla="*/ 0 h 142"/>
                <a:gd name="T4" fmla="*/ 144 w 144"/>
                <a:gd name="T5" fmla="*/ 142 h 142"/>
                <a:gd name="T6" fmla="*/ 115 w 144"/>
                <a:gd name="T7" fmla="*/ 142 h 142"/>
                <a:gd name="T8" fmla="*/ 103 w 144"/>
                <a:gd name="T9" fmla="*/ 109 h 142"/>
                <a:gd name="T10" fmla="*/ 41 w 144"/>
                <a:gd name="T11" fmla="*/ 109 h 142"/>
                <a:gd name="T12" fmla="*/ 28 w 144"/>
                <a:gd name="T13" fmla="*/ 142 h 142"/>
                <a:gd name="T14" fmla="*/ 0 w 144"/>
                <a:gd name="T15" fmla="*/ 142 h 142"/>
                <a:gd name="T16" fmla="*/ 61 w 144"/>
                <a:gd name="T17" fmla="*/ 0 h 142"/>
                <a:gd name="T18" fmla="*/ 94 w 144"/>
                <a:gd name="T19" fmla="*/ 88 h 142"/>
                <a:gd name="T20" fmla="*/ 72 w 144"/>
                <a:gd name="T21" fmla="*/ 30 h 142"/>
                <a:gd name="T22" fmla="*/ 50 w 144"/>
                <a:gd name="T23" fmla="*/ 88 h 142"/>
                <a:gd name="T24" fmla="*/ 94 w 144"/>
                <a:gd name="T25" fmla="*/ 8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42">
                  <a:moveTo>
                    <a:pt x="61" y="0"/>
                  </a:moveTo>
                  <a:lnTo>
                    <a:pt x="83" y="0"/>
                  </a:lnTo>
                  <a:lnTo>
                    <a:pt x="144" y="142"/>
                  </a:lnTo>
                  <a:lnTo>
                    <a:pt x="115" y="142"/>
                  </a:lnTo>
                  <a:lnTo>
                    <a:pt x="103" y="109"/>
                  </a:lnTo>
                  <a:lnTo>
                    <a:pt x="41" y="109"/>
                  </a:lnTo>
                  <a:lnTo>
                    <a:pt x="28" y="142"/>
                  </a:lnTo>
                  <a:lnTo>
                    <a:pt x="0" y="142"/>
                  </a:lnTo>
                  <a:lnTo>
                    <a:pt x="61" y="0"/>
                  </a:lnTo>
                  <a:close/>
                  <a:moveTo>
                    <a:pt x="94" y="88"/>
                  </a:moveTo>
                  <a:lnTo>
                    <a:pt x="72" y="30"/>
                  </a:lnTo>
                  <a:lnTo>
                    <a:pt x="50" y="88"/>
                  </a:lnTo>
                  <a:lnTo>
                    <a:pt x="94" y="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8" name="Freeform 54">
              <a:extLst>
                <a:ext uri="{FF2B5EF4-FFF2-40B4-BE49-F238E27FC236}">
                  <a16:creationId xmlns:a16="http://schemas.microsoft.com/office/drawing/2014/main" id="{EC606987-D892-4CD1-9A72-6B9C2DC29614}"/>
                </a:ext>
              </a:extLst>
            </p:cNvPr>
            <p:cNvSpPr>
              <a:spLocks/>
            </p:cNvSpPr>
            <p:nvPr userDrawn="1"/>
          </p:nvSpPr>
          <p:spPr bwMode="ltGray">
            <a:xfrm>
              <a:off x="1247775" y="533400"/>
              <a:ext cx="236538" cy="157163"/>
            </a:xfrm>
            <a:custGeom>
              <a:avLst/>
              <a:gdLst>
                <a:gd name="T0" fmla="*/ 0 w 1267"/>
                <a:gd name="T1" fmla="*/ 21 h 842"/>
                <a:gd name="T2" fmla="*/ 194 w 1267"/>
                <a:gd name="T3" fmla="*/ 21 h 842"/>
                <a:gd name="T4" fmla="*/ 194 w 1267"/>
                <a:gd name="T5" fmla="*/ 149 h 842"/>
                <a:gd name="T6" fmla="*/ 198 w 1267"/>
                <a:gd name="T7" fmla="*/ 149 h 842"/>
                <a:gd name="T8" fmla="*/ 448 w 1267"/>
                <a:gd name="T9" fmla="*/ 0 h 842"/>
                <a:gd name="T10" fmla="*/ 704 w 1267"/>
                <a:gd name="T11" fmla="*/ 153 h 842"/>
                <a:gd name="T12" fmla="*/ 972 w 1267"/>
                <a:gd name="T13" fmla="*/ 0 h 842"/>
                <a:gd name="T14" fmla="*/ 1267 w 1267"/>
                <a:gd name="T15" fmla="*/ 352 h 842"/>
                <a:gd name="T16" fmla="*/ 1267 w 1267"/>
                <a:gd name="T17" fmla="*/ 842 h 842"/>
                <a:gd name="T18" fmla="*/ 1063 w 1267"/>
                <a:gd name="T19" fmla="*/ 842 h 842"/>
                <a:gd name="T20" fmla="*/ 1063 w 1267"/>
                <a:gd name="T21" fmla="*/ 377 h 842"/>
                <a:gd name="T22" fmla="*/ 911 w 1267"/>
                <a:gd name="T23" fmla="*/ 185 h 842"/>
                <a:gd name="T24" fmla="*/ 736 w 1267"/>
                <a:gd name="T25" fmla="*/ 397 h 842"/>
                <a:gd name="T26" fmla="*/ 736 w 1267"/>
                <a:gd name="T27" fmla="*/ 842 h 842"/>
                <a:gd name="T28" fmla="*/ 532 w 1267"/>
                <a:gd name="T29" fmla="*/ 842 h 842"/>
                <a:gd name="T30" fmla="*/ 532 w 1267"/>
                <a:gd name="T31" fmla="*/ 352 h 842"/>
                <a:gd name="T32" fmla="*/ 392 w 1267"/>
                <a:gd name="T33" fmla="*/ 185 h 842"/>
                <a:gd name="T34" fmla="*/ 205 w 1267"/>
                <a:gd name="T35" fmla="*/ 394 h 842"/>
                <a:gd name="T36" fmla="*/ 205 w 1267"/>
                <a:gd name="T37" fmla="*/ 842 h 842"/>
                <a:gd name="T38" fmla="*/ 0 w 1267"/>
                <a:gd name="T39" fmla="*/ 842 h 842"/>
                <a:gd name="T40" fmla="*/ 0 w 1267"/>
                <a:gd name="T41"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7" h="842">
                  <a:moveTo>
                    <a:pt x="0" y="21"/>
                  </a:moveTo>
                  <a:cubicBezTo>
                    <a:pt x="194" y="21"/>
                    <a:pt x="194" y="21"/>
                    <a:pt x="194" y="21"/>
                  </a:cubicBezTo>
                  <a:cubicBezTo>
                    <a:pt x="194" y="149"/>
                    <a:pt x="194" y="149"/>
                    <a:pt x="194" y="149"/>
                  </a:cubicBezTo>
                  <a:cubicBezTo>
                    <a:pt x="198" y="149"/>
                    <a:pt x="198" y="149"/>
                    <a:pt x="198" y="149"/>
                  </a:cubicBezTo>
                  <a:cubicBezTo>
                    <a:pt x="234" y="72"/>
                    <a:pt x="312" y="0"/>
                    <a:pt x="448" y="0"/>
                  </a:cubicBezTo>
                  <a:cubicBezTo>
                    <a:pt x="574" y="0"/>
                    <a:pt x="661" y="50"/>
                    <a:pt x="704" y="153"/>
                  </a:cubicBezTo>
                  <a:cubicBezTo>
                    <a:pt x="763" y="48"/>
                    <a:pt x="850" y="0"/>
                    <a:pt x="972" y="0"/>
                  </a:cubicBezTo>
                  <a:cubicBezTo>
                    <a:pt x="1191" y="0"/>
                    <a:pt x="1267" y="156"/>
                    <a:pt x="1267" y="352"/>
                  </a:cubicBezTo>
                  <a:cubicBezTo>
                    <a:pt x="1267" y="842"/>
                    <a:pt x="1267" y="842"/>
                    <a:pt x="1267" y="842"/>
                  </a:cubicBezTo>
                  <a:cubicBezTo>
                    <a:pt x="1063" y="842"/>
                    <a:pt x="1063" y="842"/>
                    <a:pt x="1063" y="842"/>
                  </a:cubicBezTo>
                  <a:cubicBezTo>
                    <a:pt x="1063" y="377"/>
                    <a:pt x="1063" y="377"/>
                    <a:pt x="1063" y="377"/>
                  </a:cubicBezTo>
                  <a:cubicBezTo>
                    <a:pt x="1063" y="274"/>
                    <a:pt x="1032" y="185"/>
                    <a:pt x="911" y="185"/>
                  </a:cubicBezTo>
                  <a:cubicBezTo>
                    <a:pt x="784" y="185"/>
                    <a:pt x="736" y="291"/>
                    <a:pt x="736" y="397"/>
                  </a:cubicBezTo>
                  <a:cubicBezTo>
                    <a:pt x="736" y="842"/>
                    <a:pt x="736" y="842"/>
                    <a:pt x="736" y="842"/>
                  </a:cubicBezTo>
                  <a:cubicBezTo>
                    <a:pt x="532" y="842"/>
                    <a:pt x="532" y="842"/>
                    <a:pt x="532" y="842"/>
                  </a:cubicBezTo>
                  <a:cubicBezTo>
                    <a:pt x="532" y="352"/>
                    <a:pt x="532" y="352"/>
                    <a:pt x="532" y="352"/>
                  </a:cubicBezTo>
                  <a:cubicBezTo>
                    <a:pt x="532" y="252"/>
                    <a:pt x="490" y="185"/>
                    <a:pt x="392" y="185"/>
                  </a:cubicBezTo>
                  <a:cubicBezTo>
                    <a:pt x="258" y="185"/>
                    <a:pt x="205" y="284"/>
                    <a:pt x="205" y="394"/>
                  </a:cubicBezTo>
                  <a:cubicBezTo>
                    <a:pt x="205" y="842"/>
                    <a:pt x="205" y="842"/>
                    <a:pt x="205"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9" name="Freeform 55">
              <a:extLst>
                <a:ext uri="{FF2B5EF4-FFF2-40B4-BE49-F238E27FC236}">
                  <a16:creationId xmlns:a16="http://schemas.microsoft.com/office/drawing/2014/main" id="{938EECDB-9B08-44D8-9CAE-92D9483255BB}"/>
                </a:ext>
              </a:extLst>
            </p:cNvPr>
            <p:cNvSpPr>
              <a:spLocks/>
            </p:cNvSpPr>
            <p:nvPr userDrawn="1"/>
          </p:nvSpPr>
          <p:spPr bwMode="ltGray">
            <a:xfrm>
              <a:off x="1512888" y="533400"/>
              <a:ext cx="123825" cy="160338"/>
            </a:xfrm>
            <a:custGeom>
              <a:avLst/>
              <a:gdLst>
                <a:gd name="T0" fmla="*/ 507 w 667"/>
                <a:gd name="T1" fmla="*/ 247 h 859"/>
                <a:gd name="T2" fmla="*/ 348 w 667"/>
                <a:gd name="T3" fmla="*/ 164 h 859"/>
                <a:gd name="T4" fmla="*/ 228 w 667"/>
                <a:gd name="T5" fmla="*/ 251 h 859"/>
                <a:gd name="T6" fmla="*/ 667 w 667"/>
                <a:gd name="T7" fmla="*/ 597 h 859"/>
                <a:gd name="T8" fmla="*/ 317 w 667"/>
                <a:gd name="T9" fmla="*/ 859 h 859"/>
                <a:gd name="T10" fmla="*/ 0 w 667"/>
                <a:gd name="T11" fmla="*/ 733 h 859"/>
                <a:gd name="T12" fmla="*/ 136 w 667"/>
                <a:gd name="T13" fmla="*/ 605 h 859"/>
                <a:gd name="T14" fmla="*/ 329 w 667"/>
                <a:gd name="T15" fmla="*/ 706 h 859"/>
                <a:gd name="T16" fmla="*/ 464 w 667"/>
                <a:gd name="T17" fmla="*/ 612 h 859"/>
                <a:gd name="T18" fmla="*/ 25 w 667"/>
                <a:gd name="T19" fmla="*/ 264 h 859"/>
                <a:gd name="T20" fmla="*/ 352 w 667"/>
                <a:gd name="T21" fmla="*/ 0 h 859"/>
                <a:gd name="T22" fmla="*/ 642 w 667"/>
                <a:gd name="T23" fmla="*/ 125 h 859"/>
                <a:gd name="T24" fmla="*/ 507 w 667"/>
                <a:gd name="T25" fmla="*/ 2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7" h="859">
                  <a:moveTo>
                    <a:pt x="507" y="247"/>
                  </a:moveTo>
                  <a:cubicBezTo>
                    <a:pt x="467" y="193"/>
                    <a:pt x="417" y="164"/>
                    <a:pt x="348" y="164"/>
                  </a:cubicBezTo>
                  <a:cubicBezTo>
                    <a:pt x="293" y="164"/>
                    <a:pt x="228" y="190"/>
                    <a:pt x="228" y="251"/>
                  </a:cubicBezTo>
                  <a:cubicBezTo>
                    <a:pt x="228" y="397"/>
                    <a:pt x="667" y="278"/>
                    <a:pt x="667" y="597"/>
                  </a:cubicBezTo>
                  <a:cubicBezTo>
                    <a:pt x="667" y="791"/>
                    <a:pt x="483" y="859"/>
                    <a:pt x="317" y="859"/>
                  </a:cubicBezTo>
                  <a:cubicBezTo>
                    <a:pt x="191" y="859"/>
                    <a:pt x="83" y="826"/>
                    <a:pt x="0" y="733"/>
                  </a:cubicBezTo>
                  <a:cubicBezTo>
                    <a:pt x="136" y="605"/>
                    <a:pt x="136" y="605"/>
                    <a:pt x="136" y="605"/>
                  </a:cubicBezTo>
                  <a:cubicBezTo>
                    <a:pt x="188" y="662"/>
                    <a:pt x="242" y="706"/>
                    <a:pt x="329" y="706"/>
                  </a:cubicBezTo>
                  <a:cubicBezTo>
                    <a:pt x="387" y="706"/>
                    <a:pt x="464" y="677"/>
                    <a:pt x="464" y="612"/>
                  </a:cubicBezTo>
                  <a:cubicBezTo>
                    <a:pt x="464" y="443"/>
                    <a:pt x="25" y="575"/>
                    <a:pt x="25" y="264"/>
                  </a:cubicBezTo>
                  <a:cubicBezTo>
                    <a:pt x="25" y="82"/>
                    <a:pt x="188" y="0"/>
                    <a:pt x="352" y="0"/>
                  </a:cubicBezTo>
                  <a:cubicBezTo>
                    <a:pt x="461" y="0"/>
                    <a:pt x="576" y="35"/>
                    <a:pt x="642" y="125"/>
                  </a:cubicBezTo>
                  <a:lnTo>
                    <a:pt x="507" y="2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0" name="Freeform 56">
              <a:extLst>
                <a:ext uri="{FF2B5EF4-FFF2-40B4-BE49-F238E27FC236}">
                  <a16:creationId xmlns:a16="http://schemas.microsoft.com/office/drawing/2014/main" id="{201C2FD4-4458-4C08-B319-3082B6BC5FFC}"/>
                </a:ext>
              </a:extLst>
            </p:cNvPr>
            <p:cNvSpPr>
              <a:spLocks/>
            </p:cNvSpPr>
            <p:nvPr userDrawn="1"/>
          </p:nvSpPr>
          <p:spPr bwMode="ltGray">
            <a:xfrm>
              <a:off x="1647825" y="493713"/>
              <a:ext cx="112713" cy="200025"/>
            </a:xfrm>
            <a:custGeom>
              <a:avLst/>
              <a:gdLst>
                <a:gd name="T0" fmla="*/ 0 w 600"/>
                <a:gd name="T1" fmla="*/ 407 h 1067"/>
                <a:gd name="T2" fmla="*/ 0 w 600"/>
                <a:gd name="T3" fmla="*/ 235 h 1067"/>
                <a:gd name="T4" fmla="*/ 169 w 600"/>
                <a:gd name="T5" fmla="*/ 235 h 1067"/>
                <a:gd name="T6" fmla="*/ 169 w 600"/>
                <a:gd name="T7" fmla="*/ 0 h 1067"/>
                <a:gd name="T8" fmla="*/ 374 w 600"/>
                <a:gd name="T9" fmla="*/ 0 h 1067"/>
                <a:gd name="T10" fmla="*/ 374 w 600"/>
                <a:gd name="T11" fmla="*/ 235 h 1067"/>
                <a:gd name="T12" fmla="*/ 600 w 600"/>
                <a:gd name="T13" fmla="*/ 235 h 1067"/>
                <a:gd name="T14" fmla="*/ 600 w 600"/>
                <a:gd name="T15" fmla="*/ 407 h 1067"/>
                <a:gd name="T16" fmla="*/ 374 w 600"/>
                <a:gd name="T17" fmla="*/ 407 h 1067"/>
                <a:gd name="T18" fmla="*/ 374 w 600"/>
                <a:gd name="T19" fmla="*/ 762 h 1067"/>
                <a:gd name="T20" fmla="*/ 488 w 600"/>
                <a:gd name="T21" fmla="*/ 894 h 1067"/>
                <a:gd name="T22" fmla="*/ 600 w 600"/>
                <a:gd name="T23" fmla="*/ 868 h 1067"/>
                <a:gd name="T24" fmla="*/ 600 w 600"/>
                <a:gd name="T25" fmla="*/ 1040 h 1067"/>
                <a:gd name="T26" fmla="*/ 437 w 600"/>
                <a:gd name="T27" fmla="*/ 1067 h 1067"/>
                <a:gd name="T28" fmla="*/ 169 w 600"/>
                <a:gd name="T29" fmla="*/ 780 h 1067"/>
                <a:gd name="T30" fmla="*/ 169 w 600"/>
                <a:gd name="T31" fmla="*/ 407 h 1067"/>
                <a:gd name="T32" fmla="*/ 0 w 600"/>
                <a:gd name="T33" fmla="*/ 40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0" h="1067">
                  <a:moveTo>
                    <a:pt x="0" y="407"/>
                  </a:moveTo>
                  <a:cubicBezTo>
                    <a:pt x="0" y="235"/>
                    <a:pt x="0" y="235"/>
                    <a:pt x="0" y="235"/>
                  </a:cubicBezTo>
                  <a:cubicBezTo>
                    <a:pt x="169" y="235"/>
                    <a:pt x="169" y="235"/>
                    <a:pt x="169" y="235"/>
                  </a:cubicBezTo>
                  <a:cubicBezTo>
                    <a:pt x="169" y="0"/>
                    <a:pt x="169" y="0"/>
                    <a:pt x="169" y="0"/>
                  </a:cubicBezTo>
                  <a:cubicBezTo>
                    <a:pt x="374" y="0"/>
                    <a:pt x="374" y="0"/>
                    <a:pt x="374" y="0"/>
                  </a:cubicBezTo>
                  <a:cubicBezTo>
                    <a:pt x="374" y="235"/>
                    <a:pt x="374" y="235"/>
                    <a:pt x="374" y="235"/>
                  </a:cubicBezTo>
                  <a:cubicBezTo>
                    <a:pt x="600" y="235"/>
                    <a:pt x="600" y="235"/>
                    <a:pt x="600" y="235"/>
                  </a:cubicBezTo>
                  <a:cubicBezTo>
                    <a:pt x="600" y="407"/>
                    <a:pt x="600" y="407"/>
                    <a:pt x="600" y="407"/>
                  </a:cubicBezTo>
                  <a:cubicBezTo>
                    <a:pt x="374" y="407"/>
                    <a:pt x="374" y="407"/>
                    <a:pt x="374" y="407"/>
                  </a:cubicBezTo>
                  <a:cubicBezTo>
                    <a:pt x="374" y="762"/>
                    <a:pt x="374" y="762"/>
                    <a:pt x="374" y="762"/>
                  </a:cubicBezTo>
                  <a:cubicBezTo>
                    <a:pt x="374" y="844"/>
                    <a:pt x="399" y="894"/>
                    <a:pt x="488" y="894"/>
                  </a:cubicBezTo>
                  <a:cubicBezTo>
                    <a:pt x="525" y="894"/>
                    <a:pt x="574" y="887"/>
                    <a:pt x="600" y="868"/>
                  </a:cubicBezTo>
                  <a:cubicBezTo>
                    <a:pt x="600" y="1040"/>
                    <a:pt x="600" y="1040"/>
                    <a:pt x="600" y="1040"/>
                  </a:cubicBezTo>
                  <a:cubicBezTo>
                    <a:pt x="557" y="1060"/>
                    <a:pt x="486" y="1067"/>
                    <a:pt x="437" y="1067"/>
                  </a:cubicBezTo>
                  <a:cubicBezTo>
                    <a:pt x="221" y="1067"/>
                    <a:pt x="169" y="970"/>
                    <a:pt x="169" y="780"/>
                  </a:cubicBezTo>
                  <a:cubicBezTo>
                    <a:pt x="169" y="407"/>
                    <a:pt x="169" y="407"/>
                    <a:pt x="169" y="407"/>
                  </a:cubicBezTo>
                  <a:lnTo>
                    <a:pt x="0" y="40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1" name="Freeform 57">
              <a:extLst>
                <a:ext uri="{FF2B5EF4-FFF2-40B4-BE49-F238E27FC236}">
                  <a16:creationId xmlns:a16="http://schemas.microsoft.com/office/drawing/2014/main" id="{5A3F9447-F0E2-44F7-8372-1CAA2787262A}"/>
                </a:ext>
              </a:extLst>
            </p:cNvPr>
            <p:cNvSpPr>
              <a:spLocks noEditPoints="1"/>
            </p:cNvSpPr>
            <p:nvPr userDrawn="1"/>
          </p:nvSpPr>
          <p:spPr bwMode="ltGray">
            <a:xfrm>
              <a:off x="1781175" y="533400"/>
              <a:ext cx="155575" cy="160338"/>
            </a:xfrm>
            <a:custGeom>
              <a:avLst/>
              <a:gdLst>
                <a:gd name="T0" fmla="*/ 204 w 825"/>
                <a:gd name="T1" fmla="*/ 501 h 859"/>
                <a:gd name="T2" fmla="*/ 423 w 825"/>
                <a:gd name="T3" fmla="*/ 695 h 859"/>
                <a:gd name="T4" fmla="*/ 642 w 825"/>
                <a:gd name="T5" fmla="*/ 585 h 859"/>
                <a:gd name="T6" fmla="*/ 787 w 825"/>
                <a:gd name="T7" fmla="*/ 695 h 859"/>
                <a:gd name="T8" fmla="*/ 443 w 825"/>
                <a:gd name="T9" fmla="*/ 859 h 859"/>
                <a:gd name="T10" fmla="*/ 0 w 825"/>
                <a:gd name="T11" fmla="*/ 430 h 859"/>
                <a:gd name="T12" fmla="*/ 443 w 825"/>
                <a:gd name="T13" fmla="*/ 0 h 859"/>
                <a:gd name="T14" fmla="*/ 825 w 825"/>
                <a:gd name="T15" fmla="*/ 445 h 859"/>
                <a:gd name="T16" fmla="*/ 825 w 825"/>
                <a:gd name="T17" fmla="*/ 501 h 859"/>
                <a:gd name="T18" fmla="*/ 204 w 825"/>
                <a:gd name="T19" fmla="*/ 501 h 859"/>
                <a:gd name="T20" fmla="*/ 621 w 825"/>
                <a:gd name="T21" fmla="*/ 347 h 859"/>
                <a:gd name="T22" fmla="*/ 415 w 825"/>
                <a:gd name="T23" fmla="*/ 153 h 859"/>
                <a:gd name="T24" fmla="*/ 204 w 825"/>
                <a:gd name="T25" fmla="*/ 347 h 859"/>
                <a:gd name="T26" fmla="*/ 621 w 825"/>
                <a:gd name="T27" fmla="*/ 3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9">
                  <a:moveTo>
                    <a:pt x="204" y="501"/>
                  </a:moveTo>
                  <a:cubicBezTo>
                    <a:pt x="218" y="622"/>
                    <a:pt x="309" y="695"/>
                    <a:pt x="423" y="695"/>
                  </a:cubicBezTo>
                  <a:cubicBezTo>
                    <a:pt x="525" y="695"/>
                    <a:pt x="590" y="647"/>
                    <a:pt x="642" y="585"/>
                  </a:cubicBezTo>
                  <a:cubicBezTo>
                    <a:pt x="787" y="695"/>
                    <a:pt x="787" y="695"/>
                    <a:pt x="787" y="695"/>
                  </a:cubicBezTo>
                  <a:cubicBezTo>
                    <a:pt x="692" y="813"/>
                    <a:pt x="572" y="859"/>
                    <a:pt x="443" y="859"/>
                  </a:cubicBezTo>
                  <a:cubicBezTo>
                    <a:pt x="197" y="859"/>
                    <a:pt x="0" y="687"/>
                    <a:pt x="0" y="430"/>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9"/>
                    <a:pt x="541" y="153"/>
                    <a:pt x="415" y="153"/>
                  </a:cubicBezTo>
                  <a:cubicBezTo>
                    <a:pt x="294" y="153"/>
                    <a:pt x="219" y="230"/>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2" name="Freeform 58">
              <a:extLst>
                <a:ext uri="{FF2B5EF4-FFF2-40B4-BE49-F238E27FC236}">
                  <a16:creationId xmlns:a16="http://schemas.microsoft.com/office/drawing/2014/main" id="{09ED63FC-E10D-4A0E-BC83-4FE0D72454AD}"/>
                </a:ext>
              </a:extLst>
            </p:cNvPr>
            <p:cNvSpPr>
              <a:spLocks/>
            </p:cNvSpPr>
            <p:nvPr userDrawn="1"/>
          </p:nvSpPr>
          <p:spPr bwMode="ltGray">
            <a:xfrm>
              <a:off x="1971675" y="533400"/>
              <a:ext cx="96838" cy="157163"/>
            </a:xfrm>
            <a:custGeom>
              <a:avLst/>
              <a:gdLst>
                <a:gd name="T0" fmla="*/ 0 w 517"/>
                <a:gd name="T1" fmla="*/ 21 h 842"/>
                <a:gd name="T2" fmla="*/ 202 w 517"/>
                <a:gd name="T3" fmla="*/ 21 h 842"/>
                <a:gd name="T4" fmla="*/ 202 w 517"/>
                <a:gd name="T5" fmla="*/ 150 h 842"/>
                <a:gd name="T6" fmla="*/ 206 w 517"/>
                <a:gd name="T7" fmla="*/ 150 h 842"/>
                <a:gd name="T8" fmla="*/ 445 w 517"/>
                <a:gd name="T9" fmla="*/ 0 h 842"/>
                <a:gd name="T10" fmla="*/ 517 w 517"/>
                <a:gd name="T11" fmla="*/ 12 h 842"/>
                <a:gd name="T12" fmla="*/ 517 w 517"/>
                <a:gd name="T13" fmla="*/ 211 h 842"/>
                <a:gd name="T14" fmla="*/ 420 w 517"/>
                <a:gd name="T15" fmla="*/ 195 h 842"/>
                <a:gd name="T16" fmla="*/ 202 w 517"/>
                <a:gd name="T17" fmla="*/ 402 h 842"/>
                <a:gd name="T18" fmla="*/ 202 w 517"/>
                <a:gd name="T19" fmla="*/ 842 h 842"/>
                <a:gd name="T20" fmla="*/ 0 w 517"/>
                <a:gd name="T21" fmla="*/ 842 h 842"/>
                <a:gd name="T22" fmla="*/ 0 w 517"/>
                <a:gd name="T23"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7" h="842">
                  <a:moveTo>
                    <a:pt x="0" y="21"/>
                  </a:moveTo>
                  <a:cubicBezTo>
                    <a:pt x="202" y="21"/>
                    <a:pt x="202" y="21"/>
                    <a:pt x="202" y="21"/>
                  </a:cubicBezTo>
                  <a:cubicBezTo>
                    <a:pt x="202" y="150"/>
                    <a:pt x="202" y="150"/>
                    <a:pt x="202" y="150"/>
                  </a:cubicBezTo>
                  <a:cubicBezTo>
                    <a:pt x="206" y="150"/>
                    <a:pt x="206" y="150"/>
                    <a:pt x="206" y="150"/>
                  </a:cubicBezTo>
                  <a:cubicBezTo>
                    <a:pt x="250" y="57"/>
                    <a:pt x="339" y="0"/>
                    <a:pt x="445" y="0"/>
                  </a:cubicBezTo>
                  <a:cubicBezTo>
                    <a:pt x="471" y="0"/>
                    <a:pt x="494" y="5"/>
                    <a:pt x="517" y="12"/>
                  </a:cubicBezTo>
                  <a:cubicBezTo>
                    <a:pt x="517" y="211"/>
                    <a:pt x="517" y="211"/>
                    <a:pt x="517" y="211"/>
                  </a:cubicBezTo>
                  <a:cubicBezTo>
                    <a:pt x="483" y="202"/>
                    <a:pt x="452" y="195"/>
                    <a:pt x="420" y="195"/>
                  </a:cubicBezTo>
                  <a:cubicBezTo>
                    <a:pt x="230" y="195"/>
                    <a:pt x="202" y="358"/>
                    <a:pt x="202" y="402"/>
                  </a:cubicBezTo>
                  <a:cubicBezTo>
                    <a:pt x="202" y="842"/>
                    <a:pt x="202" y="842"/>
                    <a:pt x="202"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3" name="Freeform 59">
              <a:extLst>
                <a:ext uri="{FF2B5EF4-FFF2-40B4-BE49-F238E27FC236}">
                  <a16:creationId xmlns:a16="http://schemas.microsoft.com/office/drawing/2014/main" id="{D631A289-79D1-4DEE-A37E-F23443011D02}"/>
                </a:ext>
              </a:extLst>
            </p:cNvPr>
            <p:cNvSpPr>
              <a:spLocks noEditPoints="1"/>
            </p:cNvSpPr>
            <p:nvPr userDrawn="1"/>
          </p:nvSpPr>
          <p:spPr bwMode="ltGray">
            <a:xfrm>
              <a:off x="2082800" y="450850"/>
              <a:ext cx="163513" cy="242888"/>
            </a:xfrm>
            <a:custGeom>
              <a:avLst/>
              <a:gdLst>
                <a:gd name="T0" fmla="*/ 683 w 875"/>
                <a:gd name="T1" fmla="*/ 1157 h 1300"/>
                <a:gd name="T2" fmla="*/ 679 w 875"/>
                <a:gd name="T3" fmla="*/ 1157 h 1300"/>
                <a:gd name="T4" fmla="*/ 400 w 875"/>
                <a:gd name="T5" fmla="*/ 1300 h 1300"/>
                <a:gd name="T6" fmla="*/ 0 w 875"/>
                <a:gd name="T7" fmla="*/ 873 h 1300"/>
                <a:gd name="T8" fmla="*/ 392 w 875"/>
                <a:gd name="T9" fmla="*/ 447 h 1300"/>
                <a:gd name="T10" fmla="*/ 667 w 875"/>
                <a:gd name="T11" fmla="*/ 571 h 1300"/>
                <a:gd name="T12" fmla="*/ 672 w 875"/>
                <a:gd name="T13" fmla="*/ 571 h 1300"/>
                <a:gd name="T14" fmla="*/ 672 w 875"/>
                <a:gd name="T15" fmla="*/ 0 h 1300"/>
                <a:gd name="T16" fmla="*/ 875 w 875"/>
                <a:gd name="T17" fmla="*/ 0 h 1300"/>
                <a:gd name="T18" fmla="*/ 875 w 875"/>
                <a:gd name="T19" fmla="*/ 1280 h 1300"/>
                <a:gd name="T20" fmla="*/ 683 w 875"/>
                <a:gd name="T21" fmla="*/ 1280 h 1300"/>
                <a:gd name="T22" fmla="*/ 683 w 875"/>
                <a:gd name="T23" fmla="*/ 1157 h 1300"/>
                <a:gd name="T24" fmla="*/ 441 w 875"/>
                <a:gd name="T25" fmla="*/ 1116 h 1300"/>
                <a:gd name="T26" fmla="*/ 679 w 875"/>
                <a:gd name="T27" fmla="*/ 873 h 1300"/>
                <a:gd name="T28" fmla="*/ 441 w 875"/>
                <a:gd name="T29" fmla="*/ 629 h 1300"/>
                <a:gd name="T30" fmla="*/ 203 w 875"/>
                <a:gd name="T31" fmla="*/ 873 h 1300"/>
                <a:gd name="T32" fmla="*/ 441 w 875"/>
                <a:gd name="T33" fmla="*/ 11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5" h="1300">
                  <a:moveTo>
                    <a:pt x="683" y="1157"/>
                  </a:moveTo>
                  <a:cubicBezTo>
                    <a:pt x="679" y="1157"/>
                    <a:pt x="679" y="1157"/>
                    <a:pt x="679" y="1157"/>
                  </a:cubicBezTo>
                  <a:cubicBezTo>
                    <a:pt x="620" y="1255"/>
                    <a:pt x="513" y="1300"/>
                    <a:pt x="400" y="1300"/>
                  </a:cubicBezTo>
                  <a:cubicBezTo>
                    <a:pt x="151" y="1300"/>
                    <a:pt x="0" y="1114"/>
                    <a:pt x="0" y="873"/>
                  </a:cubicBezTo>
                  <a:cubicBezTo>
                    <a:pt x="0" y="633"/>
                    <a:pt x="160" y="447"/>
                    <a:pt x="392" y="447"/>
                  </a:cubicBezTo>
                  <a:cubicBezTo>
                    <a:pt x="544" y="447"/>
                    <a:pt x="625" y="518"/>
                    <a:pt x="667" y="571"/>
                  </a:cubicBezTo>
                  <a:cubicBezTo>
                    <a:pt x="672" y="571"/>
                    <a:pt x="672" y="571"/>
                    <a:pt x="672" y="571"/>
                  </a:cubicBezTo>
                  <a:cubicBezTo>
                    <a:pt x="672" y="0"/>
                    <a:pt x="672" y="0"/>
                    <a:pt x="672" y="0"/>
                  </a:cubicBezTo>
                  <a:cubicBezTo>
                    <a:pt x="875" y="0"/>
                    <a:pt x="875" y="0"/>
                    <a:pt x="875" y="0"/>
                  </a:cubicBezTo>
                  <a:cubicBezTo>
                    <a:pt x="875" y="1280"/>
                    <a:pt x="875" y="1280"/>
                    <a:pt x="875" y="1280"/>
                  </a:cubicBezTo>
                  <a:cubicBezTo>
                    <a:pt x="683" y="1280"/>
                    <a:pt x="683" y="1280"/>
                    <a:pt x="683" y="1280"/>
                  </a:cubicBezTo>
                  <a:lnTo>
                    <a:pt x="683" y="1157"/>
                  </a:lnTo>
                  <a:close/>
                  <a:moveTo>
                    <a:pt x="441" y="1116"/>
                  </a:moveTo>
                  <a:cubicBezTo>
                    <a:pt x="589" y="1116"/>
                    <a:pt x="679" y="1001"/>
                    <a:pt x="679" y="873"/>
                  </a:cubicBezTo>
                  <a:cubicBezTo>
                    <a:pt x="679" y="746"/>
                    <a:pt x="589" y="629"/>
                    <a:pt x="441" y="629"/>
                  </a:cubicBezTo>
                  <a:cubicBezTo>
                    <a:pt x="292" y="629"/>
                    <a:pt x="203" y="746"/>
                    <a:pt x="203" y="873"/>
                  </a:cubicBezTo>
                  <a:cubicBezTo>
                    <a:pt x="203" y="1001"/>
                    <a:pt x="292" y="1116"/>
                    <a:pt x="441" y="1116"/>
                  </a:cubicBez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4" name="Freeform 60">
              <a:extLst>
                <a:ext uri="{FF2B5EF4-FFF2-40B4-BE49-F238E27FC236}">
                  <a16:creationId xmlns:a16="http://schemas.microsoft.com/office/drawing/2014/main" id="{3DD2871F-37DF-4206-87CE-46715E9EFAB6}"/>
                </a:ext>
              </a:extLst>
            </p:cNvPr>
            <p:cNvSpPr>
              <a:spLocks noEditPoints="1"/>
            </p:cNvSpPr>
            <p:nvPr userDrawn="1"/>
          </p:nvSpPr>
          <p:spPr bwMode="ltGray">
            <a:xfrm>
              <a:off x="2279650" y="533400"/>
              <a:ext cx="139700" cy="160338"/>
            </a:xfrm>
            <a:custGeom>
              <a:avLst/>
              <a:gdLst>
                <a:gd name="T0" fmla="*/ 566 w 750"/>
                <a:gd name="T1" fmla="*/ 726 h 859"/>
                <a:gd name="T2" fmla="*/ 562 w 750"/>
                <a:gd name="T3" fmla="*/ 726 h 859"/>
                <a:gd name="T4" fmla="*/ 299 w 750"/>
                <a:gd name="T5" fmla="*/ 859 h 859"/>
                <a:gd name="T6" fmla="*/ 0 w 750"/>
                <a:gd name="T7" fmla="*/ 613 h 859"/>
                <a:gd name="T8" fmla="*/ 515 w 750"/>
                <a:gd name="T9" fmla="*/ 329 h 859"/>
                <a:gd name="T10" fmla="*/ 566 w 750"/>
                <a:gd name="T11" fmla="*/ 329 h 859"/>
                <a:gd name="T12" fmla="*/ 566 w 750"/>
                <a:gd name="T13" fmla="*/ 307 h 859"/>
                <a:gd name="T14" fmla="*/ 379 w 750"/>
                <a:gd name="T15" fmla="*/ 153 h 859"/>
                <a:gd name="T16" fmla="*/ 160 w 750"/>
                <a:gd name="T17" fmla="*/ 239 h 859"/>
                <a:gd name="T18" fmla="*/ 53 w 750"/>
                <a:gd name="T19" fmla="*/ 131 h 859"/>
                <a:gd name="T20" fmla="*/ 400 w 750"/>
                <a:gd name="T21" fmla="*/ 0 h 859"/>
                <a:gd name="T22" fmla="*/ 750 w 750"/>
                <a:gd name="T23" fmla="*/ 369 h 859"/>
                <a:gd name="T24" fmla="*/ 750 w 750"/>
                <a:gd name="T25" fmla="*/ 839 h 859"/>
                <a:gd name="T26" fmla="*/ 566 w 750"/>
                <a:gd name="T27" fmla="*/ 839 h 859"/>
                <a:gd name="T28" fmla="*/ 566 w 750"/>
                <a:gd name="T29" fmla="*/ 726 h 859"/>
                <a:gd name="T30" fmla="*/ 555 w 750"/>
                <a:gd name="T31" fmla="*/ 472 h 859"/>
                <a:gd name="T32" fmla="*/ 512 w 750"/>
                <a:gd name="T33" fmla="*/ 472 h 859"/>
                <a:gd name="T34" fmla="*/ 205 w 750"/>
                <a:gd name="T35" fmla="*/ 598 h 859"/>
                <a:gd name="T36" fmla="*/ 347 w 750"/>
                <a:gd name="T37" fmla="*/ 706 h 859"/>
                <a:gd name="T38" fmla="*/ 555 w 750"/>
                <a:gd name="T39" fmla="*/ 518 h 859"/>
                <a:gd name="T40" fmla="*/ 555 w 750"/>
                <a:gd name="T41" fmla="*/ 472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0" h="859">
                  <a:moveTo>
                    <a:pt x="566" y="726"/>
                  </a:moveTo>
                  <a:cubicBezTo>
                    <a:pt x="562" y="726"/>
                    <a:pt x="562" y="726"/>
                    <a:pt x="562" y="726"/>
                  </a:cubicBezTo>
                  <a:cubicBezTo>
                    <a:pt x="503" y="818"/>
                    <a:pt x="408" y="859"/>
                    <a:pt x="299" y="859"/>
                  </a:cubicBezTo>
                  <a:cubicBezTo>
                    <a:pt x="147" y="859"/>
                    <a:pt x="0" y="775"/>
                    <a:pt x="0" y="613"/>
                  </a:cubicBezTo>
                  <a:cubicBezTo>
                    <a:pt x="0" y="347"/>
                    <a:pt x="311" y="329"/>
                    <a:pt x="515" y="329"/>
                  </a:cubicBezTo>
                  <a:cubicBezTo>
                    <a:pt x="566" y="329"/>
                    <a:pt x="566" y="329"/>
                    <a:pt x="566" y="329"/>
                  </a:cubicBezTo>
                  <a:cubicBezTo>
                    <a:pt x="566" y="307"/>
                    <a:pt x="566" y="307"/>
                    <a:pt x="566" y="307"/>
                  </a:cubicBezTo>
                  <a:cubicBezTo>
                    <a:pt x="566" y="206"/>
                    <a:pt x="488" y="153"/>
                    <a:pt x="379" y="153"/>
                  </a:cubicBezTo>
                  <a:cubicBezTo>
                    <a:pt x="293" y="153"/>
                    <a:pt x="214" y="187"/>
                    <a:pt x="160" y="239"/>
                  </a:cubicBezTo>
                  <a:cubicBezTo>
                    <a:pt x="53" y="131"/>
                    <a:pt x="53" y="131"/>
                    <a:pt x="53" y="131"/>
                  </a:cubicBezTo>
                  <a:cubicBezTo>
                    <a:pt x="144" y="39"/>
                    <a:pt x="271" y="0"/>
                    <a:pt x="400" y="0"/>
                  </a:cubicBezTo>
                  <a:cubicBezTo>
                    <a:pt x="750" y="0"/>
                    <a:pt x="750" y="252"/>
                    <a:pt x="750" y="369"/>
                  </a:cubicBezTo>
                  <a:cubicBezTo>
                    <a:pt x="750" y="839"/>
                    <a:pt x="750" y="839"/>
                    <a:pt x="750" y="839"/>
                  </a:cubicBezTo>
                  <a:cubicBezTo>
                    <a:pt x="566" y="839"/>
                    <a:pt x="566" y="839"/>
                    <a:pt x="566" y="839"/>
                  </a:cubicBezTo>
                  <a:lnTo>
                    <a:pt x="566" y="726"/>
                  </a:lnTo>
                  <a:close/>
                  <a:moveTo>
                    <a:pt x="555" y="472"/>
                  </a:moveTo>
                  <a:cubicBezTo>
                    <a:pt x="512" y="472"/>
                    <a:pt x="512" y="472"/>
                    <a:pt x="512" y="472"/>
                  </a:cubicBezTo>
                  <a:cubicBezTo>
                    <a:pt x="399" y="472"/>
                    <a:pt x="205" y="480"/>
                    <a:pt x="205" y="598"/>
                  </a:cubicBezTo>
                  <a:cubicBezTo>
                    <a:pt x="205" y="673"/>
                    <a:pt x="282" y="706"/>
                    <a:pt x="347" y="706"/>
                  </a:cubicBezTo>
                  <a:cubicBezTo>
                    <a:pt x="488" y="706"/>
                    <a:pt x="555" y="632"/>
                    <a:pt x="555" y="518"/>
                  </a:cubicBezTo>
                  <a:lnTo>
                    <a:pt x="555" y="472"/>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5" name="Freeform 61">
              <a:extLst>
                <a:ext uri="{FF2B5EF4-FFF2-40B4-BE49-F238E27FC236}">
                  <a16:creationId xmlns:a16="http://schemas.microsoft.com/office/drawing/2014/main" id="{28C5B83D-471B-4E36-AF30-F8E4A4B12E42}"/>
                </a:ext>
              </a:extLst>
            </p:cNvPr>
            <p:cNvSpPr>
              <a:spLocks/>
            </p:cNvSpPr>
            <p:nvPr userDrawn="1"/>
          </p:nvSpPr>
          <p:spPr bwMode="ltGray">
            <a:xfrm>
              <a:off x="2459038" y="533400"/>
              <a:ext cx="236538" cy="157163"/>
            </a:xfrm>
            <a:custGeom>
              <a:avLst/>
              <a:gdLst>
                <a:gd name="T0" fmla="*/ 0 w 1267"/>
                <a:gd name="T1" fmla="*/ 21 h 842"/>
                <a:gd name="T2" fmla="*/ 194 w 1267"/>
                <a:gd name="T3" fmla="*/ 21 h 842"/>
                <a:gd name="T4" fmla="*/ 194 w 1267"/>
                <a:gd name="T5" fmla="*/ 149 h 842"/>
                <a:gd name="T6" fmla="*/ 198 w 1267"/>
                <a:gd name="T7" fmla="*/ 149 h 842"/>
                <a:gd name="T8" fmla="*/ 448 w 1267"/>
                <a:gd name="T9" fmla="*/ 0 h 842"/>
                <a:gd name="T10" fmla="*/ 703 w 1267"/>
                <a:gd name="T11" fmla="*/ 153 h 842"/>
                <a:gd name="T12" fmla="*/ 972 w 1267"/>
                <a:gd name="T13" fmla="*/ 0 h 842"/>
                <a:gd name="T14" fmla="*/ 1267 w 1267"/>
                <a:gd name="T15" fmla="*/ 352 h 842"/>
                <a:gd name="T16" fmla="*/ 1267 w 1267"/>
                <a:gd name="T17" fmla="*/ 842 h 842"/>
                <a:gd name="T18" fmla="*/ 1063 w 1267"/>
                <a:gd name="T19" fmla="*/ 842 h 842"/>
                <a:gd name="T20" fmla="*/ 1063 w 1267"/>
                <a:gd name="T21" fmla="*/ 377 h 842"/>
                <a:gd name="T22" fmla="*/ 911 w 1267"/>
                <a:gd name="T23" fmla="*/ 185 h 842"/>
                <a:gd name="T24" fmla="*/ 736 w 1267"/>
                <a:gd name="T25" fmla="*/ 397 h 842"/>
                <a:gd name="T26" fmla="*/ 736 w 1267"/>
                <a:gd name="T27" fmla="*/ 842 h 842"/>
                <a:gd name="T28" fmla="*/ 532 w 1267"/>
                <a:gd name="T29" fmla="*/ 842 h 842"/>
                <a:gd name="T30" fmla="*/ 532 w 1267"/>
                <a:gd name="T31" fmla="*/ 352 h 842"/>
                <a:gd name="T32" fmla="*/ 392 w 1267"/>
                <a:gd name="T33" fmla="*/ 185 h 842"/>
                <a:gd name="T34" fmla="*/ 205 w 1267"/>
                <a:gd name="T35" fmla="*/ 394 h 842"/>
                <a:gd name="T36" fmla="*/ 205 w 1267"/>
                <a:gd name="T37" fmla="*/ 842 h 842"/>
                <a:gd name="T38" fmla="*/ 0 w 1267"/>
                <a:gd name="T39" fmla="*/ 842 h 842"/>
                <a:gd name="T40" fmla="*/ 0 w 1267"/>
                <a:gd name="T41"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7" h="842">
                  <a:moveTo>
                    <a:pt x="0" y="21"/>
                  </a:moveTo>
                  <a:cubicBezTo>
                    <a:pt x="194" y="21"/>
                    <a:pt x="194" y="21"/>
                    <a:pt x="194" y="21"/>
                  </a:cubicBezTo>
                  <a:cubicBezTo>
                    <a:pt x="194" y="149"/>
                    <a:pt x="194" y="149"/>
                    <a:pt x="194" y="149"/>
                  </a:cubicBezTo>
                  <a:cubicBezTo>
                    <a:pt x="198" y="149"/>
                    <a:pt x="198" y="149"/>
                    <a:pt x="198" y="149"/>
                  </a:cubicBezTo>
                  <a:cubicBezTo>
                    <a:pt x="234" y="72"/>
                    <a:pt x="312" y="0"/>
                    <a:pt x="448" y="0"/>
                  </a:cubicBezTo>
                  <a:cubicBezTo>
                    <a:pt x="574" y="0"/>
                    <a:pt x="661" y="50"/>
                    <a:pt x="703" y="153"/>
                  </a:cubicBezTo>
                  <a:cubicBezTo>
                    <a:pt x="763" y="48"/>
                    <a:pt x="850" y="0"/>
                    <a:pt x="972" y="0"/>
                  </a:cubicBezTo>
                  <a:cubicBezTo>
                    <a:pt x="1191" y="0"/>
                    <a:pt x="1267" y="156"/>
                    <a:pt x="1267" y="352"/>
                  </a:cubicBezTo>
                  <a:cubicBezTo>
                    <a:pt x="1267" y="842"/>
                    <a:pt x="1267" y="842"/>
                    <a:pt x="1267" y="842"/>
                  </a:cubicBezTo>
                  <a:cubicBezTo>
                    <a:pt x="1063" y="842"/>
                    <a:pt x="1063" y="842"/>
                    <a:pt x="1063" y="842"/>
                  </a:cubicBezTo>
                  <a:cubicBezTo>
                    <a:pt x="1063" y="377"/>
                    <a:pt x="1063" y="377"/>
                    <a:pt x="1063" y="377"/>
                  </a:cubicBezTo>
                  <a:cubicBezTo>
                    <a:pt x="1063" y="274"/>
                    <a:pt x="1032" y="185"/>
                    <a:pt x="911" y="185"/>
                  </a:cubicBezTo>
                  <a:cubicBezTo>
                    <a:pt x="783" y="185"/>
                    <a:pt x="736" y="291"/>
                    <a:pt x="736" y="397"/>
                  </a:cubicBezTo>
                  <a:cubicBezTo>
                    <a:pt x="736" y="842"/>
                    <a:pt x="736" y="842"/>
                    <a:pt x="736" y="842"/>
                  </a:cubicBezTo>
                  <a:cubicBezTo>
                    <a:pt x="532" y="842"/>
                    <a:pt x="532" y="842"/>
                    <a:pt x="532" y="842"/>
                  </a:cubicBezTo>
                  <a:cubicBezTo>
                    <a:pt x="532" y="352"/>
                    <a:pt x="532" y="352"/>
                    <a:pt x="532" y="352"/>
                  </a:cubicBezTo>
                  <a:cubicBezTo>
                    <a:pt x="532" y="252"/>
                    <a:pt x="490" y="185"/>
                    <a:pt x="392" y="185"/>
                  </a:cubicBezTo>
                  <a:cubicBezTo>
                    <a:pt x="258" y="185"/>
                    <a:pt x="205" y="284"/>
                    <a:pt x="205" y="394"/>
                  </a:cubicBezTo>
                  <a:cubicBezTo>
                    <a:pt x="205" y="842"/>
                    <a:pt x="205" y="842"/>
                    <a:pt x="205"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grpSp>
      <p:grpSp>
        <p:nvGrpSpPr>
          <p:cNvPr id="47" name="Group 46">
            <a:extLst>
              <a:ext uri="{FF2B5EF4-FFF2-40B4-BE49-F238E27FC236}">
                <a16:creationId xmlns:a16="http://schemas.microsoft.com/office/drawing/2014/main" id="{1F962ECB-3A1A-44FE-818D-CB9B4A34412E}"/>
              </a:ext>
            </a:extLst>
          </p:cNvPr>
          <p:cNvGrpSpPr>
            <a:grpSpLocks/>
          </p:cNvGrpSpPr>
          <p:nvPr userDrawn="1"/>
        </p:nvGrpSpPr>
        <p:grpSpPr bwMode="ltGray">
          <a:xfrm>
            <a:off x="233258" y="106904"/>
            <a:ext cx="426000" cy="1448052"/>
            <a:chOff x="177800" y="104775"/>
            <a:chExt cx="417513" cy="1419225"/>
          </a:xfrm>
          <a:solidFill>
            <a:schemeClr val="tx2"/>
          </a:solidFill>
        </p:grpSpPr>
        <p:sp>
          <p:nvSpPr>
            <p:cNvPr id="48" name="Freeform 42">
              <a:extLst>
                <a:ext uri="{FF2B5EF4-FFF2-40B4-BE49-F238E27FC236}">
                  <a16:creationId xmlns:a16="http://schemas.microsoft.com/office/drawing/2014/main" id="{133798F6-4EEC-435A-9713-7BFDDC5FFB74}"/>
                </a:ext>
              </a:extLst>
            </p:cNvPr>
            <p:cNvSpPr>
              <a:spLocks/>
            </p:cNvSpPr>
            <p:nvPr userDrawn="1"/>
          </p:nvSpPr>
          <p:spPr bwMode="ltGray">
            <a:xfrm>
              <a:off x="177800" y="1108075"/>
              <a:ext cx="417513" cy="415925"/>
            </a:xfrm>
            <a:custGeom>
              <a:avLst/>
              <a:gdLst>
                <a:gd name="T0" fmla="*/ 0 w 263"/>
                <a:gd name="T1" fmla="*/ 209 h 262"/>
                <a:gd name="T2" fmla="*/ 80 w 263"/>
                <a:gd name="T3" fmla="*/ 131 h 262"/>
                <a:gd name="T4" fmla="*/ 0 w 263"/>
                <a:gd name="T5" fmla="*/ 52 h 262"/>
                <a:gd name="T6" fmla="*/ 53 w 263"/>
                <a:gd name="T7" fmla="*/ 0 h 262"/>
                <a:gd name="T8" fmla="*/ 132 w 263"/>
                <a:gd name="T9" fmla="*/ 78 h 262"/>
                <a:gd name="T10" fmla="*/ 210 w 263"/>
                <a:gd name="T11" fmla="*/ 0 h 262"/>
                <a:gd name="T12" fmla="*/ 263 w 263"/>
                <a:gd name="T13" fmla="*/ 52 h 262"/>
                <a:gd name="T14" fmla="*/ 185 w 263"/>
                <a:gd name="T15" fmla="*/ 131 h 262"/>
                <a:gd name="T16" fmla="*/ 263 w 263"/>
                <a:gd name="T17" fmla="*/ 209 h 262"/>
                <a:gd name="T18" fmla="*/ 210 w 263"/>
                <a:gd name="T19" fmla="*/ 262 h 262"/>
                <a:gd name="T20" fmla="*/ 132 w 263"/>
                <a:gd name="T21" fmla="*/ 183 h 262"/>
                <a:gd name="T22" fmla="*/ 53 w 263"/>
                <a:gd name="T23" fmla="*/ 262 h 262"/>
                <a:gd name="T24" fmla="*/ 0 w 263"/>
                <a:gd name="T25" fmla="*/ 20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2">
                  <a:moveTo>
                    <a:pt x="0" y="209"/>
                  </a:moveTo>
                  <a:lnTo>
                    <a:pt x="80" y="131"/>
                  </a:lnTo>
                  <a:lnTo>
                    <a:pt x="0" y="52"/>
                  </a:lnTo>
                  <a:lnTo>
                    <a:pt x="53" y="0"/>
                  </a:lnTo>
                  <a:lnTo>
                    <a:pt x="132" y="78"/>
                  </a:lnTo>
                  <a:lnTo>
                    <a:pt x="210" y="0"/>
                  </a:lnTo>
                  <a:lnTo>
                    <a:pt x="263" y="52"/>
                  </a:lnTo>
                  <a:lnTo>
                    <a:pt x="185" y="131"/>
                  </a:lnTo>
                  <a:lnTo>
                    <a:pt x="263" y="209"/>
                  </a:lnTo>
                  <a:lnTo>
                    <a:pt x="210" y="262"/>
                  </a:lnTo>
                  <a:lnTo>
                    <a:pt x="132" y="183"/>
                  </a:lnTo>
                  <a:lnTo>
                    <a:pt x="53" y="262"/>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49" name="Freeform 43">
              <a:extLst>
                <a:ext uri="{FF2B5EF4-FFF2-40B4-BE49-F238E27FC236}">
                  <a16:creationId xmlns:a16="http://schemas.microsoft.com/office/drawing/2014/main" id="{8E16C36D-5041-4E7E-A415-3F2271D253D9}"/>
                </a:ext>
              </a:extLst>
            </p:cNvPr>
            <p:cNvSpPr>
              <a:spLocks/>
            </p:cNvSpPr>
            <p:nvPr userDrawn="1"/>
          </p:nvSpPr>
          <p:spPr bwMode="ltGray">
            <a:xfrm>
              <a:off x="177800" y="104775"/>
              <a:ext cx="417513" cy="417513"/>
            </a:xfrm>
            <a:custGeom>
              <a:avLst/>
              <a:gdLst>
                <a:gd name="T0" fmla="*/ 0 w 263"/>
                <a:gd name="T1" fmla="*/ 211 h 263"/>
                <a:gd name="T2" fmla="*/ 80 w 263"/>
                <a:gd name="T3" fmla="*/ 132 h 263"/>
                <a:gd name="T4" fmla="*/ 0 w 263"/>
                <a:gd name="T5" fmla="*/ 53 h 263"/>
                <a:gd name="T6" fmla="*/ 53 w 263"/>
                <a:gd name="T7" fmla="*/ 0 h 263"/>
                <a:gd name="T8" fmla="*/ 132 w 263"/>
                <a:gd name="T9" fmla="*/ 80 h 263"/>
                <a:gd name="T10" fmla="*/ 210 w 263"/>
                <a:gd name="T11" fmla="*/ 0 h 263"/>
                <a:gd name="T12" fmla="*/ 263 w 263"/>
                <a:gd name="T13" fmla="*/ 53 h 263"/>
                <a:gd name="T14" fmla="*/ 185 w 263"/>
                <a:gd name="T15" fmla="*/ 132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2"/>
                  </a:lnTo>
                  <a:lnTo>
                    <a:pt x="0" y="53"/>
                  </a:lnTo>
                  <a:lnTo>
                    <a:pt x="53" y="0"/>
                  </a:lnTo>
                  <a:lnTo>
                    <a:pt x="132" y="80"/>
                  </a:lnTo>
                  <a:lnTo>
                    <a:pt x="210" y="0"/>
                  </a:lnTo>
                  <a:lnTo>
                    <a:pt x="263" y="53"/>
                  </a:lnTo>
                  <a:lnTo>
                    <a:pt x="185" y="132"/>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50" name="Freeform 44">
              <a:extLst>
                <a:ext uri="{FF2B5EF4-FFF2-40B4-BE49-F238E27FC236}">
                  <a16:creationId xmlns:a16="http://schemas.microsoft.com/office/drawing/2014/main" id="{F926A661-97B8-4B43-9A12-C9C8083A5839}"/>
                </a:ext>
              </a:extLst>
            </p:cNvPr>
            <p:cNvSpPr>
              <a:spLocks/>
            </p:cNvSpPr>
            <p:nvPr userDrawn="1"/>
          </p:nvSpPr>
          <p:spPr bwMode="ltGray">
            <a:xfrm>
              <a:off x="177800" y="606425"/>
              <a:ext cx="417513" cy="417513"/>
            </a:xfrm>
            <a:custGeom>
              <a:avLst/>
              <a:gdLst>
                <a:gd name="T0" fmla="*/ 0 w 263"/>
                <a:gd name="T1" fmla="*/ 211 h 263"/>
                <a:gd name="T2" fmla="*/ 80 w 263"/>
                <a:gd name="T3" fmla="*/ 131 h 263"/>
                <a:gd name="T4" fmla="*/ 0 w 263"/>
                <a:gd name="T5" fmla="*/ 53 h 263"/>
                <a:gd name="T6" fmla="*/ 53 w 263"/>
                <a:gd name="T7" fmla="*/ 0 h 263"/>
                <a:gd name="T8" fmla="*/ 132 w 263"/>
                <a:gd name="T9" fmla="*/ 79 h 263"/>
                <a:gd name="T10" fmla="*/ 210 w 263"/>
                <a:gd name="T11" fmla="*/ 0 h 263"/>
                <a:gd name="T12" fmla="*/ 263 w 263"/>
                <a:gd name="T13" fmla="*/ 53 h 263"/>
                <a:gd name="T14" fmla="*/ 185 w 263"/>
                <a:gd name="T15" fmla="*/ 131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1"/>
                  </a:lnTo>
                  <a:lnTo>
                    <a:pt x="0" y="53"/>
                  </a:lnTo>
                  <a:lnTo>
                    <a:pt x="53" y="0"/>
                  </a:lnTo>
                  <a:lnTo>
                    <a:pt x="132" y="79"/>
                  </a:lnTo>
                  <a:lnTo>
                    <a:pt x="210" y="0"/>
                  </a:lnTo>
                  <a:lnTo>
                    <a:pt x="263" y="53"/>
                  </a:lnTo>
                  <a:lnTo>
                    <a:pt x="185" y="131"/>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grpSp>
    </p:spTree>
    <p:extLst>
      <p:ext uri="{BB962C8B-B14F-4D97-AF65-F5344CB8AC3E}">
        <p14:creationId xmlns:p14="http://schemas.microsoft.com/office/powerpoint/2010/main" val="298837865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34714694"/>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F24D61-5313-4F14-A557-902DE0AAEE23}"/>
              </a:ext>
            </a:extLst>
          </p:cNvPr>
          <p:cNvSpPr/>
          <p:nvPr userDrawn="1">
            <p:custDataLst>
              <p:tags r:id="rId2"/>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5" name="Title Placeholder 2">
            <a:extLst>
              <a:ext uri="{FF2B5EF4-FFF2-40B4-BE49-F238E27FC236}">
                <a16:creationId xmlns:a16="http://schemas.microsoft.com/office/drawing/2014/main" id="{1CF00FC1-77FF-48FD-8945-D432EB9754D9}"/>
              </a:ext>
            </a:extLst>
          </p:cNvPr>
          <p:cNvSpPr>
            <a:spLocks noGrp="1" noChangeArrowheads="1"/>
          </p:cNvSpPr>
          <p:nvPr>
            <p:ph type="title"/>
          </p:nvPr>
        </p:nvSpPr>
        <p:spPr bwMode="gray">
          <a:xfrm>
            <a:off x="839041" y="283037"/>
            <a:ext cx="1111970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tabLst>
                <a:tab pos="549088" algn="l"/>
              </a:tabLst>
              <a:defRPr/>
            </a:lvl1pPr>
          </a:lstStyle>
          <a:p>
            <a:pPr lvl="0"/>
            <a:r>
              <a:rPr lang="nl-NL" noProof="0" dirty="0"/>
              <a:t>Click to edit Master title style</a:t>
            </a:r>
          </a:p>
        </p:txBody>
      </p:sp>
    </p:spTree>
    <p:extLst>
      <p:ext uri="{BB962C8B-B14F-4D97-AF65-F5344CB8AC3E}">
        <p14:creationId xmlns:p14="http://schemas.microsoft.com/office/powerpoint/2010/main" val="153422178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5BE47-2A2B-43B2-A85F-74DF39EFD07D}"/>
              </a:ext>
            </a:extLst>
          </p:cNvPr>
          <p:cNvGraphicFramePr>
            <a:graphicFrameLocks noChangeAspect="1"/>
          </p:cNvGraphicFramePr>
          <p:nvPr userDrawn="1">
            <p:custDataLst>
              <p:tags r:id="rId1"/>
            </p:custDataLst>
            <p:extLst>
              <p:ext uri="{D42A27DB-BD31-4B8C-83A1-F6EECF244321}">
                <p14:modId xmlns:p14="http://schemas.microsoft.com/office/powerpoint/2010/main" val="3435470207"/>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4" name="Object 3" hidden="1">
                        <a:extLst>
                          <a:ext uri="{FF2B5EF4-FFF2-40B4-BE49-F238E27FC236}">
                            <a16:creationId xmlns:a16="http://schemas.microsoft.com/office/drawing/2014/main" id="{E055BE47-2A2B-43B2-A85F-74DF39EFD07D}"/>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90D1DBB-A7F0-4A4F-96ED-21071423E3AB}"/>
              </a:ext>
            </a:extLst>
          </p:cNvPr>
          <p:cNvSpPr/>
          <p:nvPr userDrawn="1">
            <p:custDataLst>
              <p:tags r:id="rId2"/>
            </p:custDataLst>
          </p:nvPr>
        </p:nvSpPr>
        <p:spPr>
          <a:xfrm>
            <a:off x="0" y="0"/>
            <a:ext cx="161977" cy="16197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2" name="Title 1">
            <a:extLst>
              <a:ext uri="{FF2B5EF4-FFF2-40B4-BE49-F238E27FC236}">
                <a16:creationId xmlns:a16="http://schemas.microsoft.com/office/drawing/2014/main" id="{9734B9BF-C3B0-4969-8EE3-D3897CB3D972}"/>
              </a:ext>
            </a:extLst>
          </p:cNvPr>
          <p:cNvSpPr>
            <a:spLocks noGrp="1"/>
          </p:cNvSpPr>
          <p:nvPr>
            <p:ph type="title"/>
          </p:nvPr>
        </p:nvSpPr>
        <p:spPr/>
        <p:txBody>
          <a:bodyPr/>
          <a:lstStyle/>
          <a:p>
            <a:r>
              <a:rPr lang="nl-NL" dirty="0"/>
              <a:t>Click to edit Master title style</a:t>
            </a:r>
          </a:p>
        </p:txBody>
      </p:sp>
    </p:spTree>
    <p:extLst>
      <p:ext uri="{BB962C8B-B14F-4D97-AF65-F5344CB8AC3E}">
        <p14:creationId xmlns:p14="http://schemas.microsoft.com/office/powerpoint/2010/main" val="2008899988"/>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Box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9" y="1592263"/>
            <a:ext cx="5332401" cy="1004634"/>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1004634"/>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hasCustomPrompt="1"/>
          </p:nvPr>
        </p:nvSpPr>
        <p:spPr>
          <a:xfrm>
            <a:off x="666747" y="266700"/>
            <a:ext cx="10866441" cy="930276"/>
          </a:xfrm>
          <a:prstGeom prst="rect">
            <a:avLst/>
          </a:prstGeom>
        </p:spPr>
        <p:txBody>
          <a:bodyPr vert="horz" lIns="91440" tIns="45720" rIns="91440" bIns="45720" rtlCol="0" anchor="b">
            <a:noAutofit/>
          </a:bodyPr>
          <a:lstStyle>
            <a:lvl1pPr>
              <a:defRPr/>
            </a:lvl1pPr>
          </a:lstStyle>
          <a:p>
            <a:r>
              <a:rPr lang="nl-NL" noProof="0" dirty="0"/>
              <a:t>Klik om titel in te voegen</a:t>
            </a:r>
          </a:p>
        </p:txBody>
      </p:sp>
    </p:spTree>
    <p:extLst>
      <p:ext uri="{BB962C8B-B14F-4D97-AF65-F5344CB8AC3E}">
        <p14:creationId xmlns:p14="http://schemas.microsoft.com/office/powerpoint/2010/main" val="350461942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56111099"/>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l-NL" sz="2000" b="0" i="0" baseline="0" dirty="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vert="horz"/>
          <a:lstStyle>
            <a:lvl1pPr rtl="0">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10" name="Text Placeholder 9"/>
          <p:cNvSpPr>
            <a:spLocks noGrp="1"/>
          </p:cNvSpPr>
          <p:nvPr>
            <p:ph type="body" sz="quarter" idx="10" hasCustomPrompt="1"/>
          </p:nvPr>
        </p:nvSpPr>
        <p:spPr>
          <a:xfrm>
            <a:off x="352427" y="57746"/>
            <a:ext cx="5743575" cy="251222"/>
          </a:xfrm>
        </p:spPr>
        <p:txBody>
          <a:bodyPr anchor="ctr"/>
          <a:lstStyle>
            <a:lvl1pPr marL="120598" indent="0" rtl="0">
              <a:buFont typeface="+mj-lt"/>
              <a:buNone/>
              <a:defRPr b="1" baseline="0">
                <a:solidFill>
                  <a:schemeClr val="bg1">
                    <a:lumMod val="50000"/>
                  </a:schemeClr>
                </a:solidFill>
              </a:defRPr>
            </a:lvl1pPr>
            <a:lvl2pPr marL="440636" indent="0">
              <a:buFont typeface="+mj-lt"/>
              <a:buNone/>
              <a:defRPr/>
            </a:lvl2pPr>
            <a:lvl3pPr marL="669234" indent="0">
              <a:buFont typeface="+mj-lt"/>
              <a:buNone/>
              <a:defRPr/>
            </a:lvl3pPr>
            <a:lvl4pPr marL="943552" indent="0">
              <a:buFont typeface="+mj-lt"/>
              <a:buNone/>
              <a:defRPr/>
            </a:lvl4pPr>
            <a:lvl5pPr marL="1172150" indent="0">
              <a:buFont typeface="+mj-lt"/>
              <a:buNone/>
              <a:defRPr/>
            </a:lvl5pPr>
          </a:lstStyle>
          <a:p>
            <a:pPr lvl="0"/>
            <a:r>
              <a:rPr lang="nl-NL" dirty="0"/>
              <a:t>Add chapter or topic heading</a:t>
            </a:r>
          </a:p>
        </p:txBody>
      </p:sp>
      <p:sp>
        <p:nvSpPr>
          <p:cNvPr id="11" name="Text Placeholder 4"/>
          <p:cNvSpPr>
            <a:spLocks noGrp="1"/>
          </p:cNvSpPr>
          <p:nvPr>
            <p:ph type="body" sz="quarter" idx="11" hasCustomPrompt="1"/>
          </p:nvPr>
        </p:nvSpPr>
        <p:spPr>
          <a:xfrm>
            <a:off x="5956302" y="6420551"/>
            <a:ext cx="4244975" cy="123125"/>
          </a:xfrm>
        </p:spPr>
        <p:txBody>
          <a:bodyPr anchor="b"/>
          <a:lstStyle>
            <a:lvl1pPr marL="120598" indent="0" algn="ctr" rtl="0">
              <a:buNone/>
              <a:defRPr sz="800" b="1" baseline="0">
                <a:solidFill>
                  <a:schemeClr val="bg1">
                    <a:lumMod val="50000"/>
                  </a:schemeClr>
                </a:solidFill>
              </a:defRPr>
            </a:lvl1pPr>
            <a:lvl2pPr>
              <a:defRPr sz="800"/>
            </a:lvl2pPr>
            <a:lvl3pPr>
              <a:defRPr sz="800"/>
            </a:lvl3pPr>
            <a:lvl4pPr>
              <a:defRPr sz="800"/>
            </a:lvl4pPr>
            <a:lvl5pPr>
              <a:defRPr sz="800"/>
            </a:lvl5pPr>
          </a:lstStyle>
          <a:p>
            <a:pPr lvl="0"/>
            <a:r>
              <a:rPr lang="nl-NL" dirty="0"/>
              <a:t>1 – 2 – 3 – 4. Chapter name – 5 – 6</a:t>
            </a:r>
          </a:p>
        </p:txBody>
      </p:sp>
    </p:spTree>
    <p:extLst>
      <p:ext uri="{BB962C8B-B14F-4D97-AF65-F5344CB8AC3E}">
        <p14:creationId xmlns:p14="http://schemas.microsoft.com/office/powerpoint/2010/main" val="323841175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Box (6) Charts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004634"/>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004634"/>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8" y="1909823"/>
            <a:ext cx="3517200" cy="1004634"/>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004634"/>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004634"/>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8" y="4373880"/>
            <a:ext cx="3517200" cy="1004634"/>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51159"/>
          </a:xfrm>
        </p:spPr>
        <p:txBody>
          <a:bodyPr/>
          <a:lstStyle>
            <a:lvl1pPr>
              <a:defRPr/>
            </a:lvl1pPr>
          </a:lstStyle>
          <a:p>
            <a:pPr lvl="0"/>
            <a:r>
              <a:rPr lang="nl-NL" noProof="0" dirty="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701"/>
            <a:ext cx="10866441" cy="930276"/>
          </a:xfrm>
          <a:prstGeom prst="rect">
            <a:avLst/>
          </a:prstGeom>
        </p:spPr>
        <p:txBody>
          <a:bodyPr vert="horz" lIns="91440" tIns="45720" rIns="91440" bIns="45720" rtlCol="0" anchor="b">
            <a:noAutofit/>
          </a:bodyPr>
          <a:lstStyle>
            <a:lvl1pPr>
              <a:defRPr/>
            </a:lvl1pPr>
          </a:lstStyle>
          <a:p>
            <a:r>
              <a:rPr lang="nl-NL" noProof="0" dirty="0"/>
              <a:t>Klik om titel in te voegen</a:t>
            </a:r>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hasCustomPrompt="1"/>
          </p:nvPr>
        </p:nvSpPr>
        <p:spPr>
          <a:xfrm>
            <a:off x="666750" y="1611881"/>
            <a:ext cx="3516680" cy="251159"/>
          </a:xfrm>
        </p:spPr>
        <p:txBody>
          <a:bodyPr/>
          <a:lstStyle>
            <a:lvl1pPr>
              <a:defRPr b="1"/>
            </a:lvl1pPr>
          </a:lstStyle>
          <a:p>
            <a:pPr lvl="0"/>
            <a:r>
              <a:rPr lang="nl-NL" noProof="0" dirty="0"/>
              <a:t>Klik om kop toe te voegen</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hasCustomPrompt="1"/>
          </p:nvPr>
        </p:nvSpPr>
        <p:spPr>
          <a:xfrm>
            <a:off x="4337662" y="1611881"/>
            <a:ext cx="3516680" cy="251159"/>
          </a:xfrm>
        </p:spPr>
        <p:txBody>
          <a:bodyPr/>
          <a:lstStyle>
            <a:lvl1pPr>
              <a:defRPr b="1"/>
            </a:lvl1pPr>
          </a:lstStyle>
          <a:p>
            <a:pPr lvl="0"/>
            <a:r>
              <a:rPr lang="nl-NL" noProof="0" dirty="0"/>
              <a:t>Klik om kop toe te voegen</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hasCustomPrompt="1"/>
          </p:nvPr>
        </p:nvSpPr>
        <p:spPr>
          <a:xfrm>
            <a:off x="8022069" y="1611881"/>
            <a:ext cx="3516680" cy="251159"/>
          </a:xfrm>
        </p:spPr>
        <p:txBody>
          <a:bodyPr/>
          <a:lstStyle>
            <a:lvl1pPr>
              <a:defRPr b="1"/>
            </a:lvl1pPr>
          </a:lstStyle>
          <a:p>
            <a:pPr lvl="0"/>
            <a:r>
              <a:rPr lang="nl-NL" noProof="0" dirty="0"/>
              <a:t>Klik om kop toe te voegen</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hasCustomPrompt="1"/>
          </p:nvPr>
        </p:nvSpPr>
        <p:spPr>
          <a:xfrm>
            <a:off x="666750" y="4065752"/>
            <a:ext cx="3516680" cy="251159"/>
          </a:xfrm>
        </p:spPr>
        <p:txBody>
          <a:bodyPr/>
          <a:lstStyle>
            <a:lvl1pPr>
              <a:defRPr b="1"/>
            </a:lvl1pPr>
          </a:lstStyle>
          <a:p>
            <a:pPr lvl="0"/>
            <a:r>
              <a:rPr lang="nl-NL" noProof="0" dirty="0"/>
              <a:t>Klik om kop toe te voegen</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hasCustomPrompt="1"/>
          </p:nvPr>
        </p:nvSpPr>
        <p:spPr>
          <a:xfrm>
            <a:off x="4337662" y="4065752"/>
            <a:ext cx="3516680" cy="251159"/>
          </a:xfrm>
        </p:spPr>
        <p:txBody>
          <a:bodyPr/>
          <a:lstStyle>
            <a:lvl1pPr>
              <a:defRPr b="1"/>
            </a:lvl1pPr>
          </a:lstStyle>
          <a:p>
            <a:pPr lvl="0"/>
            <a:r>
              <a:rPr lang="nl-NL" noProof="0" dirty="0"/>
              <a:t>Klik om kop toe te voegen</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hasCustomPrompt="1"/>
          </p:nvPr>
        </p:nvSpPr>
        <p:spPr>
          <a:xfrm>
            <a:off x="8022069" y="4065752"/>
            <a:ext cx="3516680" cy="251159"/>
          </a:xfrm>
        </p:spPr>
        <p:txBody>
          <a:bodyPr/>
          <a:lstStyle>
            <a:lvl1pPr>
              <a:defRPr b="1"/>
            </a:lvl1pPr>
          </a:lstStyle>
          <a:p>
            <a:pPr lvl="0"/>
            <a:r>
              <a:rPr lang="nl-NL" noProof="0" dirty="0"/>
              <a:t>Klik om kop toe te voegen</a:t>
            </a:r>
          </a:p>
        </p:txBody>
      </p:sp>
    </p:spTree>
    <p:extLst>
      <p:ext uri="{BB962C8B-B14F-4D97-AF65-F5344CB8AC3E}">
        <p14:creationId xmlns:p14="http://schemas.microsoft.com/office/powerpoint/2010/main" val="5087715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chemeClr val="tx2"/>
        </a:solidFill>
        <a:effectLst/>
      </p:bgPr>
    </p:bg>
    <p:spTree>
      <p:nvGrpSpPr>
        <p:cNvPr id="1" name=""/>
        <p:cNvGrpSpPr/>
        <p:nvPr/>
      </p:nvGrpSpPr>
      <p:grpSpPr>
        <a:xfrm>
          <a:off x="0" y="0"/>
          <a:ext cx="0" cy="0"/>
          <a:chOff x="0" y="0"/>
          <a:chExt cx="0" cy="0"/>
        </a:xfrm>
      </p:grpSpPr>
      <p:sp>
        <p:nvSpPr>
          <p:cNvPr id="37" name="Rechthoek 36">
            <a:extLst>
              <a:ext uri="{FF2B5EF4-FFF2-40B4-BE49-F238E27FC236}">
                <a16:creationId xmlns:a16="http://schemas.microsoft.com/office/drawing/2014/main" id="{3A328ABD-0406-6949-8BB7-6D2AEA80B538}"/>
              </a:ext>
            </a:extLst>
          </p:cNvPr>
          <p:cNvSpPr/>
          <p:nvPr userDrawn="1"/>
        </p:nvSpPr>
        <p:spPr>
          <a:xfrm>
            <a:off x="1" y="6051252"/>
            <a:ext cx="12191999" cy="806748"/>
          </a:xfrm>
          <a:prstGeom prst="rect">
            <a:avLst/>
          </a:prstGeom>
          <a:ln w="15875">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1837"/>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9001904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EA23475-9EC2-4C0C-BE62-D93FA15DA2B5}"/>
              </a:ext>
            </a:extLst>
          </p:cNvPr>
          <p:cNvSpPr/>
          <p:nvPr userDrawn="1">
            <p:custDataLst>
              <p:tags r:id="rId2"/>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5510"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45" name="Rectangle 44">
            <a:extLst>
              <a:ext uri="{FF2B5EF4-FFF2-40B4-BE49-F238E27FC236}">
                <a16:creationId xmlns:a16="http://schemas.microsoft.com/office/drawing/2014/main" id="{E81A223E-4F63-48C8-B290-576BBFF2BC0E}"/>
              </a:ext>
            </a:extLst>
          </p:cNvPr>
          <p:cNvSpPr>
            <a:spLocks/>
          </p:cNvSpPr>
          <p:nvPr userDrawn="1"/>
        </p:nvSpPr>
        <p:spPr bwMode="ltGray">
          <a:xfrm>
            <a:off x="1" y="1"/>
            <a:ext cx="892515"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nl-NL" sz="1837" dirty="0">
              <a:solidFill>
                <a:schemeClr val="tx1"/>
              </a:solidFill>
            </a:endParaRPr>
          </a:p>
        </p:txBody>
      </p:sp>
      <p:sp>
        <p:nvSpPr>
          <p:cNvPr id="9" name="Document type" hidden="1"/>
          <p:cNvSpPr txBox="1">
            <a:spLocks noChangeArrowheads="1"/>
          </p:cNvSpPr>
          <p:nvPr/>
        </p:nvSpPr>
        <p:spPr bwMode="ltGray">
          <a:xfrm>
            <a:off x="1018834" y="5844155"/>
            <a:ext cx="10080491"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nl-NL" sz="1428" baseline="0" noProof="0" dirty="0">
                <a:solidFill>
                  <a:schemeClr val="bg1"/>
                </a:solidFill>
                <a:latin typeface="+mn-lt"/>
              </a:rPr>
              <a:t>Documenttype</a:t>
            </a:r>
          </a:p>
        </p:txBody>
      </p:sp>
      <p:sp>
        <p:nvSpPr>
          <p:cNvPr id="10" name="Date" hidden="1"/>
          <p:cNvSpPr txBox="1">
            <a:spLocks noChangeArrowheads="1"/>
          </p:cNvSpPr>
          <p:nvPr/>
        </p:nvSpPr>
        <p:spPr bwMode="ltGray">
          <a:xfrm>
            <a:off x="1018834" y="6117893"/>
            <a:ext cx="10080491"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nl-NL" sz="1428" baseline="0" noProof="0" dirty="0">
                <a:solidFill>
                  <a:schemeClr val="bg1"/>
                </a:solidFill>
                <a:latin typeface="+mn-lt"/>
              </a:rPr>
              <a:t>Datum</a:t>
            </a:r>
          </a:p>
        </p:txBody>
      </p:sp>
      <p:sp>
        <p:nvSpPr>
          <p:cNvPr id="13314" name="Rectangle 1026"/>
          <p:cNvSpPr>
            <a:spLocks noGrp="1" noChangeArrowheads="1"/>
          </p:cNvSpPr>
          <p:nvPr>
            <p:ph type="ctrTitle"/>
          </p:nvPr>
        </p:nvSpPr>
        <p:spPr bwMode="ltGray">
          <a:xfrm>
            <a:off x="1018834" y="2605299"/>
            <a:ext cx="10080491" cy="847876"/>
          </a:xfrm>
          <a:prstGeom prst="rect">
            <a:avLst/>
          </a:prstGeom>
        </p:spPr>
        <p:txBody>
          <a:bodyPr wrap="square" anchor="b">
            <a:spAutoFit/>
          </a:bodyPr>
          <a:lstStyle>
            <a:lvl1pPr>
              <a:defRPr sz="5510" b="1" kern="1200" baseline="0">
                <a:solidFill>
                  <a:schemeClr val="bg1"/>
                </a:solidFill>
                <a:latin typeface="+mj-lt"/>
                <a:ea typeface="+mj-ea"/>
              </a:defRPr>
            </a:lvl1pPr>
          </a:lstStyle>
          <a:p>
            <a:pPr lvl="0"/>
            <a:r>
              <a:rPr lang="nl-NL" noProof="0" dirty="0"/>
              <a:t>Click to edit Master title style</a:t>
            </a:r>
          </a:p>
        </p:txBody>
      </p:sp>
      <p:sp>
        <p:nvSpPr>
          <p:cNvPr id="13315" name="Rectangle 1027"/>
          <p:cNvSpPr>
            <a:spLocks noGrp="1" noChangeArrowheads="1"/>
          </p:cNvSpPr>
          <p:nvPr>
            <p:ph type="subTitle" idx="1"/>
          </p:nvPr>
        </p:nvSpPr>
        <p:spPr bwMode="ltGray">
          <a:xfrm>
            <a:off x="1018834" y="3600693"/>
            <a:ext cx="10080491" cy="533848"/>
          </a:xfrm>
        </p:spPr>
        <p:txBody>
          <a:bodyPr wrap="square">
            <a:noAutofit/>
          </a:bodyPr>
          <a:lstStyle>
            <a:lvl1pPr>
              <a:defRPr sz="3469" baseline="0">
                <a:solidFill>
                  <a:schemeClr val="bg1"/>
                </a:solidFill>
                <a:latin typeface="+mj-lt"/>
                <a:ea typeface="+mj-ea"/>
              </a:defRPr>
            </a:lvl1pPr>
          </a:lstStyle>
          <a:p>
            <a:pPr lvl="0"/>
            <a:r>
              <a:rPr lang="nl-NL" noProof="0" dirty="0"/>
              <a:t>Click to edit Master subtitle style</a:t>
            </a:r>
          </a:p>
        </p:txBody>
      </p:sp>
      <p:grpSp>
        <p:nvGrpSpPr>
          <p:cNvPr id="43" name="Group 42">
            <a:extLst>
              <a:ext uri="{FF2B5EF4-FFF2-40B4-BE49-F238E27FC236}">
                <a16:creationId xmlns:a16="http://schemas.microsoft.com/office/drawing/2014/main" id="{3DA9FF67-0D51-4D87-B84D-DE1262962156}"/>
              </a:ext>
            </a:extLst>
          </p:cNvPr>
          <p:cNvGrpSpPr/>
          <p:nvPr userDrawn="1"/>
        </p:nvGrpSpPr>
        <p:grpSpPr bwMode="ltGray">
          <a:xfrm>
            <a:off x="1018835" y="127961"/>
            <a:ext cx="1731533" cy="579869"/>
            <a:chOff x="998538" y="125413"/>
            <a:chExt cx="1697038" cy="568325"/>
          </a:xfrm>
        </p:grpSpPr>
        <p:sp>
          <p:nvSpPr>
            <p:cNvPr id="19" name="Freeform 45">
              <a:extLst>
                <a:ext uri="{FF2B5EF4-FFF2-40B4-BE49-F238E27FC236}">
                  <a16:creationId xmlns:a16="http://schemas.microsoft.com/office/drawing/2014/main" id="{3594579E-4C97-4E6E-B5D9-2035222C075C}"/>
                </a:ext>
              </a:extLst>
            </p:cNvPr>
            <p:cNvSpPr>
              <a:spLocks/>
            </p:cNvSpPr>
            <p:nvPr userDrawn="1"/>
          </p:nvSpPr>
          <p:spPr bwMode="ltGray">
            <a:xfrm>
              <a:off x="1011238" y="125413"/>
              <a:ext cx="211138" cy="236538"/>
            </a:xfrm>
            <a:custGeom>
              <a:avLst/>
              <a:gdLst>
                <a:gd name="T0" fmla="*/ 1125 w 1125"/>
                <a:gd name="T1" fmla="*/ 1148 h 1267"/>
                <a:gd name="T2" fmla="*/ 631 w 1125"/>
                <a:gd name="T3" fmla="*/ 1267 h 1267"/>
                <a:gd name="T4" fmla="*/ 0 w 1125"/>
                <a:gd name="T5" fmla="*/ 639 h 1267"/>
                <a:gd name="T6" fmla="*/ 631 w 1125"/>
                <a:gd name="T7" fmla="*/ 0 h 1267"/>
                <a:gd name="T8" fmla="*/ 1102 w 1125"/>
                <a:gd name="T9" fmla="*/ 152 h 1267"/>
                <a:gd name="T10" fmla="*/ 945 w 1125"/>
                <a:gd name="T11" fmla="*/ 312 h 1267"/>
                <a:gd name="T12" fmla="*/ 633 w 1125"/>
                <a:gd name="T13" fmla="*/ 194 h 1267"/>
                <a:gd name="T14" fmla="*/ 223 w 1125"/>
                <a:gd name="T15" fmla="*/ 625 h 1267"/>
                <a:gd name="T16" fmla="*/ 633 w 1125"/>
                <a:gd name="T17" fmla="*/ 1073 h 1267"/>
                <a:gd name="T18" fmla="*/ 913 w 1125"/>
                <a:gd name="T19" fmla="*/ 1010 h 1267"/>
                <a:gd name="T20" fmla="*/ 913 w 1125"/>
                <a:gd name="T21" fmla="*/ 726 h 1267"/>
                <a:gd name="T22" fmla="*/ 669 w 1125"/>
                <a:gd name="T23" fmla="*/ 726 h 1267"/>
                <a:gd name="T24" fmla="*/ 669 w 1125"/>
                <a:gd name="T25" fmla="*/ 532 h 1267"/>
                <a:gd name="T26" fmla="*/ 1125 w 1125"/>
                <a:gd name="T27" fmla="*/ 532 h 1267"/>
                <a:gd name="T28" fmla="*/ 1125 w 1125"/>
                <a:gd name="T29" fmla="*/ 1148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5" h="1267">
                  <a:moveTo>
                    <a:pt x="1125" y="1148"/>
                  </a:moveTo>
                  <a:cubicBezTo>
                    <a:pt x="981" y="1227"/>
                    <a:pt x="815" y="1267"/>
                    <a:pt x="631" y="1267"/>
                  </a:cubicBezTo>
                  <a:cubicBezTo>
                    <a:pt x="263" y="1267"/>
                    <a:pt x="0" y="1015"/>
                    <a:pt x="0" y="639"/>
                  </a:cubicBezTo>
                  <a:cubicBezTo>
                    <a:pt x="0" y="252"/>
                    <a:pt x="263" y="0"/>
                    <a:pt x="631" y="0"/>
                  </a:cubicBezTo>
                  <a:cubicBezTo>
                    <a:pt x="813" y="0"/>
                    <a:pt x="977" y="39"/>
                    <a:pt x="1102" y="152"/>
                  </a:cubicBezTo>
                  <a:cubicBezTo>
                    <a:pt x="945" y="312"/>
                    <a:pt x="945" y="312"/>
                    <a:pt x="945" y="312"/>
                  </a:cubicBezTo>
                  <a:cubicBezTo>
                    <a:pt x="869" y="237"/>
                    <a:pt x="752" y="194"/>
                    <a:pt x="633" y="194"/>
                  </a:cubicBezTo>
                  <a:cubicBezTo>
                    <a:pt x="387" y="194"/>
                    <a:pt x="223" y="385"/>
                    <a:pt x="223" y="625"/>
                  </a:cubicBezTo>
                  <a:cubicBezTo>
                    <a:pt x="223" y="882"/>
                    <a:pt x="387" y="1073"/>
                    <a:pt x="633" y="1073"/>
                  </a:cubicBezTo>
                  <a:cubicBezTo>
                    <a:pt x="741" y="1073"/>
                    <a:pt x="839" y="1053"/>
                    <a:pt x="913" y="1010"/>
                  </a:cubicBezTo>
                  <a:cubicBezTo>
                    <a:pt x="913" y="726"/>
                    <a:pt x="913" y="726"/>
                    <a:pt x="913" y="726"/>
                  </a:cubicBezTo>
                  <a:cubicBezTo>
                    <a:pt x="669" y="726"/>
                    <a:pt x="669" y="726"/>
                    <a:pt x="669" y="726"/>
                  </a:cubicBezTo>
                  <a:cubicBezTo>
                    <a:pt x="669" y="532"/>
                    <a:pt x="669" y="532"/>
                    <a:pt x="669" y="532"/>
                  </a:cubicBezTo>
                  <a:cubicBezTo>
                    <a:pt x="1125" y="532"/>
                    <a:pt x="1125" y="532"/>
                    <a:pt x="1125" y="532"/>
                  </a:cubicBezTo>
                  <a:lnTo>
                    <a:pt x="1125" y="114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0" name="Freeform 46">
              <a:extLst>
                <a:ext uri="{FF2B5EF4-FFF2-40B4-BE49-F238E27FC236}">
                  <a16:creationId xmlns:a16="http://schemas.microsoft.com/office/drawing/2014/main" id="{F032D30D-15CF-4E12-8402-F1C574D25FE7}"/>
                </a:ext>
              </a:extLst>
            </p:cNvPr>
            <p:cNvSpPr>
              <a:spLocks noEditPoints="1"/>
            </p:cNvSpPr>
            <p:nvPr userDrawn="1"/>
          </p:nvSpPr>
          <p:spPr bwMode="ltGray">
            <a:xfrm>
              <a:off x="1258888" y="200025"/>
              <a:ext cx="155575" cy="160338"/>
            </a:xfrm>
            <a:custGeom>
              <a:avLst/>
              <a:gdLst>
                <a:gd name="T0" fmla="*/ 204 w 825"/>
                <a:gd name="T1" fmla="*/ 501 h 858"/>
                <a:gd name="T2" fmla="*/ 423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4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08" y="695"/>
                    <a:pt x="423"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8"/>
                    <a:pt x="542" y="153"/>
                    <a:pt x="414" y="153"/>
                  </a:cubicBezTo>
                  <a:cubicBezTo>
                    <a:pt x="293"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1" name="Freeform 47">
              <a:extLst>
                <a:ext uri="{FF2B5EF4-FFF2-40B4-BE49-F238E27FC236}">
                  <a16:creationId xmlns:a16="http://schemas.microsoft.com/office/drawing/2014/main" id="{62181A78-9679-473A-A970-452B7964DC86}"/>
                </a:ext>
              </a:extLst>
            </p:cNvPr>
            <p:cNvSpPr>
              <a:spLocks/>
            </p:cNvSpPr>
            <p:nvPr userDrawn="1"/>
          </p:nvSpPr>
          <p:spPr bwMode="ltGray">
            <a:xfrm>
              <a:off x="1447800" y="200025"/>
              <a:ext cx="236538" cy="155575"/>
            </a:xfrm>
            <a:custGeom>
              <a:avLst/>
              <a:gdLst>
                <a:gd name="T0" fmla="*/ 0 w 1259"/>
                <a:gd name="T1" fmla="*/ 20 h 833"/>
                <a:gd name="T2" fmla="*/ 193 w 1259"/>
                <a:gd name="T3" fmla="*/ 20 h 833"/>
                <a:gd name="T4" fmla="*/ 193 w 1259"/>
                <a:gd name="T5" fmla="*/ 148 h 833"/>
                <a:gd name="T6" fmla="*/ 197 w 1259"/>
                <a:gd name="T7" fmla="*/ 148 h 833"/>
                <a:gd name="T8" fmla="*/ 445 w 1259"/>
                <a:gd name="T9" fmla="*/ 0 h 833"/>
                <a:gd name="T10" fmla="*/ 699 w 1259"/>
                <a:gd name="T11" fmla="*/ 151 h 833"/>
                <a:gd name="T12" fmla="*/ 966 w 1259"/>
                <a:gd name="T13" fmla="*/ 0 h 833"/>
                <a:gd name="T14" fmla="*/ 1259 w 1259"/>
                <a:gd name="T15" fmla="*/ 349 h 833"/>
                <a:gd name="T16" fmla="*/ 1259 w 1259"/>
                <a:gd name="T17" fmla="*/ 833 h 833"/>
                <a:gd name="T18" fmla="*/ 1056 w 1259"/>
                <a:gd name="T19" fmla="*/ 833 h 833"/>
                <a:gd name="T20" fmla="*/ 1056 w 1259"/>
                <a:gd name="T21" fmla="*/ 372 h 833"/>
                <a:gd name="T22" fmla="*/ 905 w 1259"/>
                <a:gd name="T23" fmla="*/ 183 h 833"/>
                <a:gd name="T24" fmla="*/ 731 w 1259"/>
                <a:gd name="T25" fmla="*/ 393 h 833"/>
                <a:gd name="T26" fmla="*/ 731 w 1259"/>
                <a:gd name="T27" fmla="*/ 833 h 833"/>
                <a:gd name="T28" fmla="*/ 528 w 1259"/>
                <a:gd name="T29" fmla="*/ 833 h 833"/>
                <a:gd name="T30" fmla="*/ 528 w 1259"/>
                <a:gd name="T31" fmla="*/ 349 h 833"/>
                <a:gd name="T32" fmla="*/ 389 w 1259"/>
                <a:gd name="T33" fmla="*/ 183 h 833"/>
                <a:gd name="T34" fmla="*/ 204 w 1259"/>
                <a:gd name="T35" fmla="*/ 390 h 833"/>
                <a:gd name="T36" fmla="*/ 204 w 1259"/>
                <a:gd name="T37" fmla="*/ 833 h 833"/>
                <a:gd name="T38" fmla="*/ 0 w 1259"/>
                <a:gd name="T39" fmla="*/ 833 h 833"/>
                <a:gd name="T40" fmla="*/ 0 w 1259"/>
                <a:gd name="T41" fmla="*/ 2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9" h="833">
                  <a:moveTo>
                    <a:pt x="0" y="20"/>
                  </a:moveTo>
                  <a:cubicBezTo>
                    <a:pt x="193" y="20"/>
                    <a:pt x="193" y="20"/>
                    <a:pt x="193" y="20"/>
                  </a:cubicBezTo>
                  <a:cubicBezTo>
                    <a:pt x="193" y="148"/>
                    <a:pt x="193" y="148"/>
                    <a:pt x="193" y="148"/>
                  </a:cubicBezTo>
                  <a:cubicBezTo>
                    <a:pt x="197" y="148"/>
                    <a:pt x="197" y="148"/>
                    <a:pt x="197" y="148"/>
                  </a:cubicBezTo>
                  <a:cubicBezTo>
                    <a:pt x="232" y="72"/>
                    <a:pt x="310" y="0"/>
                    <a:pt x="445" y="0"/>
                  </a:cubicBezTo>
                  <a:cubicBezTo>
                    <a:pt x="570" y="0"/>
                    <a:pt x="656" y="49"/>
                    <a:pt x="699" y="151"/>
                  </a:cubicBezTo>
                  <a:cubicBezTo>
                    <a:pt x="758" y="47"/>
                    <a:pt x="844" y="0"/>
                    <a:pt x="966" y="0"/>
                  </a:cubicBezTo>
                  <a:cubicBezTo>
                    <a:pt x="1183" y="0"/>
                    <a:pt x="1259" y="155"/>
                    <a:pt x="1259" y="349"/>
                  </a:cubicBezTo>
                  <a:cubicBezTo>
                    <a:pt x="1259" y="833"/>
                    <a:pt x="1259" y="833"/>
                    <a:pt x="1259" y="833"/>
                  </a:cubicBezTo>
                  <a:cubicBezTo>
                    <a:pt x="1056" y="833"/>
                    <a:pt x="1056" y="833"/>
                    <a:pt x="1056" y="833"/>
                  </a:cubicBezTo>
                  <a:cubicBezTo>
                    <a:pt x="1056" y="372"/>
                    <a:pt x="1056" y="372"/>
                    <a:pt x="1056" y="372"/>
                  </a:cubicBezTo>
                  <a:cubicBezTo>
                    <a:pt x="1056" y="271"/>
                    <a:pt x="1025" y="183"/>
                    <a:pt x="905" y="183"/>
                  </a:cubicBezTo>
                  <a:cubicBezTo>
                    <a:pt x="778" y="183"/>
                    <a:pt x="731" y="288"/>
                    <a:pt x="731" y="393"/>
                  </a:cubicBezTo>
                  <a:cubicBezTo>
                    <a:pt x="731" y="833"/>
                    <a:pt x="731" y="833"/>
                    <a:pt x="731" y="833"/>
                  </a:cubicBezTo>
                  <a:cubicBezTo>
                    <a:pt x="528" y="833"/>
                    <a:pt x="528" y="833"/>
                    <a:pt x="528" y="833"/>
                  </a:cubicBezTo>
                  <a:cubicBezTo>
                    <a:pt x="528" y="349"/>
                    <a:pt x="528" y="349"/>
                    <a:pt x="528" y="349"/>
                  </a:cubicBezTo>
                  <a:cubicBezTo>
                    <a:pt x="528" y="249"/>
                    <a:pt x="487" y="183"/>
                    <a:pt x="389" y="183"/>
                  </a:cubicBezTo>
                  <a:cubicBezTo>
                    <a:pt x="256" y="183"/>
                    <a:pt x="204" y="281"/>
                    <a:pt x="204" y="390"/>
                  </a:cubicBezTo>
                  <a:cubicBezTo>
                    <a:pt x="204" y="833"/>
                    <a:pt x="204" y="833"/>
                    <a:pt x="204" y="833"/>
                  </a:cubicBezTo>
                  <a:cubicBezTo>
                    <a:pt x="0" y="833"/>
                    <a:pt x="0" y="833"/>
                    <a:pt x="0" y="833"/>
                  </a:cubicBezTo>
                  <a:lnTo>
                    <a:pt x="0" y="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2" name="Freeform 48">
              <a:extLst>
                <a:ext uri="{FF2B5EF4-FFF2-40B4-BE49-F238E27FC236}">
                  <a16:creationId xmlns:a16="http://schemas.microsoft.com/office/drawing/2014/main" id="{0C7F4442-2C2D-4A55-8C64-21A57A1756DF}"/>
                </a:ext>
              </a:extLst>
            </p:cNvPr>
            <p:cNvSpPr>
              <a:spLocks noEditPoints="1"/>
            </p:cNvSpPr>
            <p:nvPr userDrawn="1"/>
          </p:nvSpPr>
          <p:spPr bwMode="ltGray">
            <a:xfrm>
              <a:off x="1717675" y="200025"/>
              <a:ext cx="153988" cy="160338"/>
            </a:xfrm>
            <a:custGeom>
              <a:avLst/>
              <a:gdLst>
                <a:gd name="T0" fmla="*/ 204 w 825"/>
                <a:gd name="T1" fmla="*/ 501 h 858"/>
                <a:gd name="T2" fmla="*/ 423 w 825"/>
                <a:gd name="T3" fmla="*/ 695 h 858"/>
                <a:gd name="T4" fmla="*/ 642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5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10" y="695"/>
                    <a:pt x="423" y="695"/>
                  </a:cubicBezTo>
                  <a:cubicBezTo>
                    <a:pt x="525" y="695"/>
                    <a:pt x="591" y="647"/>
                    <a:pt x="642"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8"/>
                    <a:pt x="542" y="153"/>
                    <a:pt x="415" y="153"/>
                  </a:cubicBezTo>
                  <a:cubicBezTo>
                    <a:pt x="294"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3" name="Freeform 49">
              <a:extLst>
                <a:ext uri="{FF2B5EF4-FFF2-40B4-BE49-F238E27FC236}">
                  <a16:creationId xmlns:a16="http://schemas.microsoft.com/office/drawing/2014/main" id="{E708E535-9F33-4B32-AF3A-89677DD5E41B}"/>
                </a:ext>
              </a:extLst>
            </p:cNvPr>
            <p:cNvSpPr>
              <a:spLocks noEditPoints="1"/>
            </p:cNvSpPr>
            <p:nvPr userDrawn="1"/>
          </p:nvSpPr>
          <p:spPr bwMode="ltGray">
            <a:xfrm>
              <a:off x="1900238" y="200025"/>
              <a:ext cx="153988" cy="160338"/>
            </a:xfrm>
            <a:custGeom>
              <a:avLst/>
              <a:gdLst>
                <a:gd name="T0" fmla="*/ 204 w 825"/>
                <a:gd name="T1" fmla="*/ 501 h 858"/>
                <a:gd name="T2" fmla="*/ 422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4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08" y="695"/>
                    <a:pt x="422"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19" y="228"/>
                    <a:pt x="542" y="153"/>
                    <a:pt x="414" y="153"/>
                  </a:cubicBezTo>
                  <a:cubicBezTo>
                    <a:pt x="293"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4" name="Freeform 50">
              <a:extLst>
                <a:ext uri="{FF2B5EF4-FFF2-40B4-BE49-F238E27FC236}">
                  <a16:creationId xmlns:a16="http://schemas.microsoft.com/office/drawing/2014/main" id="{8850C9E0-7F66-4B6F-A5E3-B030EA899A8C}"/>
                </a:ext>
              </a:extLst>
            </p:cNvPr>
            <p:cNvSpPr>
              <a:spLocks/>
            </p:cNvSpPr>
            <p:nvPr userDrawn="1"/>
          </p:nvSpPr>
          <p:spPr bwMode="ltGray">
            <a:xfrm>
              <a:off x="2089150" y="200025"/>
              <a:ext cx="139700" cy="155575"/>
            </a:xfrm>
            <a:custGeom>
              <a:avLst/>
              <a:gdLst>
                <a:gd name="T0" fmla="*/ 0 w 750"/>
                <a:gd name="T1" fmla="*/ 20 h 833"/>
                <a:gd name="T2" fmla="*/ 195 w 750"/>
                <a:gd name="T3" fmla="*/ 20 h 833"/>
                <a:gd name="T4" fmla="*/ 195 w 750"/>
                <a:gd name="T5" fmla="*/ 151 h 833"/>
                <a:gd name="T6" fmla="*/ 199 w 750"/>
                <a:gd name="T7" fmla="*/ 151 h 833"/>
                <a:gd name="T8" fmla="*/ 450 w 750"/>
                <a:gd name="T9" fmla="*/ 0 h 833"/>
                <a:gd name="T10" fmla="*/ 750 w 750"/>
                <a:gd name="T11" fmla="*/ 320 h 833"/>
                <a:gd name="T12" fmla="*/ 750 w 750"/>
                <a:gd name="T13" fmla="*/ 833 h 833"/>
                <a:gd name="T14" fmla="*/ 545 w 750"/>
                <a:gd name="T15" fmla="*/ 833 h 833"/>
                <a:gd name="T16" fmla="*/ 545 w 750"/>
                <a:gd name="T17" fmla="*/ 421 h 833"/>
                <a:gd name="T18" fmla="*/ 394 w 750"/>
                <a:gd name="T19" fmla="*/ 183 h 833"/>
                <a:gd name="T20" fmla="*/ 206 w 750"/>
                <a:gd name="T21" fmla="*/ 390 h 833"/>
                <a:gd name="T22" fmla="*/ 206 w 750"/>
                <a:gd name="T23" fmla="*/ 833 h 833"/>
                <a:gd name="T24" fmla="*/ 0 w 750"/>
                <a:gd name="T25" fmla="*/ 833 h 833"/>
                <a:gd name="T26" fmla="*/ 0 w 750"/>
                <a:gd name="T27" fmla="*/ 2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0" h="833">
                  <a:moveTo>
                    <a:pt x="0" y="20"/>
                  </a:moveTo>
                  <a:cubicBezTo>
                    <a:pt x="195" y="20"/>
                    <a:pt x="195" y="20"/>
                    <a:pt x="195" y="20"/>
                  </a:cubicBezTo>
                  <a:cubicBezTo>
                    <a:pt x="195" y="151"/>
                    <a:pt x="195" y="151"/>
                    <a:pt x="195" y="151"/>
                  </a:cubicBezTo>
                  <a:cubicBezTo>
                    <a:pt x="199" y="151"/>
                    <a:pt x="199" y="151"/>
                    <a:pt x="199" y="151"/>
                  </a:cubicBezTo>
                  <a:cubicBezTo>
                    <a:pt x="237" y="69"/>
                    <a:pt x="313" y="0"/>
                    <a:pt x="450" y="0"/>
                  </a:cubicBezTo>
                  <a:cubicBezTo>
                    <a:pt x="671" y="0"/>
                    <a:pt x="750" y="155"/>
                    <a:pt x="750" y="320"/>
                  </a:cubicBezTo>
                  <a:cubicBezTo>
                    <a:pt x="750" y="833"/>
                    <a:pt x="750" y="833"/>
                    <a:pt x="750" y="833"/>
                  </a:cubicBezTo>
                  <a:cubicBezTo>
                    <a:pt x="545" y="833"/>
                    <a:pt x="545" y="833"/>
                    <a:pt x="545" y="833"/>
                  </a:cubicBezTo>
                  <a:cubicBezTo>
                    <a:pt x="545" y="421"/>
                    <a:pt x="545" y="421"/>
                    <a:pt x="545" y="421"/>
                  </a:cubicBezTo>
                  <a:cubicBezTo>
                    <a:pt x="545" y="333"/>
                    <a:pt x="538" y="183"/>
                    <a:pt x="394" y="183"/>
                  </a:cubicBezTo>
                  <a:cubicBezTo>
                    <a:pt x="259" y="183"/>
                    <a:pt x="206" y="281"/>
                    <a:pt x="206" y="390"/>
                  </a:cubicBezTo>
                  <a:cubicBezTo>
                    <a:pt x="206" y="833"/>
                    <a:pt x="206" y="833"/>
                    <a:pt x="206" y="833"/>
                  </a:cubicBezTo>
                  <a:cubicBezTo>
                    <a:pt x="0" y="833"/>
                    <a:pt x="0" y="833"/>
                    <a:pt x="0" y="833"/>
                  </a:cubicBezTo>
                  <a:lnTo>
                    <a:pt x="0" y="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5" name="Freeform 51">
              <a:extLst>
                <a:ext uri="{FF2B5EF4-FFF2-40B4-BE49-F238E27FC236}">
                  <a16:creationId xmlns:a16="http://schemas.microsoft.com/office/drawing/2014/main" id="{5E7243FB-D22C-4780-A2BD-2B0FE0EBDE84}"/>
                </a:ext>
              </a:extLst>
            </p:cNvPr>
            <p:cNvSpPr>
              <a:spLocks/>
            </p:cNvSpPr>
            <p:nvPr userDrawn="1"/>
          </p:nvSpPr>
          <p:spPr bwMode="ltGray">
            <a:xfrm>
              <a:off x="2254250" y="158750"/>
              <a:ext cx="111125" cy="201613"/>
            </a:xfrm>
            <a:custGeom>
              <a:avLst/>
              <a:gdLst>
                <a:gd name="T0" fmla="*/ 0 w 591"/>
                <a:gd name="T1" fmla="*/ 411 h 1075"/>
                <a:gd name="T2" fmla="*/ 0 w 591"/>
                <a:gd name="T3" fmla="*/ 237 h 1075"/>
                <a:gd name="T4" fmla="*/ 166 w 591"/>
                <a:gd name="T5" fmla="*/ 237 h 1075"/>
                <a:gd name="T6" fmla="*/ 166 w 591"/>
                <a:gd name="T7" fmla="*/ 0 h 1075"/>
                <a:gd name="T8" fmla="*/ 369 w 591"/>
                <a:gd name="T9" fmla="*/ 0 h 1075"/>
                <a:gd name="T10" fmla="*/ 369 w 591"/>
                <a:gd name="T11" fmla="*/ 237 h 1075"/>
                <a:gd name="T12" fmla="*/ 591 w 591"/>
                <a:gd name="T13" fmla="*/ 237 h 1075"/>
                <a:gd name="T14" fmla="*/ 591 w 591"/>
                <a:gd name="T15" fmla="*/ 411 h 1075"/>
                <a:gd name="T16" fmla="*/ 369 w 591"/>
                <a:gd name="T17" fmla="*/ 411 h 1075"/>
                <a:gd name="T18" fmla="*/ 369 w 591"/>
                <a:gd name="T19" fmla="*/ 769 h 1075"/>
                <a:gd name="T20" fmla="*/ 482 w 591"/>
                <a:gd name="T21" fmla="*/ 901 h 1075"/>
                <a:gd name="T22" fmla="*/ 591 w 591"/>
                <a:gd name="T23" fmla="*/ 876 h 1075"/>
                <a:gd name="T24" fmla="*/ 591 w 591"/>
                <a:gd name="T25" fmla="*/ 1048 h 1075"/>
                <a:gd name="T26" fmla="*/ 432 w 591"/>
                <a:gd name="T27" fmla="*/ 1075 h 1075"/>
                <a:gd name="T28" fmla="*/ 166 w 591"/>
                <a:gd name="T29" fmla="*/ 786 h 1075"/>
                <a:gd name="T30" fmla="*/ 166 w 591"/>
                <a:gd name="T31" fmla="*/ 411 h 1075"/>
                <a:gd name="T32" fmla="*/ 0 w 591"/>
                <a:gd name="T33" fmla="*/ 411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1" h="1075">
                  <a:moveTo>
                    <a:pt x="0" y="411"/>
                  </a:moveTo>
                  <a:cubicBezTo>
                    <a:pt x="0" y="237"/>
                    <a:pt x="0" y="237"/>
                    <a:pt x="0" y="237"/>
                  </a:cubicBezTo>
                  <a:cubicBezTo>
                    <a:pt x="166" y="237"/>
                    <a:pt x="166" y="237"/>
                    <a:pt x="166" y="237"/>
                  </a:cubicBezTo>
                  <a:cubicBezTo>
                    <a:pt x="166" y="0"/>
                    <a:pt x="166" y="0"/>
                    <a:pt x="166" y="0"/>
                  </a:cubicBezTo>
                  <a:cubicBezTo>
                    <a:pt x="369" y="0"/>
                    <a:pt x="369" y="0"/>
                    <a:pt x="369" y="0"/>
                  </a:cubicBezTo>
                  <a:cubicBezTo>
                    <a:pt x="369" y="237"/>
                    <a:pt x="369" y="237"/>
                    <a:pt x="369" y="237"/>
                  </a:cubicBezTo>
                  <a:cubicBezTo>
                    <a:pt x="591" y="237"/>
                    <a:pt x="591" y="237"/>
                    <a:pt x="591" y="237"/>
                  </a:cubicBezTo>
                  <a:cubicBezTo>
                    <a:pt x="591" y="411"/>
                    <a:pt x="591" y="411"/>
                    <a:pt x="591" y="411"/>
                  </a:cubicBezTo>
                  <a:cubicBezTo>
                    <a:pt x="369" y="411"/>
                    <a:pt x="369" y="411"/>
                    <a:pt x="369" y="411"/>
                  </a:cubicBezTo>
                  <a:cubicBezTo>
                    <a:pt x="369" y="769"/>
                    <a:pt x="369" y="769"/>
                    <a:pt x="369" y="769"/>
                  </a:cubicBezTo>
                  <a:cubicBezTo>
                    <a:pt x="369" y="851"/>
                    <a:pt x="392" y="901"/>
                    <a:pt x="482" y="901"/>
                  </a:cubicBezTo>
                  <a:cubicBezTo>
                    <a:pt x="517" y="901"/>
                    <a:pt x="566" y="894"/>
                    <a:pt x="591" y="876"/>
                  </a:cubicBezTo>
                  <a:cubicBezTo>
                    <a:pt x="591" y="1048"/>
                    <a:pt x="591" y="1048"/>
                    <a:pt x="591" y="1048"/>
                  </a:cubicBezTo>
                  <a:cubicBezTo>
                    <a:pt x="550" y="1068"/>
                    <a:pt x="478" y="1075"/>
                    <a:pt x="432" y="1075"/>
                  </a:cubicBezTo>
                  <a:cubicBezTo>
                    <a:pt x="216" y="1075"/>
                    <a:pt x="166" y="978"/>
                    <a:pt x="166" y="786"/>
                  </a:cubicBezTo>
                  <a:cubicBezTo>
                    <a:pt x="166" y="411"/>
                    <a:pt x="166" y="411"/>
                    <a:pt x="166" y="411"/>
                  </a:cubicBezTo>
                  <a:lnTo>
                    <a:pt x="0" y="41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6" name="Freeform 52">
              <a:extLst>
                <a:ext uri="{FF2B5EF4-FFF2-40B4-BE49-F238E27FC236}">
                  <a16:creationId xmlns:a16="http://schemas.microsoft.com/office/drawing/2014/main" id="{6E9E2EC8-D504-4CF1-B77E-DDBDE4017BF5}"/>
                </a:ext>
              </a:extLst>
            </p:cNvPr>
            <p:cNvSpPr>
              <a:spLocks noEditPoints="1"/>
            </p:cNvSpPr>
            <p:nvPr userDrawn="1"/>
          </p:nvSpPr>
          <p:spPr bwMode="ltGray">
            <a:xfrm>
              <a:off x="2387600" y="200025"/>
              <a:ext cx="155575" cy="160338"/>
            </a:xfrm>
            <a:custGeom>
              <a:avLst/>
              <a:gdLst>
                <a:gd name="T0" fmla="*/ 203 w 825"/>
                <a:gd name="T1" fmla="*/ 501 h 858"/>
                <a:gd name="T2" fmla="*/ 422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3 w 825"/>
                <a:gd name="T19" fmla="*/ 501 h 858"/>
                <a:gd name="T20" fmla="*/ 622 w 825"/>
                <a:gd name="T21" fmla="*/ 347 h 858"/>
                <a:gd name="T22" fmla="*/ 414 w 825"/>
                <a:gd name="T23" fmla="*/ 153 h 858"/>
                <a:gd name="T24" fmla="*/ 203 w 825"/>
                <a:gd name="T25" fmla="*/ 347 h 858"/>
                <a:gd name="T26" fmla="*/ 622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3" y="501"/>
                  </a:moveTo>
                  <a:cubicBezTo>
                    <a:pt x="217" y="621"/>
                    <a:pt x="309" y="695"/>
                    <a:pt x="422"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1" y="0"/>
                    <a:pt x="825" y="160"/>
                    <a:pt x="825" y="445"/>
                  </a:cubicBezTo>
                  <a:cubicBezTo>
                    <a:pt x="825" y="501"/>
                    <a:pt x="825" y="501"/>
                    <a:pt x="825" y="501"/>
                  </a:cubicBezTo>
                  <a:lnTo>
                    <a:pt x="203" y="501"/>
                  </a:lnTo>
                  <a:close/>
                  <a:moveTo>
                    <a:pt x="622" y="347"/>
                  </a:moveTo>
                  <a:cubicBezTo>
                    <a:pt x="619" y="228"/>
                    <a:pt x="542" y="153"/>
                    <a:pt x="414" y="153"/>
                  </a:cubicBezTo>
                  <a:cubicBezTo>
                    <a:pt x="293" y="153"/>
                    <a:pt x="218" y="229"/>
                    <a:pt x="203" y="347"/>
                  </a:cubicBezTo>
                  <a:lnTo>
                    <a:pt x="622"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7" name="Freeform 53">
              <a:extLst>
                <a:ext uri="{FF2B5EF4-FFF2-40B4-BE49-F238E27FC236}">
                  <a16:creationId xmlns:a16="http://schemas.microsoft.com/office/drawing/2014/main" id="{8A66AFFE-C1AF-4BF3-961F-5537D56D006C}"/>
                </a:ext>
              </a:extLst>
            </p:cNvPr>
            <p:cNvSpPr>
              <a:spLocks noEditPoints="1"/>
            </p:cNvSpPr>
            <p:nvPr userDrawn="1"/>
          </p:nvSpPr>
          <p:spPr bwMode="ltGray">
            <a:xfrm>
              <a:off x="998538" y="465138"/>
              <a:ext cx="228600" cy="225425"/>
            </a:xfrm>
            <a:custGeom>
              <a:avLst/>
              <a:gdLst>
                <a:gd name="T0" fmla="*/ 61 w 144"/>
                <a:gd name="T1" fmla="*/ 0 h 142"/>
                <a:gd name="T2" fmla="*/ 83 w 144"/>
                <a:gd name="T3" fmla="*/ 0 h 142"/>
                <a:gd name="T4" fmla="*/ 144 w 144"/>
                <a:gd name="T5" fmla="*/ 142 h 142"/>
                <a:gd name="T6" fmla="*/ 115 w 144"/>
                <a:gd name="T7" fmla="*/ 142 h 142"/>
                <a:gd name="T8" fmla="*/ 103 w 144"/>
                <a:gd name="T9" fmla="*/ 109 h 142"/>
                <a:gd name="T10" fmla="*/ 41 w 144"/>
                <a:gd name="T11" fmla="*/ 109 h 142"/>
                <a:gd name="T12" fmla="*/ 28 w 144"/>
                <a:gd name="T13" fmla="*/ 142 h 142"/>
                <a:gd name="T14" fmla="*/ 0 w 144"/>
                <a:gd name="T15" fmla="*/ 142 h 142"/>
                <a:gd name="T16" fmla="*/ 61 w 144"/>
                <a:gd name="T17" fmla="*/ 0 h 142"/>
                <a:gd name="T18" fmla="*/ 94 w 144"/>
                <a:gd name="T19" fmla="*/ 88 h 142"/>
                <a:gd name="T20" fmla="*/ 72 w 144"/>
                <a:gd name="T21" fmla="*/ 30 h 142"/>
                <a:gd name="T22" fmla="*/ 50 w 144"/>
                <a:gd name="T23" fmla="*/ 88 h 142"/>
                <a:gd name="T24" fmla="*/ 94 w 144"/>
                <a:gd name="T25" fmla="*/ 8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42">
                  <a:moveTo>
                    <a:pt x="61" y="0"/>
                  </a:moveTo>
                  <a:lnTo>
                    <a:pt x="83" y="0"/>
                  </a:lnTo>
                  <a:lnTo>
                    <a:pt x="144" y="142"/>
                  </a:lnTo>
                  <a:lnTo>
                    <a:pt x="115" y="142"/>
                  </a:lnTo>
                  <a:lnTo>
                    <a:pt x="103" y="109"/>
                  </a:lnTo>
                  <a:lnTo>
                    <a:pt x="41" y="109"/>
                  </a:lnTo>
                  <a:lnTo>
                    <a:pt x="28" y="142"/>
                  </a:lnTo>
                  <a:lnTo>
                    <a:pt x="0" y="142"/>
                  </a:lnTo>
                  <a:lnTo>
                    <a:pt x="61" y="0"/>
                  </a:lnTo>
                  <a:close/>
                  <a:moveTo>
                    <a:pt x="94" y="88"/>
                  </a:moveTo>
                  <a:lnTo>
                    <a:pt x="72" y="30"/>
                  </a:lnTo>
                  <a:lnTo>
                    <a:pt x="50" y="88"/>
                  </a:lnTo>
                  <a:lnTo>
                    <a:pt x="94" y="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8" name="Freeform 54">
              <a:extLst>
                <a:ext uri="{FF2B5EF4-FFF2-40B4-BE49-F238E27FC236}">
                  <a16:creationId xmlns:a16="http://schemas.microsoft.com/office/drawing/2014/main" id="{EC606987-D892-4CD1-9A72-6B9C2DC29614}"/>
                </a:ext>
              </a:extLst>
            </p:cNvPr>
            <p:cNvSpPr>
              <a:spLocks/>
            </p:cNvSpPr>
            <p:nvPr userDrawn="1"/>
          </p:nvSpPr>
          <p:spPr bwMode="ltGray">
            <a:xfrm>
              <a:off x="1247775" y="533400"/>
              <a:ext cx="236538" cy="157163"/>
            </a:xfrm>
            <a:custGeom>
              <a:avLst/>
              <a:gdLst>
                <a:gd name="T0" fmla="*/ 0 w 1267"/>
                <a:gd name="T1" fmla="*/ 21 h 842"/>
                <a:gd name="T2" fmla="*/ 194 w 1267"/>
                <a:gd name="T3" fmla="*/ 21 h 842"/>
                <a:gd name="T4" fmla="*/ 194 w 1267"/>
                <a:gd name="T5" fmla="*/ 149 h 842"/>
                <a:gd name="T6" fmla="*/ 198 w 1267"/>
                <a:gd name="T7" fmla="*/ 149 h 842"/>
                <a:gd name="T8" fmla="*/ 448 w 1267"/>
                <a:gd name="T9" fmla="*/ 0 h 842"/>
                <a:gd name="T10" fmla="*/ 704 w 1267"/>
                <a:gd name="T11" fmla="*/ 153 h 842"/>
                <a:gd name="T12" fmla="*/ 972 w 1267"/>
                <a:gd name="T13" fmla="*/ 0 h 842"/>
                <a:gd name="T14" fmla="*/ 1267 w 1267"/>
                <a:gd name="T15" fmla="*/ 352 h 842"/>
                <a:gd name="T16" fmla="*/ 1267 w 1267"/>
                <a:gd name="T17" fmla="*/ 842 h 842"/>
                <a:gd name="T18" fmla="*/ 1063 w 1267"/>
                <a:gd name="T19" fmla="*/ 842 h 842"/>
                <a:gd name="T20" fmla="*/ 1063 w 1267"/>
                <a:gd name="T21" fmla="*/ 377 h 842"/>
                <a:gd name="T22" fmla="*/ 911 w 1267"/>
                <a:gd name="T23" fmla="*/ 185 h 842"/>
                <a:gd name="T24" fmla="*/ 736 w 1267"/>
                <a:gd name="T25" fmla="*/ 397 h 842"/>
                <a:gd name="T26" fmla="*/ 736 w 1267"/>
                <a:gd name="T27" fmla="*/ 842 h 842"/>
                <a:gd name="T28" fmla="*/ 532 w 1267"/>
                <a:gd name="T29" fmla="*/ 842 h 842"/>
                <a:gd name="T30" fmla="*/ 532 w 1267"/>
                <a:gd name="T31" fmla="*/ 352 h 842"/>
                <a:gd name="T32" fmla="*/ 392 w 1267"/>
                <a:gd name="T33" fmla="*/ 185 h 842"/>
                <a:gd name="T34" fmla="*/ 205 w 1267"/>
                <a:gd name="T35" fmla="*/ 394 h 842"/>
                <a:gd name="T36" fmla="*/ 205 w 1267"/>
                <a:gd name="T37" fmla="*/ 842 h 842"/>
                <a:gd name="T38" fmla="*/ 0 w 1267"/>
                <a:gd name="T39" fmla="*/ 842 h 842"/>
                <a:gd name="T40" fmla="*/ 0 w 1267"/>
                <a:gd name="T41"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7" h="842">
                  <a:moveTo>
                    <a:pt x="0" y="21"/>
                  </a:moveTo>
                  <a:cubicBezTo>
                    <a:pt x="194" y="21"/>
                    <a:pt x="194" y="21"/>
                    <a:pt x="194" y="21"/>
                  </a:cubicBezTo>
                  <a:cubicBezTo>
                    <a:pt x="194" y="149"/>
                    <a:pt x="194" y="149"/>
                    <a:pt x="194" y="149"/>
                  </a:cubicBezTo>
                  <a:cubicBezTo>
                    <a:pt x="198" y="149"/>
                    <a:pt x="198" y="149"/>
                    <a:pt x="198" y="149"/>
                  </a:cubicBezTo>
                  <a:cubicBezTo>
                    <a:pt x="234" y="72"/>
                    <a:pt x="312" y="0"/>
                    <a:pt x="448" y="0"/>
                  </a:cubicBezTo>
                  <a:cubicBezTo>
                    <a:pt x="574" y="0"/>
                    <a:pt x="661" y="50"/>
                    <a:pt x="704" y="153"/>
                  </a:cubicBezTo>
                  <a:cubicBezTo>
                    <a:pt x="763" y="48"/>
                    <a:pt x="850" y="0"/>
                    <a:pt x="972" y="0"/>
                  </a:cubicBezTo>
                  <a:cubicBezTo>
                    <a:pt x="1191" y="0"/>
                    <a:pt x="1267" y="156"/>
                    <a:pt x="1267" y="352"/>
                  </a:cubicBezTo>
                  <a:cubicBezTo>
                    <a:pt x="1267" y="842"/>
                    <a:pt x="1267" y="842"/>
                    <a:pt x="1267" y="842"/>
                  </a:cubicBezTo>
                  <a:cubicBezTo>
                    <a:pt x="1063" y="842"/>
                    <a:pt x="1063" y="842"/>
                    <a:pt x="1063" y="842"/>
                  </a:cubicBezTo>
                  <a:cubicBezTo>
                    <a:pt x="1063" y="377"/>
                    <a:pt x="1063" y="377"/>
                    <a:pt x="1063" y="377"/>
                  </a:cubicBezTo>
                  <a:cubicBezTo>
                    <a:pt x="1063" y="274"/>
                    <a:pt x="1032" y="185"/>
                    <a:pt x="911" y="185"/>
                  </a:cubicBezTo>
                  <a:cubicBezTo>
                    <a:pt x="784" y="185"/>
                    <a:pt x="736" y="291"/>
                    <a:pt x="736" y="397"/>
                  </a:cubicBezTo>
                  <a:cubicBezTo>
                    <a:pt x="736" y="842"/>
                    <a:pt x="736" y="842"/>
                    <a:pt x="736" y="842"/>
                  </a:cubicBezTo>
                  <a:cubicBezTo>
                    <a:pt x="532" y="842"/>
                    <a:pt x="532" y="842"/>
                    <a:pt x="532" y="842"/>
                  </a:cubicBezTo>
                  <a:cubicBezTo>
                    <a:pt x="532" y="352"/>
                    <a:pt x="532" y="352"/>
                    <a:pt x="532" y="352"/>
                  </a:cubicBezTo>
                  <a:cubicBezTo>
                    <a:pt x="532" y="252"/>
                    <a:pt x="490" y="185"/>
                    <a:pt x="392" y="185"/>
                  </a:cubicBezTo>
                  <a:cubicBezTo>
                    <a:pt x="258" y="185"/>
                    <a:pt x="205" y="284"/>
                    <a:pt x="205" y="394"/>
                  </a:cubicBezTo>
                  <a:cubicBezTo>
                    <a:pt x="205" y="842"/>
                    <a:pt x="205" y="842"/>
                    <a:pt x="205"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9" name="Freeform 55">
              <a:extLst>
                <a:ext uri="{FF2B5EF4-FFF2-40B4-BE49-F238E27FC236}">
                  <a16:creationId xmlns:a16="http://schemas.microsoft.com/office/drawing/2014/main" id="{938EECDB-9B08-44D8-9CAE-92D9483255BB}"/>
                </a:ext>
              </a:extLst>
            </p:cNvPr>
            <p:cNvSpPr>
              <a:spLocks/>
            </p:cNvSpPr>
            <p:nvPr userDrawn="1"/>
          </p:nvSpPr>
          <p:spPr bwMode="ltGray">
            <a:xfrm>
              <a:off x="1512888" y="533400"/>
              <a:ext cx="123825" cy="160338"/>
            </a:xfrm>
            <a:custGeom>
              <a:avLst/>
              <a:gdLst>
                <a:gd name="T0" fmla="*/ 507 w 667"/>
                <a:gd name="T1" fmla="*/ 247 h 859"/>
                <a:gd name="T2" fmla="*/ 348 w 667"/>
                <a:gd name="T3" fmla="*/ 164 h 859"/>
                <a:gd name="T4" fmla="*/ 228 w 667"/>
                <a:gd name="T5" fmla="*/ 251 h 859"/>
                <a:gd name="T6" fmla="*/ 667 w 667"/>
                <a:gd name="T7" fmla="*/ 597 h 859"/>
                <a:gd name="T8" fmla="*/ 317 w 667"/>
                <a:gd name="T9" fmla="*/ 859 h 859"/>
                <a:gd name="T10" fmla="*/ 0 w 667"/>
                <a:gd name="T11" fmla="*/ 733 h 859"/>
                <a:gd name="T12" fmla="*/ 136 w 667"/>
                <a:gd name="T13" fmla="*/ 605 h 859"/>
                <a:gd name="T14" fmla="*/ 329 w 667"/>
                <a:gd name="T15" fmla="*/ 706 h 859"/>
                <a:gd name="T16" fmla="*/ 464 w 667"/>
                <a:gd name="T17" fmla="*/ 612 h 859"/>
                <a:gd name="T18" fmla="*/ 25 w 667"/>
                <a:gd name="T19" fmla="*/ 264 h 859"/>
                <a:gd name="T20" fmla="*/ 352 w 667"/>
                <a:gd name="T21" fmla="*/ 0 h 859"/>
                <a:gd name="T22" fmla="*/ 642 w 667"/>
                <a:gd name="T23" fmla="*/ 125 h 859"/>
                <a:gd name="T24" fmla="*/ 507 w 667"/>
                <a:gd name="T25" fmla="*/ 2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7" h="859">
                  <a:moveTo>
                    <a:pt x="507" y="247"/>
                  </a:moveTo>
                  <a:cubicBezTo>
                    <a:pt x="467" y="193"/>
                    <a:pt x="417" y="164"/>
                    <a:pt x="348" y="164"/>
                  </a:cubicBezTo>
                  <a:cubicBezTo>
                    <a:pt x="293" y="164"/>
                    <a:pt x="228" y="190"/>
                    <a:pt x="228" y="251"/>
                  </a:cubicBezTo>
                  <a:cubicBezTo>
                    <a:pt x="228" y="397"/>
                    <a:pt x="667" y="278"/>
                    <a:pt x="667" y="597"/>
                  </a:cubicBezTo>
                  <a:cubicBezTo>
                    <a:pt x="667" y="791"/>
                    <a:pt x="483" y="859"/>
                    <a:pt x="317" y="859"/>
                  </a:cubicBezTo>
                  <a:cubicBezTo>
                    <a:pt x="191" y="859"/>
                    <a:pt x="83" y="826"/>
                    <a:pt x="0" y="733"/>
                  </a:cubicBezTo>
                  <a:cubicBezTo>
                    <a:pt x="136" y="605"/>
                    <a:pt x="136" y="605"/>
                    <a:pt x="136" y="605"/>
                  </a:cubicBezTo>
                  <a:cubicBezTo>
                    <a:pt x="188" y="662"/>
                    <a:pt x="242" y="706"/>
                    <a:pt x="329" y="706"/>
                  </a:cubicBezTo>
                  <a:cubicBezTo>
                    <a:pt x="387" y="706"/>
                    <a:pt x="464" y="677"/>
                    <a:pt x="464" y="612"/>
                  </a:cubicBezTo>
                  <a:cubicBezTo>
                    <a:pt x="464" y="443"/>
                    <a:pt x="25" y="575"/>
                    <a:pt x="25" y="264"/>
                  </a:cubicBezTo>
                  <a:cubicBezTo>
                    <a:pt x="25" y="82"/>
                    <a:pt x="188" y="0"/>
                    <a:pt x="352" y="0"/>
                  </a:cubicBezTo>
                  <a:cubicBezTo>
                    <a:pt x="461" y="0"/>
                    <a:pt x="576" y="35"/>
                    <a:pt x="642" y="125"/>
                  </a:cubicBezTo>
                  <a:lnTo>
                    <a:pt x="507" y="2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0" name="Freeform 56">
              <a:extLst>
                <a:ext uri="{FF2B5EF4-FFF2-40B4-BE49-F238E27FC236}">
                  <a16:creationId xmlns:a16="http://schemas.microsoft.com/office/drawing/2014/main" id="{201C2FD4-4458-4C08-B319-3082B6BC5FFC}"/>
                </a:ext>
              </a:extLst>
            </p:cNvPr>
            <p:cNvSpPr>
              <a:spLocks/>
            </p:cNvSpPr>
            <p:nvPr userDrawn="1"/>
          </p:nvSpPr>
          <p:spPr bwMode="ltGray">
            <a:xfrm>
              <a:off x="1647825" y="493713"/>
              <a:ext cx="112713" cy="200025"/>
            </a:xfrm>
            <a:custGeom>
              <a:avLst/>
              <a:gdLst>
                <a:gd name="T0" fmla="*/ 0 w 600"/>
                <a:gd name="T1" fmla="*/ 407 h 1067"/>
                <a:gd name="T2" fmla="*/ 0 w 600"/>
                <a:gd name="T3" fmla="*/ 235 h 1067"/>
                <a:gd name="T4" fmla="*/ 169 w 600"/>
                <a:gd name="T5" fmla="*/ 235 h 1067"/>
                <a:gd name="T6" fmla="*/ 169 w 600"/>
                <a:gd name="T7" fmla="*/ 0 h 1067"/>
                <a:gd name="T8" fmla="*/ 374 w 600"/>
                <a:gd name="T9" fmla="*/ 0 h 1067"/>
                <a:gd name="T10" fmla="*/ 374 w 600"/>
                <a:gd name="T11" fmla="*/ 235 h 1067"/>
                <a:gd name="T12" fmla="*/ 600 w 600"/>
                <a:gd name="T13" fmla="*/ 235 h 1067"/>
                <a:gd name="T14" fmla="*/ 600 w 600"/>
                <a:gd name="T15" fmla="*/ 407 h 1067"/>
                <a:gd name="T16" fmla="*/ 374 w 600"/>
                <a:gd name="T17" fmla="*/ 407 h 1067"/>
                <a:gd name="T18" fmla="*/ 374 w 600"/>
                <a:gd name="T19" fmla="*/ 762 h 1067"/>
                <a:gd name="T20" fmla="*/ 488 w 600"/>
                <a:gd name="T21" fmla="*/ 894 h 1067"/>
                <a:gd name="T22" fmla="*/ 600 w 600"/>
                <a:gd name="T23" fmla="*/ 868 h 1067"/>
                <a:gd name="T24" fmla="*/ 600 w 600"/>
                <a:gd name="T25" fmla="*/ 1040 h 1067"/>
                <a:gd name="T26" fmla="*/ 437 w 600"/>
                <a:gd name="T27" fmla="*/ 1067 h 1067"/>
                <a:gd name="T28" fmla="*/ 169 w 600"/>
                <a:gd name="T29" fmla="*/ 780 h 1067"/>
                <a:gd name="T30" fmla="*/ 169 w 600"/>
                <a:gd name="T31" fmla="*/ 407 h 1067"/>
                <a:gd name="T32" fmla="*/ 0 w 600"/>
                <a:gd name="T33" fmla="*/ 40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0" h="1067">
                  <a:moveTo>
                    <a:pt x="0" y="407"/>
                  </a:moveTo>
                  <a:cubicBezTo>
                    <a:pt x="0" y="235"/>
                    <a:pt x="0" y="235"/>
                    <a:pt x="0" y="235"/>
                  </a:cubicBezTo>
                  <a:cubicBezTo>
                    <a:pt x="169" y="235"/>
                    <a:pt x="169" y="235"/>
                    <a:pt x="169" y="235"/>
                  </a:cubicBezTo>
                  <a:cubicBezTo>
                    <a:pt x="169" y="0"/>
                    <a:pt x="169" y="0"/>
                    <a:pt x="169" y="0"/>
                  </a:cubicBezTo>
                  <a:cubicBezTo>
                    <a:pt x="374" y="0"/>
                    <a:pt x="374" y="0"/>
                    <a:pt x="374" y="0"/>
                  </a:cubicBezTo>
                  <a:cubicBezTo>
                    <a:pt x="374" y="235"/>
                    <a:pt x="374" y="235"/>
                    <a:pt x="374" y="235"/>
                  </a:cubicBezTo>
                  <a:cubicBezTo>
                    <a:pt x="600" y="235"/>
                    <a:pt x="600" y="235"/>
                    <a:pt x="600" y="235"/>
                  </a:cubicBezTo>
                  <a:cubicBezTo>
                    <a:pt x="600" y="407"/>
                    <a:pt x="600" y="407"/>
                    <a:pt x="600" y="407"/>
                  </a:cubicBezTo>
                  <a:cubicBezTo>
                    <a:pt x="374" y="407"/>
                    <a:pt x="374" y="407"/>
                    <a:pt x="374" y="407"/>
                  </a:cubicBezTo>
                  <a:cubicBezTo>
                    <a:pt x="374" y="762"/>
                    <a:pt x="374" y="762"/>
                    <a:pt x="374" y="762"/>
                  </a:cubicBezTo>
                  <a:cubicBezTo>
                    <a:pt x="374" y="844"/>
                    <a:pt x="399" y="894"/>
                    <a:pt x="488" y="894"/>
                  </a:cubicBezTo>
                  <a:cubicBezTo>
                    <a:pt x="525" y="894"/>
                    <a:pt x="574" y="887"/>
                    <a:pt x="600" y="868"/>
                  </a:cubicBezTo>
                  <a:cubicBezTo>
                    <a:pt x="600" y="1040"/>
                    <a:pt x="600" y="1040"/>
                    <a:pt x="600" y="1040"/>
                  </a:cubicBezTo>
                  <a:cubicBezTo>
                    <a:pt x="557" y="1060"/>
                    <a:pt x="486" y="1067"/>
                    <a:pt x="437" y="1067"/>
                  </a:cubicBezTo>
                  <a:cubicBezTo>
                    <a:pt x="221" y="1067"/>
                    <a:pt x="169" y="970"/>
                    <a:pt x="169" y="780"/>
                  </a:cubicBezTo>
                  <a:cubicBezTo>
                    <a:pt x="169" y="407"/>
                    <a:pt x="169" y="407"/>
                    <a:pt x="169" y="407"/>
                  </a:cubicBezTo>
                  <a:lnTo>
                    <a:pt x="0" y="40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1" name="Freeform 57">
              <a:extLst>
                <a:ext uri="{FF2B5EF4-FFF2-40B4-BE49-F238E27FC236}">
                  <a16:creationId xmlns:a16="http://schemas.microsoft.com/office/drawing/2014/main" id="{5A3F9447-F0E2-44F7-8372-1CAA2787262A}"/>
                </a:ext>
              </a:extLst>
            </p:cNvPr>
            <p:cNvSpPr>
              <a:spLocks noEditPoints="1"/>
            </p:cNvSpPr>
            <p:nvPr userDrawn="1"/>
          </p:nvSpPr>
          <p:spPr bwMode="ltGray">
            <a:xfrm>
              <a:off x="1781175" y="533400"/>
              <a:ext cx="155575" cy="160338"/>
            </a:xfrm>
            <a:custGeom>
              <a:avLst/>
              <a:gdLst>
                <a:gd name="T0" fmla="*/ 204 w 825"/>
                <a:gd name="T1" fmla="*/ 501 h 859"/>
                <a:gd name="T2" fmla="*/ 423 w 825"/>
                <a:gd name="T3" fmla="*/ 695 h 859"/>
                <a:gd name="T4" fmla="*/ 642 w 825"/>
                <a:gd name="T5" fmla="*/ 585 h 859"/>
                <a:gd name="T6" fmla="*/ 787 w 825"/>
                <a:gd name="T7" fmla="*/ 695 h 859"/>
                <a:gd name="T8" fmla="*/ 443 w 825"/>
                <a:gd name="T9" fmla="*/ 859 h 859"/>
                <a:gd name="T10" fmla="*/ 0 w 825"/>
                <a:gd name="T11" fmla="*/ 430 h 859"/>
                <a:gd name="T12" fmla="*/ 443 w 825"/>
                <a:gd name="T13" fmla="*/ 0 h 859"/>
                <a:gd name="T14" fmla="*/ 825 w 825"/>
                <a:gd name="T15" fmla="*/ 445 h 859"/>
                <a:gd name="T16" fmla="*/ 825 w 825"/>
                <a:gd name="T17" fmla="*/ 501 h 859"/>
                <a:gd name="T18" fmla="*/ 204 w 825"/>
                <a:gd name="T19" fmla="*/ 501 h 859"/>
                <a:gd name="T20" fmla="*/ 621 w 825"/>
                <a:gd name="T21" fmla="*/ 347 h 859"/>
                <a:gd name="T22" fmla="*/ 415 w 825"/>
                <a:gd name="T23" fmla="*/ 153 h 859"/>
                <a:gd name="T24" fmla="*/ 204 w 825"/>
                <a:gd name="T25" fmla="*/ 347 h 859"/>
                <a:gd name="T26" fmla="*/ 621 w 825"/>
                <a:gd name="T27" fmla="*/ 3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9">
                  <a:moveTo>
                    <a:pt x="204" y="501"/>
                  </a:moveTo>
                  <a:cubicBezTo>
                    <a:pt x="218" y="622"/>
                    <a:pt x="309" y="695"/>
                    <a:pt x="423" y="695"/>
                  </a:cubicBezTo>
                  <a:cubicBezTo>
                    <a:pt x="525" y="695"/>
                    <a:pt x="590" y="647"/>
                    <a:pt x="642" y="585"/>
                  </a:cubicBezTo>
                  <a:cubicBezTo>
                    <a:pt x="787" y="695"/>
                    <a:pt x="787" y="695"/>
                    <a:pt x="787" y="695"/>
                  </a:cubicBezTo>
                  <a:cubicBezTo>
                    <a:pt x="692" y="813"/>
                    <a:pt x="572" y="859"/>
                    <a:pt x="443" y="859"/>
                  </a:cubicBezTo>
                  <a:cubicBezTo>
                    <a:pt x="197" y="859"/>
                    <a:pt x="0" y="687"/>
                    <a:pt x="0" y="430"/>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9"/>
                    <a:pt x="541" y="153"/>
                    <a:pt x="415" y="153"/>
                  </a:cubicBezTo>
                  <a:cubicBezTo>
                    <a:pt x="294" y="153"/>
                    <a:pt x="219" y="230"/>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2" name="Freeform 58">
              <a:extLst>
                <a:ext uri="{FF2B5EF4-FFF2-40B4-BE49-F238E27FC236}">
                  <a16:creationId xmlns:a16="http://schemas.microsoft.com/office/drawing/2014/main" id="{09ED63FC-E10D-4A0E-BC83-4FE0D72454AD}"/>
                </a:ext>
              </a:extLst>
            </p:cNvPr>
            <p:cNvSpPr>
              <a:spLocks/>
            </p:cNvSpPr>
            <p:nvPr userDrawn="1"/>
          </p:nvSpPr>
          <p:spPr bwMode="ltGray">
            <a:xfrm>
              <a:off x="1971675" y="533400"/>
              <a:ext cx="96838" cy="157163"/>
            </a:xfrm>
            <a:custGeom>
              <a:avLst/>
              <a:gdLst>
                <a:gd name="T0" fmla="*/ 0 w 517"/>
                <a:gd name="T1" fmla="*/ 21 h 842"/>
                <a:gd name="T2" fmla="*/ 202 w 517"/>
                <a:gd name="T3" fmla="*/ 21 h 842"/>
                <a:gd name="T4" fmla="*/ 202 w 517"/>
                <a:gd name="T5" fmla="*/ 150 h 842"/>
                <a:gd name="T6" fmla="*/ 206 w 517"/>
                <a:gd name="T7" fmla="*/ 150 h 842"/>
                <a:gd name="T8" fmla="*/ 445 w 517"/>
                <a:gd name="T9" fmla="*/ 0 h 842"/>
                <a:gd name="T10" fmla="*/ 517 w 517"/>
                <a:gd name="T11" fmla="*/ 12 h 842"/>
                <a:gd name="T12" fmla="*/ 517 w 517"/>
                <a:gd name="T13" fmla="*/ 211 h 842"/>
                <a:gd name="T14" fmla="*/ 420 w 517"/>
                <a:gd name="T15" fmla="*/ 195 h 842"/>
                <a:gd name="T16" fmla="*/ 202 w 517"/>
                <a:gd name="T17" fmla="*/ 402 h 842"/>
                <a:gd name="T18" fmla="*/ 202 w 517"/>
                <a:gd name="T19" fmla="*/ 842 h 842"/>
                <a:gd name="T20" fmla="*/ 0 w 517"/>
                <a:gd name="T21" fmla="*/ 842 h 842"/>
                <a:gd name="T22" fmla="*/ 0 w 517"/>
                <a:gd name="T23"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7" h="842">
                  <a:moveTo>
                    <a:pt x="0" y="21"/>
                  </a:moveTo>
                  <a:cubicBezTo>
                    <a:pt x="202" y="21"/>
                    <a:pt x="202" y="21"/>
                    <a:pt x="202" y="21"/>
                  </a:cubicBezTo>
                  <a:cubicBezTo>
                    <a:pt x="202" y="150"/>
                    <a:pt x="202" y="150"/>
                    <a:pt x="202" y="150"/>
                  </a:cubicBezTo>
                  <a:cubicBezTo>
                    <a:pt x="206" y="150"/>
                    <a:pt x="206" y="150"/>
                    <a:pt x="206" y="150"/>
                  </a:cubicBezTo>
                  <a:cubicBezTo>
                    <a:pt x="250" y="57"/>
                    <a:pt x="339" y="0"/>
                    <a:pt x="445" y="0"/>
                  </a:cubicBezTo>
                  <a:cubicBezTo>
                    <a:pt x="471" y="0"/>
                    <a:pt x="494" y="5"/>
                    <a:pt x="517" y="12"/>
                  </a:cubicBezTo>
                  <a:cubicBezTo>
                    <a:pt x="517" y="211"/>
                    <a:pt x="517" y="211"/>
                    <a:pt x="517" y="211"/>
                  </a:cubicBezTo>
                  <a:cubicBezTo>
                    <a:pt x="483" y="202"/>
                    <a:pt x="452" y="195"/>
                    <a:pt x="420" y="195"/>
                  </a:cubicBezTo>
                  <a:cubicBezTo>
                    <a:pt x="230" y="195"/>
                    <a:pt x="202" y="358"/>
                    <a:pt x="202" y="402"/>
                  </a:cubicBezTo>
                  <a:cubicBezTo>
                    <a:pt x="202" y="842"/>
                    <a:pt x="202" y="842"/>
                    <a:pt x="202"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3" name="Freeform 59">
              <a:extLst>
                <a:ext uri="{FF2B5EF4-FFF2-40B4-BE49-F238E27FC236}">
                  <a16:creationId xmlns:a16="http://schemas.microsoft.com/office/drawing/2014/main" id="{D631A289-79D1-4DEE-A37E-F23443011D02}"/>
                </a:ext>
              </a:extLst>
            </p:cNvPr>
            <p:cNvSpPr>
              <a:spLocks noEditPoints="1"/>
            </p:cNvSpPr>
            <p:nvPr userDrawn="1"/>
          </p:nvSpPr>
          <p:spPr bwMode="ltGray">
            <a:xfrm>
              <a:off x="2082800" y="450850"/>
              <a:ext cx="163513" cy="242888"/>
            </a:xfrm>
            <a:custGeom>
              <a:avLst/>
              <a:gdLst>
                <a:gd name="T0" fmla="*/ 683 w 875"/>
                <a:gd name="T1" fmla="*/ 1157 h 1300"/>
                <a:gd name="T2" fmla="*/ 679 w 875"/>
                <a:gd name="T3" fmla="*/ 1157 h 1300"/>
                <a:gd name="T4" fmla="*/ 400 w 875"/>
                <a:gd name="T5" fmla="*/ 1300 h 1300"/>
                <a:gd name="T6" fmla="*/ 0 w 875"/>
                <a:gd name="T7" fmla="*/ 873 h 1300"/>
                <a:gd name="T8" fmla="*/ 392 w 875"/>
                <a:gd name="T9" fmla="*/ 447 h 1300"/>
                <a:gd name="T10" fmla="*/ 667 w 875"/>
                <a:gd name="T11" fmla="*/ 571 h 1300"/>
                <a:gd name="T12" fmla="*/ 672 w 875"/>
                <a:gd name="T13" fmla="*/ 571 h 1300"/>
                <a:gd name="T14" fmla="*/ 672 w 875"/>
                <a:gd name="T15" fmla="*/ 0 h 1300"/>
                <a:gd name="T16" fmla="*/ 875 w 875"/>
                <a:gd name="T17" fmla="*/ 0 h 1300"/>
                <a:gd name="T18" fmla="*/ 875 w 875"/>
                <a:gd name="T19" fmla="*/ 1280 h 1300"/>
                <a:gd name="T20" fmla="*/ 683 w 875"/>
                <a:gd name="T21" fmla="*/ 1280 h 1300"/>
                <a:gd name="T22" fmla="*/ 683 w 875"/>
                <a:gd name="T23" fmla="*/ 1157 h 1300"/>
                <a:gd name="T24" fmla="*/ 441 w 875"/>
                <a:gd name="T25" fmla="*/ 1116 h 1300"/>
                <a:gd name="T26" fmla="*/ 679 w 875"/>
                <a:gd name="T27" fmla="*/ 873 h 1300"/>
                <a:gd name="T28" fmla="*/ 441 w 875"/>
                <a:gd name="T29" fmla="*/ 629 h 1300"/>
                <a:gd name="T30" fmla="*/ 203 w 875"/>
                <a:gd name="T31" fmla="*/ 873 h 1300"/>
                <a:gd name="T32" fmla="*/ 441 w 875"/>
                <a:gd name="T33" fmla="*/ 11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5" h="1300">
                  <a:moveTo>
                    <a:pt x="683" y="1157"/>
                  </a:moveTo>
                  <a:cubicBezTo>
                    <a:pt x="679" y="1157"/>
                    <a:pt x="679" y="1157"/>
                    <a:pt x="679" y="1157"/>
                  </a:cubicBezTo>
                  <a:cubicBezTo>
                    <a:pt x="620" y="1255"/>
                    <a:pt x="513" y="1300"/>
                    <a:pt x="400" y="1300"/>
                  </a:cubicBezTo>
                  <a:cubicBezTo>
                    <a:pt x="151" y="1300"/>
                    <a:pt x="0" y="1114"/>
                    <a:pt x="0" y="873"/>
                  </a:cubicBezTo>
                  <a:cubicBezTo>
                    <a:pt x="0" y="633"/>
                    <a:pt x="160" y="447"/>
                    <a:pt x="392" y="447"/>
                  </a:cubicBezTo>
                  <a:cubicBezTo>
                    <a:pt x="544" y="447"/>
                    <a:pt x="625" y="518"/>
                    <a:pt x="667" y="571"/>
                  </a:cubicBezTo>
                  <a:cubicBezTo>
                    <a:pt x="672" y="571"/>
                    <a:pt x="672" y="571"/>
                    <a:pt x="672" y="571"/>
                  </a:cubicBezTo>
                  <a:cubicBezTo>
                    <a:pt x="672" y="0"/>
                    <a:pt x="672" y="0"/>
                    <a:pt x="672" y="0"/>
                  </a:cubicBezTo>
                  <a:cubicBezTo>
                    <a:pt x="875" y="0"/>
                    <a:pt x="875" y="0"/>
                    <a:pt x="875" y="0"/>
                  </a:cubicBezTo>
                  <a:cubicBezTo>
                    <a:pt x="875" y="1280"/>
                    <a:pt x="875" y="1280"/>
                    <a:pt x="875" y="1280"/>
                  </a:cubicBezTo>
                  <a:cubicBezTo>
                    <a:pt x="683" y="1280"/>
                    <a:pt x="683" y="1280"/>
                    <a:pt x="683" y="1280"/>
                  </a:cubicBezTo>
                  <a:lnTo>
                    <a:pt x="683" y="1157"/>
                  </a:lnTo>
                  <a:close/>
                  <a:moveTo>
                    <a:pt x="441" y="1116"/>
                  </a:moveTo>
                  <a:cubicBezTo>
                    <a:pt x="589" y="1116"/>
                    <a:pt x="679" y="1001"/>
                    <a:pt x="679" y="873"/>
                  </a:cubicBezTo>
                  <a:cubicBezTo>
                    <a:pt x="679" y="746"/>
                    <a:pt x="589" y="629"/>
                    <a:pt x="441" y="629"/>
                  </a:cubicBezTo>
                  <a:cubicBezTo>
                    <a:pt x="292" y="629"/>
                    <a:pt x="203" y="746"/>
                    <a:pt x="203" y="873"/>
                  </a:cubicBezTo>
                  <a:cubicBezTo>
                    <a:pt x="203" y="1001"/>
                    <a:pt x="292" y="1116"/>
                    <a:pt x="441" y="1116"/>
                  </a:cubicBez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4" name="Freeform 60">
              <a:extLst>
                <a:ext uri="{FF2B5EF4-FFF2-40B4-BE49-F238E27FC236}">
                  <a16:creationId xmlns:a16="http://schemas.microsoft.com/office/drawing/2014/main" id="{3DD2871F-37DF-4206-87CE-46715E9EFAB6}"/>
                </a:ext>
              </a:extLst>
            </p:cNvPr>
            <p:cNvSpPr>
              <a:spLocks noEditPoints="1"/>
            </p:cNvSpPr>
            <p:nvPr userDrawn="1"/>
          </p:nvSpPr>
          <p:spPr bwMode="ltGray">
            <a:xfrm>
              <a:off x="2279650" y="533400"/>
              <a:ext cx="139700" cy="160338"/>
            </a:xfrm>
            <a:custGeom>
              <a:avLst/>
              <a:gdLst>
                <a:gd name="T0" fmla="*/ 566 w 750"/>
                <a:gd name="T1" fmla="*/ 726 h 859"/>
                <a:gd name="T2" fmla="*/ 562 w 750"/>
                <a:gd name="T3" fmla="*/ 726 h 859"/>
                <a:gd name="T4" fmla="*/ 299 w 750"/>
                <a:gd name="T5" fmla="*/ 859 h 859"/>
                <a:gd name="T6" fmla="*/ 0 w 750"/>
                <a:gd name="T7" fmla="*/ 613 h 859"/>
                <a:gd name="T8" fmla="*/ 515 w 750"/>
                <a:gd name="T9" fmla="*/ 329 h 859"/>
                <a:gd name="T10" fmla="*/ 566 w 750"/>
                <a:gd name="T11" fmla="*/ 329 h 859"/>
                <a:gd name="T12" fmla="*/ 566 w 750"/>
                <a:gd name="T13" fmla="*/ 307 h 859"/>
                <a:gd name="T14" fmla="*/ 379 w 750"/>
                <a:gd name="T15" fmla="*/ 153 h 859"/>
                <a:gd name="T16" fmla="*/ 160 w 750"/>
                <a:gd name="T17" fmla="*/ 239 h 859"/>
                <a:gd name="T18" fmla="*/ 53 w 750"/>
                <a:gd name="T19" fmla="*/ 131 h 859"/>
                <a:gd name="T20" fmla="*/ 400 w 750"/>
                <a:gd name="T21" fmla="*/ 0 h 859"/>
                <a:gd name="T22" fmla="*/ 750 w 750"/>
                <a:gd name="T23" fmla="*/ 369 h 859"/>
                <a:gd name="T24" fmla="*/ 750 w 750"/>
                <a:gd name="T25" fmla="*/ 839 h 859"/>
                <a:gd name="T26" fmla="*/ 566 w 750"/>
                <a:gd name="T27" fmla="*/ 839 h 859"/>
                <a:gd name="T28" fmla="*/ 566 w 750"/>
                <a:gd name="T29" fmla="*/ 726 h 859"/>
                <a:gd name="T30" fmla="*/ 555 w 750"/>
                <a:gd name="T31" fmla="*/ 472 h 859"/>
                <a:gd name="T32" fmla="*/ 512 w 750"/>
                <a:gd name="T33" fmla="*/ 472 h 859"/>
                <a:gd name="T34" fmla="*/ 205 w 750"/>
                <a:gd name="T35" fmla="*/ 598 h 859"/>
                <a:gd name="T36" fmla="*/ 347 w 750"/>
                <a:gd name="T37" fmla="*/ 706 h 859"/>
                <a:gd name="T38" fmla="*/ 555 w 750"/>
                <a:gd name="T39" fmla="*/ 518 h 859"/>
                <a:gd name="T40" fmla="*/ 555 w 750"/>
                <a:gd name="T41" fmla="*/ 472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0" h="859">
                  <a:moveTo>
                    <a:pt x="566" y="726"/>
                  </a:moveTo>
                  <a:cubicBezTo>
                    <a:pt x="562" y="726"/>
                    <a:pt x="562" y="726"/>
                    <a:pt x="562" y="726"/>
                  </a:cubicBezTo>
                  <a:cubicBezTo>
                    <a:pt x="503" y="818"/>
                    <a:pt x="408" y="859"/>
                    <a:pt x="299" y="859"/>
                  </a:cubicBezTo>
                  <a:cubicBezTo>
                    <a:pt x="147" y="859"/>
                    <a:pt x="0" y="775"/>
                    <a:pt x="0" y="613"/>
                  </a:cubicBezTo>
                  <a:cubicBezTo>
                    <a:pt x="0" y="347"/>
                    <a:pt x="311" y="329"/>
                    <a:pt x="515" y="329"/>
                  </a:cubicBezTo>
                  <a:cubicBezTo>
                    <a:pt x="566" y="329"/>
                    <a:pt x="566" y="329"/>
                    <a:pt x="566" y="329"/>
                  </a:cubicBezTo>
                  <a:cubicBezTo>
                    <a:pt x="566" y="307"/>
                    <a:pt x="566" y="307"/>
                    <a:pt x="566" y="307"/>
                  </a:cubicBezTo>
                  <a:cubicBezTo>
                    <a:pt x="566" y="206"/>
                    <a:pt x="488" y="153"/>
                    <a:pt x="379" y="153"/>
                  </a:cubicBezTo>
                  <a:cubicBezTo>
                    <a:pt x="293" y="153"/>
                    <a:pt x="214" y="187"/>
                    <a:pt x="160" y="239"/>
                  </a:cubicBezTo>
                  <a:cubicBezTo>
                    <a:pt x="53" y="131"/>
                    <a:pt x="53" y="131"/>
                    <a:pt x="53" y="131"/>
                  </a:cubicBezTo>
                  <a:cubicBezTo>
                    <a:pt x="144" y="39"/>
                    <a:pt x="271" y="0"/>
                    <a:pt x="400" y="0"/>
                  </a:cubicBezTo>
                  <a:cubicBezTo>
                    <a:pt x="750" y="0"/>
                    <a:pt x="750" y="252"/>
                    <a:pt x="750" y="369"/>
                  </a:cubicBezTo>
                  <a:cubicBezTo>
                    <a:pt x="750" y="839"/>
                    <a:pt x="750" y="839"/>
                    <a:pt x="750" y="839"/>
                  </a:cubicBezTo>
                  <a:cubicBezTo>
                    <a:pt x="566" y="839"/>
                    <a:pt x="566" y="839"/>
                    <a:pt x="566" y="839"/>
                  </a:cubicBezTo>
                  <a:lnTo>
                    <a:pt x="566" y="726"/>
                  </a:lnTo>
                  <a:close/>
                  <a:moveTo>
                    <a:pt x="555" y="472"/>
                  </a:moveTo>
                  <a:cubicBezTo>
                    <a:pt x="512" y="472"/>
                    <a:pt x="512" y="472"/>
                    <a:pt x="512" y="472"/>
                  </a:cubicBezTo>
                  <a:cubicBezTo>
                    <a:pt x="399" y="472"/>
                    <a:pt x="205" y="480"/>
                    <a:pt x="205" y="598"/>
                  </a:cubicBezTo>
                  <a:cubicBezTo>
                    <a:pt x="205" y="673"/>
                    <a:pt x="282" y="706"/>
                    <a:pt x="347" y="706"/>
                  </a:cubicBezTo>
                  <a:cubicBezTo>
                    <a:pt x="488" y="706"/>
                    <a:pt x="555" y="632"/>
                    <a:pt x="555" y="518"/>
                  </a:cubicBezTo>
                  <a:lnTo>
                    <a:pt x="555" y="472"/>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5" name="Freeform 61">
              <a:extLst>
                <a:ext uri="{FF2B5EF4-FFF2-40B4-BE49-F238E27FC236}">
                  <a16:creationId xmlns:a16="http://schemas.microsoft.com/office/drawing/2014/main" id="{28C5B83D-471B-4E36-AF30-F8E4A4B12E42}"/>
                </a:ext>
              </a:extLst>
            </p:cNvPr>
            <p:cNvSpPr>
              <a:spLocks/>
            </p:cNvSpPr>
            <p:nvPr userDrawn="1"/>
          </p:nvSpPr>
          <p:spPr bwMode="ltGray">
            <a:xfrm>
              <a:off x="2459038" y="533400"/>
              <a:ext cx="236538" cy="157163"/>
            </a:xfrm>
            <a:custGeom>
              <a:avLst/>
              <a:gdLst>
                <a:gd name="T0" fmla="*/ 0 w 1267"/>
                <a:gd name="T1" fmla="*/ 21 h 842"/>
                <a:gd name="T2" fmla="*/ 194 w 1267"/>
                <a:gd name="T3" fmla="*/ 21 h 842"/>
                <a:gd name="T4" fmla="*/ 194 w 1267"/>
                <a:gd name="T5" fmla="*/ 149 h 842"/>
                <a:gd name="T6" fmla="*/ 198 w 1267"/>
                <a:gd name="T7" fmla="*/ 149 h 842"/>
                <a:gd name="T8" fmla="*/ 448 w 1267"/>
                <a:gd name="T9" fmla="*/ 0 h 842"/>
                <a:gd name="T10" fmla="*/ 703 w 1267"/>
                <a:gd name="T11" fmla="*/ 153 h 842"/>
                <a:gd name="T12" fmla="*/ 972 w 1267"/>
                <a:gd name="T13" fmla="*/ 0 h 842"/>
                <a:gd name="T14" fmla="*/ 1267 w 1267"/>
                <a:gd name="T15" fmla="*/ 352 h 842"/>
                <a:gd name="T16" fmla="*/ 1267 w 1267"/>
                <a:gd name="T17" fmla="*/ 842 h 842"/>
                <a:gd name="T18" fmla="*/ 1063 w 1267"/>
                <a:gd name="T19" fmla="*/ 842 h 842"/>
                <a:gd name="T20" fmla="*/ 1063 w 1267"/>
                <a:gd name="T21" fmla="*/ 377 h 842"/>
                <a:gd name="T22" fmla="*/ 911 w 1267"/>
                <a:gd name="T23" fmla="*/ 185 h 842"/>
                <a:gd name="T24" fmla="*/ 736 w 1267"/>
                <a:gd name="T25" fmla="*/ 397 h 842"/>
                <a:gd name="T26" fmla="*/ 736 w 1267"/>
                <a:gd name="T27" fmla="*/ 842 h 842"/>
                <a:gd name="T28" fmla="*/ 532 w 1267"/>
                <a:gd name="T29" fmla="*/ 842 h 842"/>
                <a:gd name="T30" fmla="*/ 532 w 1267"/>
                <a:gd name="T31" fmla="*/ 352 h 842"/>
                <a:gd name="T32" fmla="*/ 392 w 1267"/>
                <a:gd name="T33" fmla="*/ 185 h 842"/>
                <a:gd name="T34" fmla="*/ 205 w 1267"/>
                <a:gd name="T35" fmla="*/ 394 h 842"/>
                <a:gd name="T36" fmla="*/ 205 w 1267"/>
                <a:gd name="T37" fmla="*/ 842 h 842"/>
                <a:gd name="T38" fmla="*/ 0 w 1267"/>
                <a:gd name="T39" fmla="*/ 842 h 842"/>
                <a:gd name="T40" fmla="*/ 0 w 1267"/>
                <a:gd name="T41"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7" h="842">
                  <a:moveTo>
                    <a:pt x="0" y="21"/>
                  </a:moveTo>
                  <a:cubicBezTo>
                    <a:pt x="194" y="21"/>
                    <a:pt x="194" y="21"/>
                    <a:pt x="194" y="21"/>
                  </a:cubicBezTo>
                  <a:cubicBezTo>
                    <a:pt x="194" y="149"/>
                    <a:pt x="194" y="149"/>
                    <a:pt x="194" y="149"/>
                  </a:cubicBezTo>
                  <a:cubicBezTo>
                    <a:pt x="198" y="149"/>
                    <a:pt x="198" y="149"/>
                    <a:pt x="198" y="149"/>
                  </a:cubicBezTo>
                  <a:cubicBezTo>
                    <a:pt x="234" y="72"/>
                    <a:pt x="312" y="0"/>
                    <a:pt x="448" y="0"/>
                  </a:cubicBezTo>
                  <a:cubicBezTo>
                    <a:pt x="574" y="0"/>
                    <a:pt x="661" y="50"/>
                    <a:pt x="703" y="153"/>
                  </a:cubicBezTo>
                  <a:cubicBezTo>
                    <a:pt x="763" y="48"/>
                    <a:pt x="850" y="0"/>
                    <a:pt x="972" y="0"/>
                  </a:cubicBezTo>
                  <a:cubicBezTo>
                    <a:pt x="1191" y="0"/>
                    <a:pt x="1267" y="156"/>
                    <a:pt x="1267" y="352"/>
                  </a:cubicBezTo>
                  <a:cubicBezTo>
                    <a:pt x="1267" y="842"/>
                    <a:pt x="1267" y="842"/>
                    <a:pt x="1267" y="842"/>
                  </a:cubicBezTo>
                  <a:cubicBezTo>
                    <a:pt x="1063" y="842"/>
                    <a:pt x="1063" y="842"/>
                    <a:pt x="1063" y="842"/>
                  </a:cubicBezTo>
                  <a:cubicBezTo>
                    <a:pt x="1063" y="377"/>
                    <a:pt x="1063" y="377"/>
                    <a:pt x="1063" y="377"/>
                  </a:cubicBezTo>
                  <a:cubicBezTo>
                    <a:pt x="1063" y="274"/>
                    <a:pt x="1032" y="185"/>
                    <a:pt x="911" y="185"/>
                  </a:cubicBezTo>
                  <a:cubicBezTo>
                    <a:pt x="783" y="185"/>
                    <a:pt x="736" y="291"/>
                    <a:pt x="736" y="397"/>
                  </a:cubicBezTo>
                  <a:cubicBezTo>
                    <a:pt x="736" y="842"/>
                    <a:pt x="736" y="842"/>
                    <a:pt x="736" y="842"/>
                  </a:cubicBezTo>
                  <a:cubicBezTo>
                    <a:pt x="532" y="842"/>
                    <a:pt x="532" y="842"/>
                    <a:pt x="532" y="842"/>
                  </a:cubicBezTo>
                  <a:cubicBezTo>
                    <a:pt x="532" y="352"/>
                    <a:pt x="532" y="352"/>
                    <a:pt x="532" y="352"/>
                  </a:cubicBezTo>
                  <a:cubicBezTo>
                    <a:pt x="532" y="252"/>
                    <a:pt x="490" y="185"/>
                    <a:pt x="392" y="185"/>
                  </a:cubicBezTo>
                  <a:cubicBezTo>
                    <a:pt x="258" y="185"/>
                    <a:pt x="205" y="284"/>
                    <a:pt x="205" y="394"/>
                  </a:cubicBezTo>
                  <a:cubicBezTo>
                    <a:pt x="205" y="842"/>
                    <a:pt x="205" y="842"/>
                    <a:pt x="205"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grpSp>
      <p:grpSp>
        <p:nvGrpSpPr>
          <p:cNvPr id="47" name="Group 46">
            <a:extLst>
              <a:ext uri="{FF2B5EF4-FFF2-40B4-BE49-F238E27FC236}">
                <a16:creationId xmlns:a16="http://schemas.microsoft.com/office/drawing/2014/main" id="{1F962ECB-3A1A-44FE-818D-CB9B4A34412E}"/>
              </a:ext>
            </a:extLst>
          </p:cNvPr>
          <p:cNvGrpSpPr>
            <a:grpSpLocks/>
          </p:cNvGrpSpPr>
          <p:nvPr userDrawn="1"/>
        </p:nvGrpSpPr>
        <p:grpSpPr bwMode="ltGray">
          <a:xfrm>
            <a:off x="233258" y="106904"/>
            <a:ext cx="426000" cy="1448052"/>
            <a:chOff x="177800" y="104775"/>
            <a:chExt cx="417513" cy="1419225"/>
          </a:xfrm>
          <a:solidFill>
            <a:schemeClr val="tx2"/>
          </a:solidFill>
        </p:grpSpPr>
        <p:sp>
          <p:nvSpPr>
            <p:cNvPr id="48" name="Freeform 42">
              <a:extLst>
                <a:ext uri="{FF2B5EF4-FFF2-40B4-BE49-F238E27FC236}">
                  <a16:creationId xmlns:a16="http://schemas.microsoft.com/office/drawing/2014/main" id="{133798F6-4EEC-435A-9713-7BFDDC5FFB74}"/>
                </a:ext>
              </a:extLst>
            </p:cNvPr>
            <p:cNvSpPr>
              <a:spLocks/>
            </p:cNvSpPr>
            <p:nvPr userDrawn="1"/>
          </p:nvSpPr>
          <p:spPr bwMode="ltGray">
            <a:xfrm>
              <a:off x="177800" y="1108075"/>
              <a:ext cx="417513" cy="415925"/>
            </a:xfrm>
            <a:custGeom>
              <a:avLst/>
              <a:gdLst>
                <a:gd name="T0" fmla="*/ 0 w 263"/>
                <a:gd name="T1" fmla="*/ 209 h 262"/>
                <a:gd name="T2" fmla="*/ 80 w 263"/>
                <a:gd name="T3" fmla="*/ 131 h 262"/>
                <a:gd name="T4" fmla="*/ 0 w 263"/>
                <a:gd name="T5" fmla="*/ 52 h 262"/>
                <a:gd name="T6" fmla="*/ 53 w 263"/>
                <a:gd name="T7" fmla="*/ 0 h 262"/>
                <a:gd name="T8" fmla="*/ 132 w 263"/>
                <a:gd name="T9" fmla="*/ 78 h 262"/>
                <a:gd name="T10" fmla="*/ 210 w 263"/>
                <a:gd name="T11" fmla="*/ 0 h 262"/>
                <a:gd name="T12" fmla="*/ 263 w 263"/>
                <a:gd name="T13" fmla="*/ 52 h 262"/>
                <a:gd name="T14" fmla="*/ 185 w 263"/>
                <a:gd name="T15" fmla="*/ 131 h 262"/>
                <a:gd name="T16" fmla="*/ 263 w 263"/>
                <a:gd name="T17" fmla="*/ 209 h 262"/>
                <a:gd name="T18" fmla="*/ 210 w 263"/>
                <a:gd name="T19" fmla="*/ 262 h 262"/>
                <a:gd name="T20" fmla="*/ 132 w 263"/>
                <a:gd name="T21" fmla="*/ 183 h 262"/>
                <a:gd name="T22" fmla="*/ 53 w 263"/>
                <a:gd name="T23" fmla="*/ 262 h 262"/>
                <a:gd name="T24" fmla="*/ 0 w 263"/>
                <a:gd name="T25" fmla="*/ 20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2">
                  <a:moveTo>
                    <a:pt x="0" y="209"/>
                  </a:moveTo>
                  <a:lnTo>
                    <a:pt x="80" y="131"/>
                  </a:lnTo>
                  <a:lnTo>
                    <a:pt x="0" y="52"/>
                  </a:lnTo>
                  <a:lnTo>
                    <a:pt x="53" y="0"/>
                  </a:lnTo>
                  <a:lnTo>
                    <a:pt x="132" y="78"/>
                  </a:lnTo>
                  <a:lnTo>
                    <a:pt x="210" y="0"/>
                  </a:lnTo>
                  <a:lnTo>
                    <a:pt x="263" y="52"/>
                  </a:lnTo>
                  <a:lnTo>
                    <a:pt x="185" y="131"/>
                  </a:lnTo>
                  <a:lnTo>
                    <a:pt x="263" y="209"/>
                  </a:lnTo>
                  <a:lnTo>
                    <a:pt x="210" y="262"/>
                  </a:lnTo>
                  <a:lnTo>
                    <a:pt x="132" y="183"/>
                  </a:lnTo>
                  <a:lnTo>
                    <a:pt x="53" y="262"/>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49" name="Freeform 43">
              <a:extLst>
                <a:ext uri="{FF2B5EF4-FFF2-40B4-BE49-F238E27FC236}">
                  <a16:creationId xmlns:a16="http://schemas.microsoft.com/office/drawing/2014/main" id="{8E16C36D-5041-4E7E-A415-3F2271D253D9}"/>
                </a:ext>
              </a:extLst>
            </p:cNvPr>
            <p:cNvSpPr>
              <a:spLocks/>
            </p:cNvSpPr>
            <p:nvPr userDrawn="1"/>
          </p:nvSpPr>
          <p:spPr bwMode="ltGray">
            <a:xfrm>
              <a:off x="177800" y="104775"/>
              <a:ext cx="417513" cy="417513"/>
            </a:xfrm>
            <a:custGeom>
              <a:avLst/>
              <a:gdLst>
                <a:gd name="T0" fmla="*/ 0 w 263"/>
                <a:gd name="T1" fmla="*/ 211 h 263"/>
                <a:gd name="T2" fmla="*/ 80 w 263"/>
                <a:gd name="T3" fmla="*/ 132 h 263"/>
                <a:gd name="T4" fmla="*/ 0 w 263"/>
                <a:gd name="T5" fmla="*/ 53 h 263"/>
                <a:gd name="T6" fmla="*/ 53 w 263"/>
                <a:gd name="T7" fmla="*/ 0 h 263"/>
                <a:gd name="T8" fmla="*/ 132 w 263"/>
                <a:gd name="T9" fmla="*/ 80 h 263"/>
                <a:gd name="T10" fmla="*/ 210 w 263"/>
                <a:gd name="T11" fmla="*/ 0 h 263"/>
                <a:gd name="T12" fmla="*/ 263 w 263"/>
                <a:gd name="T13" fmla="*/ 53 h 263"/>
                <a:gd name="T14" fmla="*/ 185 w 263"/>
                <a:gd name="T15" fmla="*/ 132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2"/>
                  </a:lnTo>
                  <a:lnTo>
                    <a:pt x="0" y="53"/>
                  </a:lnTo>
                  <a:lnTo>
                    <a:pt x="53" y="0"/>
                  </a:lnTo>
                  <a:lnTo>
                    <a:pt x="132" y="80"/>
                  </a:lnTo>
                  <a:lnTo>
                    <a:pt x="210" y="0"/>
                  </a:lnTo>
                  <a:lnTo>
                    <a:pt x="263" y="53"/>
                  </a:lnTo>
                  <a:lnTo>
                    <a:pt x="185" y="132"/>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50" name="Freeform 44">
              <a:extLst>
                <a:ext uri="{FF2B5EF4-FFF2-40B4-BE49-F238E27FC236}">
                  <a16:creationId xmlns:a16="http://schemas.microsoft.com/office/drawing/2014/main" id="{F926A661-97B8-4B43-9A12-C9C8083A5839}"/>
                </a:ext>
              </a:extLst>
            </p:cNvPr>
            <p:cNvSpPr>
              <a:spLocks/>
            </p:cNvSpPr>
            <p:nvPr userDrawn="1"/>
          </p:nvSpPr>
          <p:spPr bwMode="ltGray">
            <a:xfrm>
              <a:off x="177800" y="606425"/>
              <a:ext cx="417513" cy="417513"/>
            </a:xfrm>
            <a:custGeom>
              <a:avLst/>
              <a:gdLst>
                <a:gd name="T0" fmla="*/ 0 w 263"/>
                <a:gd name="T1" fmla="*/ 211 h 263"/>
                <a:gd name="T2" fmla="*/ 80 w 263"/>
                <a:gd name="T3" fmla="*/ 131 h 263"/>
                <a:gd name="T4" fmla="*/ 0 w 263"/>
                <a:gd name="T5" fmla="*/ 53 h 263"/>
                <a:gd name="T6" fmla="*/ 53 w 263"/>
                <a:gd name="T7" fmla="*/ 0 h 263"/>
                <a:gd name="T8" fmla="*/ 132 w 263"/>
                <a:gd name="T9" fmla="*/ 79 h 263"/>
                <a:gd name="T10" fmla="*/ 210 w 263"/>
                <a:gd name="T11" fmla="*/ 0 h 263"/>
                <a:gd name="T12" fmla="*/ 263 w 263"/>
                <a:gd name="T13" fmla="*/ 53 h 263"/>
                <a:gd name="T14" fmla="*/ 185 w 263"/>
                <a:gd name="T15" fmla="*/ 131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1"/>
                  </a:lnTo>
                  <a:lnTo>
                    <a:pt x="0" y="53"/>
                  </a:lnTo>
                  <a:lnTo>
                    <a:pt x="53" y="0"/>
                  </a:lnTo>
                  <a:lnTo>
                    <a:pt x="132" y="79"/>
                  </a:lnTo>
                  <a:lnTo>
                    <a:pt x="210" y="0"/>
                  </a:lnTo>
                  <a:lnTo>
                    <a:pt x="263" y="53"/>
                  </a:lnTo>
                  <a:lnTo>
                    <a:pt x="185" y="131"/>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grpSp>
      <p:sp>
        <p:nvSpPr>
          <p:cNvPr id="36" name="Tijdelijke aanduiding voor voettekst 7">
            <a:extLst>
              <a:ext uri="{FF2B5EF4-FFF2-40B4-BE49-F238E27FC236}">
                <a16:creationId xmlns:a16="http://schemas.microsoft.com/office/drawing/2014/main" id="{4D86575A-F077-4046-86BF-F1AB9AC7BE5C}"/>
              </a:ext>
            </a:extLst>
          </p:cNvPr>
          <p:cNvSpPr>
            <a:spLocks noGrp="1"/>
          </p:cNvSpPr>
          <p:nvPr>
            <p:ph type="ftr" sz="quarter" idx="3"/>
          </p:nvPr>
        </p:nvSpPr>
        <p:spPr>
          <a:xfrm>
            <a:off x="890653" y="6268355"/>
            <a:ext cx="4427858" cy="372541"/>
          </a:xfrm>
          <a:prstGeom prst="rect">
            <a:avLst/>
          </a:prstGeom>
        </p:spPr>
        <p:txBody>
          <a:bodyPr vert="horz" lIns="91440" tIns="45720" rIns="91440" bIns="45720" rtlCol="0" anchor="ctr"/>
          <a:lstStyle>
            <a:lvl1pPr algn="l">
              <a:defRPr sz="1837" b="1">
                <a:solidFill>
                  <a:schemeClr val="tx1"/>
                </a:solidFill>
                <a:latin typeface="Arial" panose="020B0604020202020204" pitchFamily="34" charset="0"/>
                <a:cs typeface="Arial" panose="020B0604020202020204" pitchFamily="34" charset="0"/>
              </a:defRPr>
            </a:lvl1pPr>
          </a:lstStyle>
          <a:p>
            <a:r>
              <a:rPr lang="nl-NL">
                <a:solidFill>
                  <a:srgbClr val="FF0000"/>
                </a:solidFill>
              </a:rPr>
              <a:t>Informatiebijeenkomst 26 juli 2021 Europese Aanbesteding SVWI</a:t>
            </a:r>
            <a:endParaRPr lang="nl-NL" dirty="0"/>
          </a:p>
        </p:txBody>
      </p:sp>
      <p:grpSp>
        <p:nvGrpSpPr>
          <p:cNvPr id="39" name="Groep 38">
            <a:extLst>
              <a:ext uri="{FF2B5EF4-FFF2-40B4-BE49-F238E27FC236}">
                <a16:creationId xmlns:a16="http://schemas.microsoft.com/office/drawing/2014/main" id="{92508750-A92D-0D45-9BDC-6BACB987162C}"/>
              </a:ext>
            </a:extLst>
          </p:cNvPr>
          <p:cNvGrpSpPr/>
          <p:nvPr userDrawn="1"/>
        </p:nvGrpSpPr>
        <p:grpSpPr>
          <a:xfrm>
            <a:off x="8428467" y="3514615"/>
            <a:ext cx="3111020" cy="2536637"/>
            <a:chOff x="5242602" y="3581171"/>
            <a:chExt cx="3061800" cy="2486139"/>
          </a:xfrm>
        </p:grpSpPr>
        <p:pic>
          <p:nvPicPr>
            <p:cNvPr id="40" name="bg object 17">
              <a:extLst>
                <a:ext uri="{FF2B5EF4-FFF2-40B4-BE49-F238E27FC236}">
                  <a16:creationId xmlns:a16="http://schemas.microsoft.com/office/drawing/2014/main" id="{511EA5B7-BD17-B24C-A1FD-DCF98BE45AC0}"/>
                </a:ext>
              </a:extLst>
            </p:cNvPr>
            <p:cNvPicPr/>
            <p:nvPr/>
          </p:nvPicPr>
          <p:blipFill>
            <a:blip r:embed="rId6" cstate="print"/>
            <a:stretch>
              <a:fillRect/>
            </a:stretch>
          </p:blipFill>
          <p:spPr>
            <a:xfrm>
              <a:off x="5509347" y="4963937"/>
              <a:ext cx="204658" cy="200315"/>
            </a:xfrm>
            <a:prstGeom prst="rect">
              <a:avLst/>
            </a:prstGeom>
          </p:spPr>
        </p:pic>
        <p:pic>
          <p:nvPicPr>
            <p:cNvPr id="41" name="bg object 18">
              <a:extLst>
                <a:ext uri="{FF2B5EF4-FFF2-40B4-BE49-F238E27FC236}">
                  <a16:creationId xmlns:a16="http://schemas.microsoft.com/office/drawing/2014/main" id="{066495B9-BBE8-E74D-AC0A-CA391ED7A9D9}"/>
                </a:ext>
              </a:extLst>
            </p:cNvPr>
            <p:cNvPicPr/>
            <p:nvPr/>
          </p:nvPicPr>
          <p:blipFill>
            <a:blip r:embed="rId7" cstate="print"/>
            <a:stretch>
              <a:fillRect/>
            </a:stretch>
          </p:blipFill>
          <p:spPr>
            <a:xfrm>
              <a:off x="6450003" y="4287404"/>
              <a:ext cx="199694" cy="191888"/>
            </a:xfrm>
            <a:prstGeom prst="rect">
              <a:avLst/>
            </a:prstGeom>
          </p:spPr>
        </p:pic>
        <p:sp>
          <p:nvSpPr>
            <p:cNvPr id="42" name="bg object 19">
              <a:extLst>
                <a:ext uri="{FF2B5EF4-FFF2-40B4-BE49-F238E27FC236}">
                  <a16:creationId xmlns:a16="http://schemas.microsoft.com/office/drawing/2014/main" id="{882FE858-A207-B44F-8478-548F39A8A868}"/>
                </a:ext>
              </a:extLst>
            </p:cNvPr>
            <p:cNvSpPr/>
            <p:nvPr/>
          </p:nvSpPr>
          <p:spPr>
            <a:xfrm>
              <a:off x="6112330" y="4597401"/>
              <a:ext cx="256540" cy="93980"/>
            </a:xfrm>
            <a:custGeom>
              <a:avLst/>
              <a:gdLst/>
              <a:ahLst/>
              <a:cxnLst/>
              <a:rect l="l" t="t" r="r" b="b"/>
              <a:pathLst>
                <a:path w="256539" h="93979">
                  <a:moveTo>
                    <a:pt x="215239" y="0"/>
                  </a:moveTo>
                  <a:lnTo>
                    <a:pt x="25387" y="32715"/>
                  </a:lnTo>
                  <a:lnTo>
                    <a:pt x="0" y="67564"/>
                  </a:lnTo>
                  <a:lnTo>
                    <a:pt x="4026" y="78959"/>
                  </a:lnTo>
                  <a:lnTo>
                    <a:pt x="11799" y="87653"/>
                  </a:lnTo>
                  <a:lnTo>
                    <a:pt x="22233" y="92840"/>
                  </a:lnTo>
                  <a:lnTo>
                    <a:pt x="34239" y="93713"/>
                  </a:lnTo>
                  <a:lnTo>
                    <a:pt x="225577" y="71170"/>
                  </a:lnTo>
                  <a:lnTo>
                    <a:pt x="239043" y="66371"/>
                  </a:lnTo>
                  <a:lnTo>
                    <a:pt x="249261" y="57102"/>
                  </a:lnTo>
                  <a:lnTo>
                    <a:pt x="255247" y="44685"/>
                  </a:lnTo>
                  <a:lnTo>
                    <a:pt x="256019" y="30441"/>
                  </a:lnTo>
                  <a:lnTo>
                    <a:pt x="251220" y="16975"/>
                  </a:lnTo>
                  <a:lnTo>
                    <a:pt x="241949" y="6757"/>
                  </a:lnTo>
                  <a:lnTo>
                    <a:pt x="229517" y="772"/>
                  </a:lnTo>
                  <a:lnTo>
                    <a:pt x="215239" y="0"/>
                  </a:lnTo>
                  <a:close/>
                </a:path>
              </a:pathLst>
            </a:custGeom>
            <a:solidFill>
              <a:srgbClr val="000000"/>
            </a:solidFill>
          </p:spPr>
          <p:txBody>
            <a:bodyPr wrap="square" lIns="0" tIns="0" rIns="0" bIns="0" rtlCol="0"/>
            <a:lstStyle/>
            <a:p>
              <a:endParaRPr sz="1828"/>
            </a:p>
          </p:txBody>
        </p:sp>
        <p:pic>
          <p:nvPicPr>
            <p:cNvPr id="44" name="bg object 20">
              <a:extLst>
                <a:ext uri="{FF2B5EF4-FFF2-40B4-BE49-F238E27FC236}">
                  <a16:creationId xmlns:a16="http://schemas.microsoft.com/office/drawing/2014/main" id="{EBDA686C-8CD3-2146-9949-86B0C02409D1}"/>
                </a:ext>
              </a:extLst>
            </p:cNvPr>
            <p:cNvPicPr/>
            <p:nvPr/>
          </p:nvPicPr>
          <p:blipFill>
            <a:blip r:embed="rId8" cstate="print"/>
            <a:stretch>
              <a:fillRect/>
            </a:stretch>
          </p:blipFill>
          <p:spPr>
            <a:xfrm>
              <a:off x="6305741" y="4512394"/>
              <a:ext cx="251781" cy="154172"/>
            </a:xfrm>
            <a:prstGeom prst="rect">
              <a:avLst/>
            </a:prstGeom>
          </p:spPr>
        </p:pic>
        <p:sp>
          <p:nvSpPr>
            <p:cNvPr id="46" name="bg object 21">
              <a:extLst>
                <a:ext uri="{FF2B5EF4-FFF2-40B4-BE49-F238E27FC236}">
                  <a16:creationId xmlns:a16="http://schemas.microsoft.com/office/drawing/2014/main" id="{BE54E561-15C1-9541-BC37-D4AA62A0A44E}"/>
                </a:ext>
              </a:extLst>
            </p:cNvPr>
            <p:cNvSpPr/>
            <p:nvPr/>
          </p:nvSpPr>
          <p:spPr>
            <a:xfrm>
              <a:off x="6398450" y="4499330"/>
              <a:ext cx="327025" cy="925194"/>
            </a:xfrm>
            <a:custGeom>
              <a:avLst/>
              <a:gdLst/>
              <a:ahLst/>
              <a:cxnLst/>
              <a:rect l="l" t="t" r="r" b="b"/>
              <a:pathLst>
                <a:path w="327025" h="925195">
                  <a:moveTo>
                    <a:pt x="327012" y="876693"/>
                  </a:moveTo>
                  <a:lnTo>
                    <a:pt x="326428" y="873480"/>
                  </a:lnTo>
                  <a:lnTo>
                    <a:pt x="325488" y="869835"/>
                  </a:lnTo>
                  <a:lnTo>
                    <a:pt x="293243" y="618007"/>
                  </a:lnTo>
                  <a:lnTo>
                    <a:pt x="293903" y="613054"/>
                  </a:lnTo>
                  <a:lnTo>
                    <a:pt x="298030" y="349478"/>
                  </a:lnTo>
                  <a:lnTo>
                    <a:pt x="298843" y="342633"/>
                  </a:lnTo>
                  <a:lnTo>
                    <a:pt x="298373" y="335457"/>
                  </a:lnTo>
                  <a:lnTo>
                    <a:pt x="297535" y="332676"/>
                  </a:lnTo>
                  <a:lnTo>
                    <a:pt x="254762" y="39255"/>
                  </a:lnTo>
                  <a:lnTo>
                    <a:pt x="248285" y="22136"/>
                  </a:lnTo>
                  <a:lnTo>
                    <a:pt x="235496" y="9042"/>
                  </a:lnTo>
                  <a:lnTo>
                    <a:pt x="218211" y="1244"/>
                  </a:lnTo>
                  <a:lnTo>
                    <a:pt x="198247" y="0"/>
                  </a:lnTo>
                  <a:lnTo>
                    <a:pt x="131533" y="7988"/>
                  </a:lnTo>
                  <a:lnTo>
                    <a:pt x="98844" y="18148"/>
                  </a:lnTo>
                  <a:lnTo>
                    <a:pt x="73863" y="38201"/>
                  </a:lnTo>
                  <a:lnTo>
                    <a:pt x="58991" y="65265"/>
                  </a:lnTo>
                  <a:lnTo>
                    <a:pt x="56642" y="96507"/>
                  </a:lnTo>
                  <a:lnTo>
                    <a:pt x="95008" y="359943"/>
                  </a:lnTo>
                  <a:lnTo>
                    <a:pt x="96494" y="363893"/>
                  </a:lnTo>
                  <a:lnTo>
                    <a:pt x="67462" y="605561"/>
                  </a:lnTo>
                  <a:lnTo>
                    <a:pt x="67348" y="615035"/>
                  </a:lnTo>
                  <a:lnTo>
                    <a:pt x="68554" y="855154"/>
                  </a:lnTo>
                  <a:lnTo>
                    <a:pt x="43218" y="864362"/>
                  </a:lnTo>
                  <a:lnTo>
                    <a:pt x="25755" y="873887"/>
                  </a:lnTo>
                  <a:lnTo>
                    <a:pt x="12230" y="887844"/>
                  </a:lnTo>
                  <a:lnTo>
                    <a:pt x="3390" y="905154"/>
                  </a:lnTo>
                  <a:lnTo>
                    <a:pt x="0" y="924699"/>
                  </a:lnTo>
                  <a:lnTo>
                    <a:pt x="140804" y="924750"/>
                  </a:lnTo>
                  <a:lnTo>
                    <a:pt x="140754" y="878979"/>
                  </a:lnTo>
                  <a:lnTo>
                    <a:pt x="171792" y="616432"/>
                  </a:lnTo>
                  <a:lnTo>
                    <a:pt x="184302" y="565810"/>
                  </a:lnTo>
                  <a:lnTo>
                    <a:pt x="188645" y="605777"/>
                  </a:lnTo>
                  <a:lnTo>
                    <a:pt x="187667" y="611606"/>
                  </a:lnTo>
                  <a:lnTo>
                    <a:pt x="187617" y="617626"/>
                  </a:lnTo>
                  <a:lnTo>
                    <a:pt x="189572" y="627748"/>
                  </a:lnTo>
                  <a:lnTo>
                    <a:pt x="248513" y="857453"/>
                  </a:lnTo>
                  <a:lnTo>
                    <a:pt x="229425" y="864362"/>
                  </a:lnTo>
                  <a:lnTo>
                    <a:pt x="211963" y="873887"/>
                  </a:lnTo>
                  <a:lnTo>
                    <a:pt x="198437" y="887844"/>
                  </a:lnTo>
                  <a:lnTo>
                    <a:pt x="189598" y="905154"/>
                  </a:lnTo>
                  <a:lnTo>
                    <a:pt x="186207" y="924699"/>
                  </a:lnTo>
                  <a:lnTo>
                    <a:pt x="327012" y="924750"/>
                  </a:lnTo>
                  <a:lnTo>
                    <a:pt x="327012" y="876693"/>
                  </a:lnTo>
                  <a:close/>
                </a:path>
              </a:pathLst>
            </a:custGeom>
            <a:solidFill>
              <a:srgbClr val="000000"/>
            </a:solidFill>
          </p:spPr>
          <p:txBody>
            <a:bodyPr wrap="square" lIns="0" tIns="0" rIns="0" bIns="0" rtlCol="0"/>
            <a:lstStyle/>
            <a:p>
              <a:endParaRPr sz="1828"/>
            </a:p>
          </p:txBody>
        </p:sp>
        <p:pic>
          <p:nvPicPr>
            <p:cNvPr id="51" name="bg object 22">
              <a:extLst>
                <a:ext uri="{FF2B5EF4-FFF2-40B4-BE49-F238E27FC236}">
                  <a16:creationId xmlns:a16="http://schemas.microsoft.com/office/drawing/2014/main" id="{A17D859E-C42C-3842-A8F2-05F5EF9C6F24}"/>
                </a:ext>
              </a:extLst>
            </p:cNvPr>
            <p:cNvPicPr/>
            <p:nvPr/>
          </p:nvPicPr>
          <p:blipFill>
            <a:blip r:embed="rId9" cstate="print"/>
            <a:stretch>
              <a:fillRect/>
            </a:stretch>
          </p:blipFill>
          <p:spPr>
            <a:xfrm>
              <a:off x="6306067" y="4507638"/>
              <a:ext cx="346391" cy="331363"/>
            </a:xfrm>
            <a:prstGeom prst="rect">
              <a:avLst/>
            </a:prstGeom>
          </p:spPr>
        </p:pic>
        <p:sp>
          <p:nvSpPr>
            <p:cNvPr id="52" name="bg object 23">
              <a:extLst>
                <a:ext uri="{FF2B5EF4-FFF2-40B4-BE49-F238E27FC236}">
                  <a16:creationId xmlns:a16="http://schemas.microsoft.com/office/drawing/2014/main" id="{30BAC982-43B6-2641-AC4F-5D1A43411A69}"/>
                </a:ext>
              </a:extLst>
            </p:cNvPr>
            <p:cNvSpPr/>
            <p:nvPr/>
          </p:nvSpPr>
          <p:spPr>
            <a:xfrm>
              <a:off x="5545013" y="4423007"/>
              <a:ext cx="736600" cy="736600"/>
            </a:xfrm>
            <a:custGeom>
              <a:avLst/>
              <a:gdLst/>
              <a:ahLst/>
              <a:cxnLst/>
              <a:rect l="l" t="t" r="r" b="b"/>
              <a:pathLst>
                <a:path w="736600" h="736600">
                  <a:moveTo>
                    <a:pt x="368236" y="0"/>
                  </a:moveTo>
                  <a:lnTo>
                    <a:pt x="322086" y="2872"/>
                  </a:lnTo>
                  <a:lnTo>
                    <a:pt x="277636" y="11257"/>
                  </a:lnTo>
                  <a:lnTo>
                    <a:pt x="235231" y="24809"/>
                  </a:lnTo>
                  <a:lnTo>
                    <a:pt x="195219" y="43181"/>
                  </a:lnTo>
                  <a:lnTo>
                    <a:pt x="157946" y="66027"/>
                  </a:lnTo>
                  <a:lnTo>
                    <a:pt x="123760" y="93000"/>
                  </a:lnTo>
                  <a:lnTo>
                    <a:pt x="93006" y="123753"/>
                  </a:lnTo>
                  <a:lnTo>
                    <a:pt x="66032" y="157941"/>
                  </a:lnTo>
                  <a:lnTo>
                    <a:pt x="43185" y="195216"/>
                  </a:lnTo>
                  <a:lnTo>
                    <a:pt x="24812" y="235232"/>
                  </a:lnTo>
                  <a:lnTo>
                    <a:pt x="11258" y="277643"/>
                  </a:lnTo>
                  <a:lnTo>
                    <a:pt x="2872" y="322101"/>
                  </a:lnTo>
                  <a:lnTo>
                    <a:pt x="0" y="368261"/>
                  </a:lnTo>
                  <a:lnTo>
                    <a:pt x="2872" y="414413"/>
                  </a:lnTo>
                  <a:lnTo>
                    <a:pt x="11258" y="458864"/>
                  </a:lnTo>
                  <a:lnTo>
                    <a:pt x="24812" y="501268"/>
                  </a:lnTo>
                  <a:lnTo>
                    <a:pt x="43185" y="541278"/>
                  </a:lnTo>
                  <a:lnTo>
                    <a:pt x="66032" y="578548"/>
                  </a:lnTo>
                  <a:lnTo>
                    <a:pt x="93006" y="612732"/>
                  </a:lnTo>
                  <a:lnTo>
                    <a:pt x="123760" y="643482"/>
                  </a:lnTo>
                  <a:lnTo>
                    <a:pt x="157946" y="670451"/>
                  </a:lnTo>
                  <a:lnTo>
                    <a:pt x="195219" y="693295"/>
                  </a:lnTo>
                  <a:lnTo>
                    <a:pt x="235231" y="711665"/>
                  </a:lnTo>
                  <a:lnTo>
                    <a:pt x="277636" y="725216"/>
                  </a:lnTo>
                  <a:lnTo>
                    <a:pt x="322086" y="733601"/>
                  </a:lnTo>
                  <a:lnTo>
                    <a:pt x="368236" y="736473"/>
                  </a:lnTo>
                  <a:lnTo>
                    <a:pt x="414391" y="733601"/>
                  </a:lnTo>
                  <a:lnTo>
                    <a:pt x="458846" y="725216"/>
                  </a:lnTo>
                  <a:lnTo>
                    <a:pt x="501255" y="711665"/>
                  </a:lnTo>
                  <a:lnTo>
                    <a:pt x="541270" y="693295"/>
                  </a:lnTo>
                  <a:lnTo>
                    <a:pt x="578545" y="670451"/>
                  </a:lnTo>
                  <a:lnTo>
                    <a:pt x="612734" y="643482"/>
                  </a:lnTo>
                  <a:lnTo>
                    <a:pt x="643489" y="612732"/>
                  </a:lnTo>
                  <a:lnTo>
                    <a:pt x="670464" y="578548"/>
                  </a:lnTo>
                  <a:lnTo>
                    <a:pt x="693311" y="541278"/>
                  </a:lnTo>
                  <a:lnTo>
                    <a:pt x="711685" y="501268"/>
                  </a:lnTo>
                  <a:lnTo>
                    <a:pt x="725239" y="458864"/>
                  </a:lnTo>
                  <a:lnTo>
                    <a:pt x="733625" y="414413"/>
                  </a:lnTo>
                  <a:lnTo>
                    <a:pt x="736498" y="368261"/>
                  </a:lnTo>
                  <a:lnTo>
                    <a:pt x="733625" y="322101"/>
                  </a:lnTo>
                  <a:lnTo>
                    <a:pt x="725239" y="277643"/>
                  </a:lnTo>
                  <a:lnTo>
                    <a:pt x="711685" y="235232"/>
                  </a:lnTo>
                  <a:lnTo>
                    <a:pt x="693311" y="195216"/>
                  </a:lnTo>
                  <a:lnTo>
                    <a:pt x="670464" y="157941"/>
                  </a:lnTo>
                  <a:lnTo>
                    <a:pt x="643489" y="123753"/>
                  </a:lnTo>
                  <a:lnTo>
                    <a:pt x="612734" y="93000"/>
                  </a:lnTo>
                  <a:lnTo>
                    <a:pt x="578545" y="66027"/>
                  </a:lnTo>
                  <a:lnTo>
                    <a:pt x="541270" y="43181"/>
                  </a:lnTo>
                  <a:lnTo>
                    <a:pt x="501255" y="24809"/>
                  </a:lnTo>
                  <a:lnTo>
                    <a:pt x="458846" y="11257"/>
                  </a:lnTo>
                  <a:lnTo>
                    <a:pt x="414391" y="2872"/>
                  </a:lnTo>
                  <a:lnTo>
                    <a:pt x="368236" y="0"/>
                  </a:lnTo>
                  <a:close/>
                </a:path>
              </a:pathLst>
            </a:custGeom>
            <a:solidFill>
              <a:srgbClr val="FFFFFF"/>
            </a:solidFill>
          </p:spPr>
          <p:txBody>
            <a:bodyPr wrap="square" lIns="0" tIns="0" rIns="0" bIns="0" rtlCol="0"/>
            <a:lstStyle/>
            <a:p>
              <a:endParaRPr sz="1828"/>
            </a:p>
          </p:txBody>
        </p:sp>
        <p:pic>
          <p:nvPicPr>
            <p:cNvPr id="53" name="bg object 24">
              <a:extLst>
                <a:ext uri="{FF2B5EF4-FFF2-40B4-BE49-F238E27FC236}">
                  <a16:creationId xmlns:a16="http://schemas.microsoft.com/office/drawing/2014/main" id="{710C2A66-EFA2-B14F-8EC1-4666745165A3}"/>
                </a:ext>
              </a:extLst>
            </p:cNvPr>
            <p:cNvPicPr/>
            <p:nvPr/>
          </p:nvPicPr>
          <p:blipFill>
            <a:blip r:embed="rId10" cstate="print"/>
            <a:stretch>
              <a:fillRect/>
            </a:stretch>
          </p:blipFill>
          <p:spPr>
            <a:xfrm>
              <a:off x="7094023" y="3581171"/>
              <a:ext cx="208114" cy="191808"/>
            </a:xfrm>
            <a:prstGeom prst="rect">
              <a:avLst/>
            </a:prstGeom>
          </p:spPr>
        </p:pic>
        <p:sp>
          <p:nvSpPr>
            <p:cNvPr id="54" name="bg object 25">
              <a:extLst>
                <a:ext uri="{FF2B5EF4-FFF2-40B4-BE49-F238E27FC236}">
                  <a16:creationId xmlns:a16="http://schemas.microsoft.com/office/drawing/2014/main" id="{F9D10A2C-9A3C-814A-AC8D-667FCC66D492}"/>
                </a:ext>
              </a:extLst>
            </p:cNvPr>
            <p:cNvSpPr/>
            <p:nvPr/>
          </p:nvSpPr>
          <p:spPr>
            <a:xfrm>
              <a:off x="6906209" y="3710347"/>
              <a:ext cx="802640" cy="995680"/>
            </a:xfrm>
            <a:custGeom>
              <a:avLst/>
              <a:gdLst/>
              <a:ahLst/>
              <a:cxnLst/>
              <a:rect l="l" t="t" r="r" b="b"/>
              <a:pathLst>
                <a:path w="802640" h="995679">
                  <a:moveTo>
                    <a:pt x="767154" y="0"/>
                  </a:moveTo>
                  <a:lnTo>
                    <a:pt x="755832" y="4145"/>
                  </a:lnTo>
                  <a:lnTo>
                    <a:pt x="606277" y="94620"/>
                  </a:lnTo>
                  <a:lnTo>
                    <a:pt x="445787" y="59212"/>
                  </a:lnTo>
                  <a:lnTo>
                    <a:pt x="438127" y="55707"/>
                  </a:lnTo>
                  <a:lnTo>
                    <a:pt x="429961" y="53850"/>
                  </a:lnTo>
                  <a:lnTo>
                    <a:pt x="421564" y="53683"/>
                  </a:lnTo>
                  <a:lnTo>
                    <a:pt x="412551" y="55466"/>
                  </a:lnTo>
                  <a:lnTo>
                    <a:pt x="306811" y="87064"/>
                  </a:lnTo>
                  <a:lnTo>
                    <a:pt x="261978" y="120389"/>
                  </a:lnTo>
                  <a:lnTo>
                    <a:pt x="253585" y="136860"/>
                  </a:lnTo>
                  <a:lnTo>
                    <a:pt x="157522" y="289362"/>
                  </a:lnTo>
                  <a:lnTo>
                    <a:pt x="157078" y="290391"/>
                  </a:lnTo>
                  <a:lnTo>
                    <a:pt x="12145" y="398531"/>
                  </a:lnTo>
                  <a:lnTo>
                    <a:pt x="4010" y="407444"/>
                  </a:lnTo>
                  <a:lnTo>
                    <a:pt x="0" y="418388"/>
                  </a:lnTo>
                  <a:lnTo>
                    <a:pt x="335" y="430046"/>
                  </a:lnTo>
                  <a:lnTo>
                    <a:pt x="5237" y="441101"/>
                  </a:lnTo>
                  <a:lnTo>
                    <a:pt x="13995" y="449407"/>
                  </a:lnTo>
                  <a:lnTo>
                    <a:pt x="24868" y="453633"/>
                  </a:lnTo>
                  <a:lnTo>
                    <a:pt x="36526" y="453549"/>
                  </a:lnTo>
                  <a:lnTo>
                    <a:pt x="208030" y="342143"/>
                  </a:lnTo>
                  <a:lnTo>
                    <a:pt x="221568" y="323347"/>
                  </a:lnTo>
                  <a:lnTo>
                    <a:pt x="270832" y="253586"/>
                  </a:lnTo>
                  <a:lnTo>
                    <a:pt x="318774" y="413860"/>
                  </a:lnTo>
                  <a:lnTo>
                    <a:pt x="287189" y="676344"/>
                  </a:lnTo>
                  <a:lnTo>
                    <a:pt x="287075" y="685856"/>
                  </a:lnTo>
                  <a:lnTo>
                    <a:pt x="288269" y="925937"/>
                  </a:lnTo>
                  <a:lnTo>
                    <a:pt x="262932" y="935131"/>
                  </a:lnTo>
                  <a:lnTo>
                    <a:pt x="245510" y="944654"/>
                  </a:lnTo>
                  <a:lnTo>
                    <a:pt x="231989" y="958620"/>
                  </a:lnTo>
                  <a:lnTo>
                    <a:pt x="223135" y="975929"/>
                  </a:lnTo>
                  <a:lnTo>
                    <a:pt x="219714" y="995482"/>
                  </a:lnTo>
                  <a:lnTo>
                    <a:pt x="360583" y="995533"/>
                  </a:lnTo>
                  <a:lnTo>
                    <a:pt x="360468" y="949762"/>
                  </a:lnTo>
                  <a:lnTo>
                    <a:pt x="391507" y="687215"/>
                  </a:lnTo>
                  <a:lnTo>
                    <a:pt x="404067" y="636656"/>
                  </a:lnTo>
                  <a:lnTo>
                    <a:pt x="408373" y="676559"/>
                  </a:lnTo>
                  <a:lnTo>
                    <a:pt x="407395" y="682389"/>
                  </a:lnTo>
                  <a:lnTo>
                    <a:pt x="407344" y="688409"/>
                  </a:lnTo>
                  <a:lnTo>
                    <a:pt x="409338" y="698530"/>
                  </a:lnTo>
                  <a:lnTo>
                    <a:pt x="468279" y="928235"/>
                  </a:lnTo>
                  <a:lnTo>
                    <a:pt x="449140" y="935131"/>
                  </a:lnTo>
                  <a:lnTo>
                    <a:pt x="431687" y="944654"/>
                  </a:lnTo>
                  <a:lnTo>
                    <a:pt x="418152" y="958620"/>
                  </a:lnTo>
                  <a:lnTo>
                    <a:pt x="409303" y="975929"/>
                  </a:lnTo>
                  <a:lnTo>
                    <a:pt x="405909" y="995482"/>
                  </a:lnTo>
                  <a:lnTo>
                    <a:pt x="546727" y="995533"/>
                  </a:lnTo>
                  <a:lnTo>
                    <a:pt x="546803" y="947489"/>
                  </a:lnTo>
                  <a:lnTo>
                    <a:pt x="545228" y="940681"/>
                  </a:lnTo>
                  <a:lnTo>
                    <a:pt x="513033" y="688790"/>
                  </a:lnTo>
                  <a:lnTo>
                    <a:pt x="513668" y="683837"/>
                  </a:lnTo>
                  <a:lnTo>
                    <a:pt x="517758" y="420273"/>
                  </a:lnTo>
                  <a:lnTo>
                    <a:pt x="518634" y="413415"/>
                  </a:lnTo>
                  <a:lnTo>
                    <a:pt x="518088" y="406240"/>
                  </a:lnTo>
                  <a:lnTo>
                    <a:pt x="438700" y="140721"/>
                  </a:lnTo>
                  <a:lnTo>
                    <a:pt x="594796" y="166426"/>
                  </a:lnTo>
                  <a:lnTo>
                    <a:pt x="601119" y="168769"/>
                  </a:lnTo>
                  <a:lnTo>
                    <a:pt x="607744" y="169887"/>
                  </a:lnTo>
                  <a:lnTo>
                    <a:pt x="614502" y="169737"/>
                  </a:lnTo>
                  <a:lnTo>
                    <a:pt x="628769" y="166756"/>
                  </a:lnTo>
                  <a:lnTo>
                    <a:pt x="635563" y="162730"/>
                  </a:lnTo>
                  <a:lnTo>
                    <a:pt x="640694" y="157028"/>
                  </a:lnTo>
                  <a:lnTo>
                    <a:pt x="789157" y="56012"/>
                  </a:lnTo>
                  <a:lnTo>
                    <a:pt x="797646" y="47486"/>
                  </a:lnTo>
                  <a:lnTo>
                    <a:pt x="802117" y="36732"/>
                  </a:lnTo>
                  <a:lnTo>
                    <a:pt x="802284" y="25071"/>
                  </a:lnTo>
                  <a:lnTo>
                    <a:pt x="797856" y="13823"/>
                  </a:lnTo>
                  <a:lnTo>
                    <a:pt x="789470" y="5124"/>
                  </a:lnTo>
                  <a:lnTo>
                    <a:pt x="778802" y="421"/>
                  </a:lnTo>
                  <a:lnTo>
                    <a:pt x="767154" y="0"/>
                  </a:lnTo>
                  <a:close/>
                </a:path>
              </a:pathLst>
            </a:custGeom>
            <a:solidFill>
              <a:srgbClr val="000000"/>
            </a:solidFill>
          </p:spPr>
          <p:txBody>
            <a:bodyPr wrap="square" lIns="0" tIns="0" rIns="0" bIns="0" rtlCol="0"/>
            <a:lstStyle/>
            <a:p>
              <a:endParaRPr sz="1828"/>
            </a:p>
          </p:txBody>
        </p:sp>
        <p:sp>
          <p:nvSpPr>
            <p:cNvPr id="55" name="bg object 26">
              <a:extLst>
                <a:ext uri="{FF2B5EF4-FFF2-40B4-BE49-F238E27FC236}">
                  <a16:creationId xmlns:a16="http://schemas.microsoft.com/office/drawing/2014/main" id="{37B9F823-263E-6047-84E9-AB5BE434E0A1}"/>
                </a:ext>
              </a:extLst>
            </p:cNvPr>
            <p:cNvSpPr/>
            <p:nvPr/>
          </p:nvSpPr>
          <p:spPr>
            <a:xfrm>
              <a:off x="6225413" y="3987685"/>
              <a:ext cx="2078989" cy="2079625"/>
            </a:xfrm>
            <a:custGeom>
              <a:avLst/>
              <a:gdLst/>
              <a:ahLst/>
              <a:cxnLst/>
              <a:rect l="l" t="t" r="r" b="b"/>
              <a:pathLst>
                <a:path w="2078990" h="2079625">
                  <a:moveTo>
                    <a:pt x="642594" y="1436395"/>
                  </a:moveTo>
                  <a:lnTo>
                    <a:pt x="0" y="1436395"/>
                  </a:lnTo>
                  <a:lnTo>
                    <a:pt x="0" y="2078990"/>
                  </a:lnTo>
                  <a:lnTo>
                    <a:pt x="642594" y="2078990"/>
                  </a:lnTo>
                  <a:lnTo>
                    <a:pt x="642594" y="1436395"/>
                  </a:lnTo>
                  <a:close/>
                </a:path>
                <a:path w="2078990" h="2079625">
                  <a:moveTo>
                    <a:pt x="1360792" y="718197"/>
                  </a:moveTo>
                  <a:lnTo>
                    <a:pt x="718197" y="718197"/>
                  </a:lnTo>
                  <a:lnTo>
                    <a:pt x="718197" y="2079015"/>
                  </a:lnTo>
                  <a:lnTo>
                    <a:pt x="1360792" y="2079015"/>
                  </a:lnTo>
                  <a:lnTo>
                    <a:pt x="1360792" y="718197"/>
                  </a:lnTo>
                  <a:close/>
                </a:path>
                <a:path w="2078990" h="2079625">
                  <a:moveTo>
                    <a:pt x="2078990" y="0"/>
                  </a:moveTo>
                  <a:lnTo>
                    <a:pt x="1436395" y="0"/>
                  </a:lnTo>
                  <a:lnTo>
                    <a:pt x="1436395" y="2079015"/>
                  </a:lnTo>
                  <a:lnTo>
                    <a:pt x="2078990" y="2079015"/>
                  </a:lnTo>
                  <a:lnTo>
                    <a:pt x="2078990" y="0"/>
                  </a:lnTo>
                  <a:close/>
                </a:path>
              </a:pathLst>
            </a:custGeom>
            <a:solidFill>
              <a:srgbClr val="FFFFFF"/>
            </a:solidFill>
          </p:spPr>
          <p:txBody>
            <a:bodyPr wrap="square" lIns="0" tIns="0" rIns="0" bIns="0" rtlCol="0"/>
            <a:lstStyle/>
            <a:p>
              <a:endParaRPr sz="1828"/>
            </a:p>
          </p:txBody>
        </p:sp>
        <p:sp>
          <p:nvSpPr>
            <p:cNvPr id="56" name="bg object 27">
              <a:extLst>
                <a:ext uri="{FF2B5EF4-FFF2-40B4-BE49-F238E27FC236}">
                  <a16:creationId xmlns:a16="http://schemas.microsoft.com/office/drawing/2014/main" id="{997C1AB4-3965-E142-B797-3AAE1B73BEC2}"/>
                </a:ext>
              </a:extLst>
            </p:cNvPr>
            <p:cNvSpPr/>
            <p:nvPr/>
          </p:nvSpPr>
          <p:spPr>
            <a:xfrm>
              <a:off x="5315420" y="5149189"/>
              <a:ext cx="368300" cy="615950"/>
            </a:xfrm>
            <a:custGeom>
              <a:avLst/>
              <a:gdLst/>
              <a:ahLst/>
              <a:cxnLst/>
              <a:rect l="l" t="t" r="r" b="b"/>
              <a:pathLst>
                <a:path w="368300" h="615950">
                  <a:moveTo>
                    <a:pt x="367868" y="564172"/>
                  </a:moveTo>
                  <a:lnTo>
                    <a:pt x="245579" y="214630"/>
                  </a:lnTo>
                  <a:lnTo>
                    <a:pt x="218986" y="68402"/>
                  </a:lnTo>
                  <a:lnTo>
                    <a:pt x="205968" y="37680"/>
                  </a:lnTo>
                  <a:lnTo>
                    <a:pt x="181546" y="14579"/>
                  </a:lnTo>
                  <a:lnTo>
                    <a:pt x="149136" y="1282"/>
                  </a:lnTo>
                  <a:lnTo>
                    <a:pt x="112217" y="0"/>
                  </a:lnTo>
                  <a:lnTo>
                    <a:pt x="61214" y="7277"/>
                  </a:lnTo>
                  <a:lnTo>
                    <a:pt x="33731" y="16421"/>
                  </a:lnTo>
                  <a:lnTo>
                    <a:pt x="13068" y="33616"/>
                  </a:lnTo>
                  <a:lnTo>
                    <a:pt x="1168" y="56438"/>
                  </a:lnTo>
                  <a:lnTo>
                    <a:pt x="0" y="82473"/>
                  </a:lnTo>
                  <a:lnTo>
                    <a:pt x="51714" y="368731"/>
                  </a:lnTo>
                  <a:lnTo>
                    <a:pt x="47650" y="615873"/>
                  </a:lnTo>
                  <a:lnTo>
                    <a:pt x="89217" y="615226"/>
                  </a:lnTo>
                  <a:lnTo>
                    <a:pt x="145148" y="610120"/>
                  </a:lnTo>
                  <a:lnTo>
                    <a:pt x="208216" y="601522"/>
                  </a:lnTo>
                  <a:lnTo>
                    <a:pt x="271183" y="590359"/>
                  </a:lnTo>
                  <a:lnTo>
                    <a:pt x="326809" y="577596"/>
                  </a:lnTo>
                  <a:lnTo>
                    <a:pt x="367868" y="564172"/>
                  </a:lnTo>
                  <a:close/>
                </a:path>
              </a:pathLst>
            </a:custGeom>
            <a:solidFill>
              <a:srgbClr val="000000"/>
            </a:solidFill>
          </p:spPr>
          <p:txBody>
            <a:bodyPr wrap="square" lIns="0" tIns="0" rIns="0" bIns="0" rtlCol="0"/>
            <a:lstStyle/>
            <a:p>
              <a:endParaRPr sz="1828"/>
            </a:p>
          </p:txBody>
        </p:sp>
        <p:pic>
          <p:nvPicPr>
            <p:cNvPr id="57" name="bg object 28">
              <a:extLst>
                <a:ext uri="{FF2B5EF4-FFF2-40B4-BE49-F238E27FC236}">
                  <a16:creationId xmlns:a16="http://schemas.microsoft.com/office/drawing/2014/main" id="{C56F2699-2BF4-AF49-B331-546F104E8113}"/>
                </a:ext>
              </a:extLst>
            </p:cNvPr>
            <p:cNvPicPr/>
            <p:nvPr/>
          </p:nvPicPr>
          <p:blipFill>
            <a:blip r:embed="rId11" cstate="print"/>
            <a:stretch>
              <a:fillRect/>
            </a:stretch>
          </p:blipFill>
          <p:spPr>
            <a:xfrm>
              <a:off x="5328871" y="5092070"/>
              <a:ext cx="253538" cy="150189"/>
            </a:xfrm>
            <a:prstGeom prst="rect">
              <a:avLst/>
            </a:prstGeom>
          </p:spPr>
        </p:pic>
        <p:sp>
          <p:nvSpPr>
            <p:cNvPr id="58" name="bg object 29">
              <a:extLst>
                <a:ext uri="{FF2B5EF4-FFF2-40B4-BE49-F238E27FC236}">
                  <a16:creationId xmlns:a16="http://schemas.microsoft.com/office/drawing/2014/main" id="{A23ABF97-F498-1A46-8944-636A20062505}"/>
                </a:ext>
              </a:extLst>
            </p:cNvPr>
            <p:cNvSpPr/>
            <p:nvPr/>
          </p:nvSpPr>
          <p:spPr>
            <a:xfrm>
              <a:off x="5249634" y="5430837"/>
              <a:ext cx="347980" cy="631190"/>
            </a:xfrm>
            <a:custGeom>
              <a:avLst/>
              <a:gdLst/>
              <a:ahLst/>
              <a:cxnLst/>
              <a:rect l="l" t="t" r="r" b="b"/>
              <a:pathLst>
                <a:path w="347979" h="631189">
                  <a:moveTo>
                    <a:pt x="347446" y="332244"/>
                  </a:moveTo>
                  <a:lnTo>
                    <a:pt x="347345" y="328104"/>
                  </a:lnTo>
                  <a:lnTo>
                    <a:pt x="346646" y="325539"/>
                  </a:lnTo>
                  <a:lnTo>
                    <a:pt x="347014" y="320065"/>
                  </a:lnTo>
                  <a:lnTo>
                    <a:pt x="316572" y="59436"/>
                  </a:lnTo>
                  <a:lnTo>
                    <a:pt x="287070" y="10680"/>
                  </a:lnTo>
                  <a:lnTo>
                    <a:pt x="235724" y="0"/>
                  </a:lnTo>
                  <a:lnTo>
                    <a:pt x="217766" y="7315"/>
                  </a:lnTo>
                  <a:lnTo>
                    <a:pt x="203377" y="990"/>
                  </a:lnTo>
                  <a:lnTo>
                    <a:pt x="151777" y="10248"/>
                  </a:lnTo>
                  <a:lnTo>
                    <a:pt x="121843" y="53301"/>
                  </a:lnTo>
                  <a:lnTo>
                    <a:pt x="78676" y="315734"/>
                  </a:lnTo>
                  <a:lnTo>
                    <a:pt x="78778" y="320852"/>
                  </a:lnTo>
                  <a:lnTo>
                    <a:pt x="1676" y="564413"/>
                  </a:lnTo>
                  <a:lnTo>
                    <a:pt x="11430" y="601903"/>
                  </a:lnTo>
                  <a:lnTo>
                    <a:pt x="36690" y="611479"/>
                  </a:lnTo>
                  <a:lnTo>
                    <a:pt x="49555" y="608787"/>
                  </a:lnTo>
                  <a:lnTo>
                    <a:pt x="178257" y="351243"/>
                  </a:lnTo>
                  <a:lnTo>
                    <a:pt x="182092" y="333260"/>
                  </a:lnTo>
                  <a:lnTo>
                    <a:pt x="215392" y="220129"/>
                  </a:lnTo>
                  <a:lnTo>
                    <a:pt x="243141" y="333654"/>
                  </a:lnTo>
                  <a:lnTo>
                    <a:pt x="243001" y="334733"/>
                  </a:lnTo>
                  <a:lnTo>
                    <a:pt x="273558" y="599020"/>
                  </a:lnTo>
                  <a:lnTo>
                    <a:pt x="277672" y="612216"/>
                  </a:lnTo>
                  <a:lnTo>
                    <a:pt x="286131" y="622617"/>
                  </a:lnTo>
                  <a:lnTo>
                    <a:pt x="297827" y="629221"/>
                  </a:lnTo>
                  <a:lnTo>
                    <a:pt x="311619" y="631037"/>
                  </a:lnTo>
                  <a:lnTo>
                    <a:pt x="324777" y="627621"/>
                  </a:lnTo>
                  <a:lnTo>
                    <a:pt x="335394" y="619899"/>
                  </a:lnTo>
                  <a:lnTo>
                    <a:pt x="342544" y="608926"/>
                  </a:lnTo>
                  <a:lnTo>
                    <a:pt x="345274" y="595541"/>
                  </a:lnTo>
                  <a:lnTo>
                    <a:pt x="347446" y="332244"/>
                  </a:lnTo>
                  <a:close/>
                </a:path>
              </a:pathLst>
            </a:custGeom>
            <a:solidFill>
              <a:srgbClr val="000000"/>
            </a:solidFill>
          </p:spPr>
          <p:txBody>
            <a:bodyPr wrap="square" lIns="0" tIns="0" rIns="0" bIns="0" rtlCol="0"/>
            <a:lstStyle/>
            <a:p>
              <a:endParaRPr sz="1828"/>
            </a:p>
          </p:txBody>
        </p:sp>
        <p:pic>
          <p:nvPicPr>
            <p:cNvPr id="59" name="bg object 30">
              <a:extLst>
                <a:ext uri="{FF2B5EF4-FFF2-40B4-BE49-F238E27FC236}">
                  <a16:creationId xmlns:a16="http://schemas.microsoft.com/office/drawing/2014/main" id="{1148227A-975A-9F43-B0D3-60010E8447BE}"/>
                </a:ext>
              </a:extLst>
            </p:cNvPr>
            <p:cNvPicPr/>
            <p:nvPr/>
          </p:nvPicPr>
          <p:blipFill>
            <a:blip r:embed="rId12" cstate="print"/>
            <a:stretch>
              <a:fillRect/>
            </a:stretch>
          </p:blipFill>
          <p:spPr>
            <a:xfrm>
              <a:off x="5521418" y="5985564"/>
              <a:ext cx="141363" cy="81114"/>
            </a:xfrm>
            <a:prstGeom prst="rect">
              <a:avLst/>
            </a:prstGeom>
          </p:spPr>
        </p:pic>
        <p:pic>
          <p:nvPicPr>
            <p:cNvPr id="60" name="bg object 31">
              <a:extLst>
                <a:ext uri="{FF2B5EF4-FFF2-40B4-BE49-F238E27FC236}">
                  <a16:creationId xmlns:a16="http://schemas.microsoft.com/office/drawing/2014/main" id="{5FFC3A14-65FC-7F4C-80CA-9B1B91319A61}"/>
                </a:ext>
              </a:extLst>
            </p:cNvPr>
            <p:cNvPicPr/>
            <p:nvPr/>
          </p:nvPicPr>
          <p:blipFill>
            <a:blip r:embed="rId13" cstate="print"/>
            <a:stretch>
              <a:fillRect/>
            </a:stretch>
          </p:blipFill>
          <p:spPr>
            <a:xfrm>
              <a:off x="5242602" y="5985564"/>
              <a:ext cx="141312" cy="81114"/>
            </a:xfrm>
            <a:prstGeom prst="rect">
              <a:avLst/>
            </a:prstGeom>
          </p:spPr>
        </p:pic>
        <p:sp>
          <p:nvSpPr>
            <p:cNvPr id="61" name="bg object 32">
              <a:extLst>
                <a:ext uri="{FF2B5EF4-FFF2-40B4-BE49-F238E27FC236}">
                  <a16:creationId xmlns:a16="http://schemas.microsoft.com/office/drawing/2014/main" id="{A52A7D0C-F37C-D34F-9FB5-833D9A1EB88F}"/>
                </a:ext>
              </a:extLst>
            </p:cNvPr>
            <p:cNvSpPr/>
            <p:nvPr/>
          </p:nvSpPr>
          <p:spPr>
            <a:xfrm>
              <a:off x="5443266" y="5091718"/>
              <a:ext cx="258445" cy="136525"/>
            </a:xfrm>
            <a:custGeom>
              <a:avLst/>
              <a:gdLst/>
              <a:ahLst/>
              <a:cxnLst/>
              <a:rect l="l" t="t" r="r" b="b"/>
              <a:pathLst>
                <a:path w="258445" h="136525">
                  <a:moveTo>
                    <a:pt x="226184" y="0"/>
                  </a:moveTo>
                  <a:lnTo>
                    <a:pt x="28191" y="55949"/>
                  </a:lnTo>
                  <a:lnTo>
                    <a:pt x="0" y="91556"/>
                  </a:lnTo>
                  <a:lnTo>
                    <a:pt x="1889" y="107765"/>
                  </a:lnTo>
                  <a:lnTo>
                    <a:pt x="9921" y="121995"/>
                  </a:lnTo>
                  <a:lnTo>
                    <a:pt x="22337" y="131687"/>
                  </a:lnTo>
                  <a:lnTo>
                    <a:pt x="37481" y="136010"/>
                  </a:lnTo>
                  <a:lnTo>
                    <a:pt x="53692" y="134131"/>
                  </a:lnTo>
                  <a:lnTo>
                    <a:pt x="234566" y="69703"/>
                  </a:lnTo>
                  <a:lnTo>
                    <a:pt x="246613" y="62529"/>
                  </a:lnTo>
                  <a:lnTo>
                    <a:pt x="254792" y="51701"/>
                  </a:lnTo>
                  <a:lnTo>
                    <a:pt x="258392" y="38607"/>
                  </a:lnTo>
                  <a:lnTo>
                    <a:pt x="256702" y="24631"/>
                  </a:lnTo>
                  <a:lnTo>
                    <a:pt x="249802" y="12358"/>
                  </a:lnTo>
                  <a:lnTo>
                    <a:pt x="239169" y="3914"/>
                  </a:lnTo>
                  <a:lnTo>
                    <a:pt x="226184" y="0"/>
                  </a:lnTo>
                  <a:close/>
                </a:path>
              </a:pathLst>
            </a:custGeom>
            <a:solidFill>
              <a:srgbClr val="000000"/>
            </a:solidFill>
          </p:spPr>
          <p:txBody>
            <a:bodyPr wrap="square" lIns="0" tIns="0" rIns="0" bIns="0" rtlCol="0"/>
            <a:lstStyle/>
            <a:p>
              <a:endParaRPr sz="1828"/>
            </a:p>
          </p:txBody>
        </p:sp>
        <p:pic>
          <p:nvPicPr>
            <p:cNvPr id="62" name="bg object 33">
              <a:extLst>
                <a:ext uri="{FF2B5EF4-FFF2-40B4-BE49-F238E27FC236}">
                  <a16:creationId xmlns:a16="http://schemas.microsoft.com/office/drawing/2014/main" id="{C5F6C2E1-E0F6-8F45-AE43-C03D44F30296}"/>
                </a:ext>
              </a:extLst>
            </p:cNvPr>
            <p:cNvPicPr/>
            <p:nvPr/>
          </p:nvPicPr>
          <p:blipFill>
            <a:blip r:embed="rId14" cstate="print"/>
            <a:stretch>
              <a:fillRect/>
            </a:stretch>
          </p:blipFill>
          <p:spPr>
            <a:xfrm>
              <a:off x="5630870" y="4955335"/>
              <a:ext cx="195664" cy="208888"/>
            </a:xfrm>
            <a:prstGeom prst="rect">
              <a:avLst/>
            </a:prstGeom>
          </p:spPr>
        </p:pic>
        <p:pic>
          <p:nvPicPr>
            <p:cNvPr id="63" name="bg object 34">
              <a:extLst>
                <a:ext uri="{FF2B5EF4-FFF2-40B4-BE49-F238E27FC236}">
                  <a16:creationId xmlns:a16="http://schemas.microsoft.com/office/drawing/2014/main" id="{7AACC29E-BAD2-1C46-A437-A38C4D7B5002}"/>
                </a:ext>
              </a:extLst>
            </p:cNvPr>
            <p:cNvPicPr/>
            <p:nvPr/>
          </p:nvPicPr>
          <p:blipFill>
            <a:blip r:embed="rId15" cstate="print"/>
            <a:stretch>
              <a:fillRect/>
            </a:stretch>
          </p:blipFill>
          <p:spPr>
            <a:xfrm>
              <a:off x="5250002" y="4933618"/>
              <a:ext cx="192553" cy="223654"/>
            </a:xfrm>
            <a:prstGeom prst="rect">
              <a:avLst/>
            </a:prstGeom>
          </p:spPr>
        </p:pic>
      </p:grpSp>
    </p:spTree>
    <p:extLst>
      <p:ext uri="{BB962C8B-B14F-4D97-AF65-F5344CB8AC3E}">
        <p14:creationId xmlns:p14="http://schemas.microsoft.com/office/powerpoint/2010/main" val="2092516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endParaRPr lang="nl-NL" noProof="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endParaRPr lang="nl-NL" noProof="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endParaRPr lang="nl-NL" noProof="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endParaRPr lang="nl-NL" noProof="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endParaRPr lang="nl-NL" noProof="0"/>
          </a:p>
        </p:txBody>
      </p:sp>
    </p:spTree>
    <p:extLst>
      <p:ext uri="{BB962C8B-B14F-4D97-AF65-F5344CB8AC3E}">
        <p14:creationId xmlns:p14="http://schemas.microsoft.com/office/powerpoint/2010/main" val="145502195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63813292"/>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F24D61-5313-4F14-A557-902DE0AAEE23}"/>
              </a:ext>
            </a:extLst>
          </p:cNvPr>
          <p:cNvSpPr/>
          <p:nvPr userDrawn="1">
            <p:custDataLst>
              <p:tags r:id="rId2"/>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5" name="Title Placeholder 2">
            <a:extLst>
              <a:ext uri="{FF2B5EF4-FFF2-40B4-BE49-F238E27FC236}">
                <a16:creationId xmlns:a16="http://schemas.microsoft.com/office/drawing/2014/main" id="{1CF00FC1-77FF-48FD-8945-D432EB9754D9}"/>
              </a:ext>
            </a:extLst>
          </p:cNvPr>
          <p:cNvSpPr>
            <a:spLocks noGrp="1" noChangeArrowheads="1"/>
          </p:cNvSpPr>
          <p:nvPr>
            <p:ph type="title"/>
          </p:nvPr>
        </p:nvSpPr>
        <p:spPr bwMode="gray">
          <a:xfrm>
            <a:off x="839041" y="283037"/>
            <a:ext cx="1111970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tabLst>
                <a:tab pos="549088" algn="l"/>
              </a:tabLst>
              <a:defRPr/>
            </a:lvl1pPr>
          </a:lstStyle>
          <a:p>
            <a:pPr lvl="0"/>
            <a:r>
              <a:rPr lang="nl-NL" noProof="0" dirty="0"/>
              <a:t>Click to edit Master title style</a:t>
            </a:r>
          </a:p>
        </p:txBody>
      </p:sp>
    </p:spTree>
    <p:extLst>
      <p:ext uri="{BB962C8B-B14F-4D97-AF65-F5344CB8AC3E}">
        <p14:creationId xmlns:p14="http://schemas.microsoft.com/office/powerpoint/2010/main" val="28160895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5BE47-2A2B-43B2-A85F-74DF39EFD07D}"/>
              </a:ext>
            </a:extLst>
          </p:cNvPr>
          <p:cNvGraphicFramePr>
            <a:graphicFrameLocks noChangeAspect="1"/>
          </p:cNvGraphicFramePr>
          <p:nvPr userDrawn="1">
            <p:custDataLst>
              <p:tags r:id="rId1"/>
            </p:custDataLst>
            <p:extLst>
              <p:ext uri="{D42A27DB-BD31-4B8C-83A1-F6EECF244321}">
                <p14:modId xmlns:p14="http://schemas.microsoft.com/office/powerpoint/2010/main" val="2965600684"/>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4" name="Object 3" hidden="1">
                        <a:extLst>
                          <a:ext uri="{FF2B5EF4-FFF2-40B4-BE49-F238E27FC236}">
                            <a16:creationId xmlns:a16="http://schemas.microsoft.com/office/drawing/2014/main" id="{E055BE47-2A2B-43B2-A85F-74DF39EFD07D}"/>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90D1DBB-A7F0-4A4F-96ED-21071423E3AB}"/>
              </a:ext>
            </a:extLst>
          </p:cNvPr>
          <p:cNvSpPr/>
          <p:nvPr userDrawn="1">
            <p:custDataLst>
              <p:tags r:id="rId2"/>
            </p:custDataLst>
          </p:nvPr>
        </p:nvSpPr>
        <p:spPr>
          <a:xfrm>
            <a:off x="0" y="0"/>
            <a:ext cx="161977" cy="16197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2" name="Title 1">
            <a:extLst>
              <a:ext uri="{FF2B5EF4-FFF2-40B4-BE49-F238E27FC236}">
                <a16:creationId xmlns:a16="http://schemas.microsoft.com/office/drawing/2014/main" id="{9734B9BF-C3B0-4969-8EE3-D3897CB3D972}"/>
              </a:ext>
            </a:extLst>
          </p:cNvPr>
          <p:cNvSpPr>
            <a:spLocks noGrp="1"/>
          </p:cNvSpPr>
          <p:nvPr>
            <p:ph type="title"/>
          </p:nvPr>
        </p:nvSpPr>
        <p:spPr/>
        <p:txBody>
          <a:bodyPr/>
          <a:lstStyle/>
          <a:p>
            <a:r>
              <a:rPr lang="nl-NL" dirty="0"/>
              <a:t>Click to edit Master title style</a:t>
            </a:r>
          </a:p>
        </p:txBody>
      </p:sp>
    </p:spTree>
    <p:extLst>
      <p:ext uri="{BB962C8B-B14F-4D97-AF65-F5344CB8AC3E}">
        <p14:creationId xmlns:p14="http://schemas.microsoft.com/office/powerpoint/2010/main" val="234822507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6761157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EA23475-9EC2-4C0C-BE62-D93FA15DA2B5}"/>
              </a:ext>
            </a:extLst>
          </p:cNvPr>
          <p:cNvSpPr/>
          <p:nvPr userDrawn="1">
            <p:custDataLst>
              <p:tags r:id="rId2"/>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5510"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45" name="Rectangle 44">
            <a:extLst>
              <a:ext uri="{FF2B5EF4-FFF2-40B4-BE49-F238E27FC236}">
                <a16:creationId xmlns:a16="http://schemas.microsoft.com/office/drawing/2014/main" id="{E81A223E-4F63-48C8-B290-576BBFF2BC0E}"/>
              </a:ext>
            </a:extLst>
          </p:cNvPr>
          <p:cNvSpPr>
            <a:spLocks/>
          </p:cNvSpPr>
          <p:nvPr userDrawn="1"/>
        </p:nvSpPr>
        <p:spPr bwMode="ltGray">
          <a:xfrm>
            <a:off x="1" y="1"/>
            <a:ext cx="892515"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nl-NL" sz="1837" dirty="0">
              <a:solidFill>
                <a:schemeClr val="tx1"/>
              </a:solidFill>
            </a:endParaRPr>
          </a:p>
        </p:txBody>
      </p:sp>
      <p:sp>
        <p:nvSpPr>
          <p:cNvPr id="9" name="Document type" hidden="1"/>
          <p:cNvSpPr txBox="1">
            <a:spLocks noChangeArrowheads="1"/>
          </p:cNvSpPr>
          <p:nvPr/>
        </p:nvSpPr>
        <p:spPr bwMode="ltGray">
          <a:xfrm>
            <a:off x="1018834" y="5844155"/>
            <a:ext cx="10080491"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nl-NL" sz="1428" baseline="0" noProof="0" dirty="0">
                <a:solidFill>
                  <a:schemeClr val="bg1"/>
                </a:solidFill>
                <a:latin typeface="+mn-lt"/>
              </a:rPr>
              <a:t>Documenttype</a:t>
            </a:r>
          </a:p>
        </p:txBody>
      </p:sp>
      <p:sp>
        <p:nvSpPr>
          <p:cNvPr id="10" name="Date" hidden="1"/>
          <p:cNvSpPr txBox="1">
            <a:spLocks noChangeArrowheads="1"/>
          </p:cNvSpPr>
          <p:nvPr/>
        </p:nvSpPr>
        <p:spPr bwMode="ltGray">
          <a:xfrm>
            <a:off x="1018834" y="6117893"/>
            <a:ext cx="10080491"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nl-NL" sz="1428" baseline="0" noProof="0" dirty="0">
                <a:solidFill>
                  <a:schemeClr val="bg1"/>
                </a:solidFill>
                <a:latin typeface="+mn-lt"/>
              </a:rPr>
              <a:t>Datum</a:t>
            </a:r>
          </a:p>
        </p:txBody>
      </p:sp>
      <p:sp>
        <p:nvSpPr>
          <p:cNvPr id="13314" name="Rectangle 1026"/>
          <p:cNvSpPr>
            <a:spLocks noGrp="1" noChangeArrowheads="1"/>
          </p:cNvSpPr>
          <p:nvPr>
            <p:ph type="ctrTitle"/>
          </p:nvPr>
        </p:nvSpPr>
        <p:spPr bwMode="ltGray">
          <a:xfrm>
            <a:off x="1018834" y="2605299"/>
            <a:ext cx="10080491" cy="847876"/>
          </a:xfrm>
          <a:prstGeom prst="rect">
            <a:avLst/>
          </a:prstGeom>
        </p:spPr>
        <p:txBody>
          <a:bodyPr wrap="square" anchor="b">
            <a:spAutoFit/>
          </a:bodyPr>
          <a:lstStyle>
            <a:lvl1pPr>
              <a:defRPr sz="5510" b="1" kern="1200" baseline="0">
                <a:solidFill>
                  <a:schemeClr val="bg1"/>
                </a:solidFill>
                <a:latin typeface="+mj-lt"/>
                <a:ea typeface="+mj-ea"/>
              </a:defRPr>
            </a:lvl1pPr>
          </a:lstStyle>
          <a:p>
            <a:pPr lvl="0"/>
            <a:r>
              <a:rPr lang="nl-NL" noProof="0" dirty="0"/>
              <a:t>Click to edit Master title style</a:t>
            </a:r>
          </a:p>
        </p:txBody>
      </p:sp>
      <p:sp>
        <p:nvSpPr>
          <p:cNvPr id="13315" name="Rectangle 1027"/>
          <p:cNvSpPr>
            <a:spLocks noGrp="1" noChangeArrowheads="1"/>
          </p:cNvSpPr>
          <p:nvPr>
            <p:ph type="subTitle" idx="1"/>
          </p:nvPr>
        </p:nvSpPr>
        <p:spPr bwMode="ltGray">
          <a:xfrm>
            <a:off x="1018834" y="3600693"/>
            <a:ext cx="10080491" cy="533848"/>
          </a:xfrm>
        </p:spPr>
        <p:txBody>
          <a:bodyPr wrap="square">
            <a:noAutofit/>
          </a:bodyPr>
          <a:lstStyle>
            <a:lvl1pPr>
              <a:defRPr sz="3469" baseline="0">
                <a:solidFill>
                  <a:schemeClr val="bg1"/>
                </a:solidFill>
                <a:latin typeface="+mj-lt"/>
                <a:ea typeface="+mj-ea"/>
              </a:defRPr>
            </a:lvl1pPr>
          </a:lstStyle>
          <a:p>
            <a:pPr lvl="0"/>
            <a:r>
              <a:rPr lang="nl-NL" noProof="0" dirty="0"/>
              <a:t>Click to edit Master subtitle style</a:t>
            </a:r>
          </a:p>
        </p:txBody>
      </p:sp>
      <p:grpSp>
        <p:nvGrpSpPr>
          <p:cNvPr id="43" name="Group 42">
            <a:extLst>
              <a:ext uri="{FF2B5EF4-FFF2-40B4-BE49-F238E27FC236}">
                <a16:creationId xmlns:a16="http://schemas.microsoft.com/office/drawing/2014/main" id="{3DA9FF67-0D51-4D87-B84D-DE1262962156}"/>
              </a:ext>
            </a:extLst>
          </p:cNvPr>
          <p:cNvGrpSpPr/>
          <p:nvPr userDrawn="1"/>
        </p:nvGrpSpPr>
        <p:grpSpPr bwMode="ltGray">
          <a:xfrm>
            <a:off x="1018835" y="127961"/>
            <a:ext cx="1731533" cy="579869"/>
            <a:chOff x="998538" y="125413"/>
            <a:chExt cx="1697038" cy="568325"/>
          </a:xfrm>
        </p:grpSpPr>
        <p:sp>
          <p:nvSpPr>
            <p:cNvPr id="19" name="Freeform 45">
              <a:extLst>
                <a:ext uri="{FF2B5EF4-FFF2-40B4-BE49-F238E27FC236}">
                  <a16:creationId xmlns:a16="http://schemas.microsoft.com/office/drawing/2014/main" id="{3594579E-4C97-4E6E-B5D9-2035222C075C}"/>
                </a:ext>
              </a:extLst>
            </p:cNvPr>
            <p:cNvSpPr>
              <a:spLocks/>
            </p:cNvSpPr>
            <p:nvPr userDrawn="1"/>
          </p:nvSpPr>
          <p:spPr bwMode="ltGray">
            <a:xfrm>
              <a:off x="1011238" y="125413"/>
              <a:ext cx="211138" cy="236538"/>
            </a:xfrm>
            <a:custGeom>
              <a:avLst/>
              <a:gdLst>
                <a:gd name="T0" fmla="*/ 1125 w 1125"/>
                <a:gd name="T1" fmla="*/ 1148 h 1267"/>
                <a:gd name="T2" fmla="*/ 631 w 1125"/>
                <a:gd name="T3" fmla="*/ 1267 h 1267"/>
                <a:gd name="T4" fmla="*/ 0 w 1125"/>
                <a:gd name="T5" fmla="*/ 639 h 1267"/>
                <a:gd name="T6" fmla="*/ 631 w 1125"/>
                <a:gd name="T7" fmla="*/ 0 h 1267"/>
                <a:gd name="T8" fmla="*/ 1102 w 1125"/>
                <a:gd name="T9" fmla="*/ 152 h 1267"/>
                <a:gd name="T10" fmla="*/ 945 w 1125"/>
                <a:gd name="T11" fmla="*/ 312 h 1267"/>
                <a:gd name="T12" fmla="*/ 633 w 1125"/>
                <a:gd name="T13" fmla="*/ 194 h 1267"/>
                <a:gd name="T14" fmla="*/ 223 w 1125"/>
                <a:gd name="T15" fmla="*/ 625 h 1267"/>
                <a:gd name="T16" fmla="*/ 633 w 1125"/>
                <a:gd name="T17" fmla="*/ 1073 h 1267"/>
                <a:gd name="T18" fmla="*/ 913 w 1125"/>
                <a:gd name="T19" fmla="*/ 1010 h 1267"/>
                <a:gd name="T20" fmla="*/ 913 w 1125"/>
                <a:gd name="T21" fmla="*/ 726 h 1267"/>
                <a:gd name="T22" fmla="*/ 669 w 1125"/>
                <a:gd name="T23" fmla="*/ 726 h 1267"/>
                <a:gd name="T24" fmla="*/ 669 w 1125"/>
                <a:gd name="T25" fmla="*/ 532 h 1267"/>
                <a:gd name="T26" fmla="*/ 1125 w 1125"/>
                <a:gd name="T27" fmla="*/ 532 h 1267"/>
                <a:gd name="T28" fmla="*/ 1125 w 1125"/>
                <a:gd name="T29" fmla="*/ 1148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5" h="1267">
                  <a:moveTo>
                    <a:pt x="1125" y="1148"/>
                  </a:moveTo>
                  <a:cubicBezTo>
                    <a:pt x="981" y="1227"/>
                    <a:pt x="815" y="1267"/>
                    <a:pt x="631" y="1267"/>
                  </a:cubicBezTo>
                  <a:cubicBezTo>
                    <a:pt x="263" y="1267"/>
                    <a:pt x="0" y="1015"/>
                    <a:pt x="0" y="639"/>
                  </a:cubicBezTo>
                  <a:cubicBezTo>
                    <a:pt x="0" y="252"/>
                    <a:pt x="263" y="0"/>
                    <a:pt x="631" y="0"/>
                  </a:cubicBezTo>
                  <a:cubicBezTo>
                    <a:pt x="813" y="0"/>
                    <a:pt x="977" y="39"/>
                    <a:pt x="1102" y="152"/>
                  </a:cubicBezTo>
                  <a:cubicBezTo>
                    <a:pt x="945" y="312"/>
                    <a:pt x="945" y="312"/>
                    <a:pt x="945" y="312"/>
                  </a:cubicBezTo>
                  <a:cubicBezTo>
                    <a:pt x="869" y="237"/>
                    <a:pt x="752" y="194"/>
                    <a:pt x="633" y="194"/>
                  </a:cubicBezTo>
                  <a:cubicBezTo>
                    <a:pt x="387" y="194"/>
                    <a:pt x="223" y="385"/>
                    <a:pt x="223" y="625"/>
                  </a:cubicBezTo>
                  <a:cubicBezTo>
                    <a:pt x="223" y="882"/>
                    <a:pt x="387" y="1073"/>
                    <a:pt x="633" y="1073"/>
                  </a:cubicBezTo>
                  <a:cubicBezTo>
                    <a:pt x="741" y="1073"/>
                    <a:pt x="839" y="1053"/>
                    <a:pt x="913" y="1010"/>
                  </a:cubicBezTo>
                  <a:cubicBezTo>
                    <a:pt x="913" y="726"/>
                    <a:pt x="913" y="726"/>
                    <a:pt x="913" y="726"/>
                  </a:cubicBezTo>
                  <a:cubicBezTo>
                    <a:pt x="669" y="726"/>
                    <a:pt x="669" y="726"/>
                    <a:pt x="669" y="726"/>
                  </a:cubicBezTo>
                  <a:cubicBezTo>
                    <a:pt x="669" y="532"/>
                    <a:pt x="669" y="532"/>
                    <a:pt x="669" y="532"/>
                  </a:cubicBezTo>
                  <a:cubicBezTo>
                    <a:pt x="1125" y="532"/>
                    <a:pt x="1125" y="532"/>
                    <a:pt x="1125" y="532"/>
                  </a:cubicBezTo>
                  <a:lnTo>
                    <a:pt x="1125" y="114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0" name="Freeform 46">
              <a:extLst>
                <a:ext uri="{FF2B5EF4-FFF2-40B4-BE49-F238E27FC236}">
                  <a16:creationId xmlns:a16="http://schemas.microsoft.com/office/drawing/2014/main" id="{F032D30D-15CF-4E12-8402-F1C574D25FE7}"/>
                </a:ext>
              </a:extLst>
            </p:cNvPr>
            <p:cNvSpPr>
              <a:spLocks noEditPoints="1"/>
            </p:cNvSpPr>
            <p:nvPr userDrawn="1"/>
          </p:nvSpPr>
          <p:spPr bwMode="ltGray">
            <a:xfrm>
              <a:off x="1258888" y="200025"/>
              <a:ext cx="155575" cy="160338"/>
            </a:xfrm>
            <a:custGeom>
              <a:avLst/>
              <a:gdLst>
                <a:gd name="T0" fmla="*/ 204 w 825"/>
                <a:gd name="T1" fmla="*/ 501 h 858"/>
                <a:gd name="T2" fmla="*/ 423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4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08" y="695"/>
                    <a:pt x="423"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8"/>
                    <a:pt x="542" y="153"/>
                    <a:pt x="414" y="153"/>
                  </a:cubicBezTo>
                  <a:cubicBezTo>
                    <a:pt x="293"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1" name="Freeform 47">
              <a:extLst>
                <a:ext uri="{FF2B5EF4-FFF2-40B4-BE49-F238E27FC236}">
                  <a16:creationId xmlns:a16="http://schemas.microsoft.com/office/drawing/2014/main" id="{62181A78-9679-473A-A970-452B7964DC86}"/>
                </a:ext>
              </a:extLst>
            </p:cNvPr>
            <p:cNvSpPr>
              <a:spLocks/>
            </p:cNvSpPr>
            <p:nvPr userDrawn="1"/>
          </p:nvSpPr>
          <p:spPr bwMode="ltGray">
            <a:xfrm>
              <a:off x="1447800" y="200025"/>
              <a:ext cx="236538" cy="155575"/>
            </a:xfrm>
            <a:custGeom>
              <a:avLst/>
              <a:gdLst>
                <a:gd name="T0" fmla="*/ 0 w 1259"/>
                <a:gd name="T1" fmla="*/ 20 h 833"/>
                <a:gd name="T2" fmla="*/ 193 w 1259"/>
                <a:gd name="T3" fmla="*/ 20 h 833"/>
                <a:gd name="T4" fmla="*/ 193 w 1259"/>
                <a:gd name="T5" fmla="*/ 148 h 833"/>
                <a:gd name="T6" fmla="*/ 197 w 1259"/>
                <a:gd name="T7" fmla="*/ 148 h 833"/>
                <a:gd name="T8" fmla="*/ 445 w 1259"/>
                <a:gd name="T9" fmla="*/ 0 h 833"/>
                <a:gd name="T10" fmla="*/ 699 w 1259"/>
                <a:gd name="T11" fmla="*/ 151 h 833"/>
                <a:gd name="T12" fmla="*/ 966 w 1259"/>
                <a:gd name="T13" fmla="*/ 0 h 833"/>
                <a:gd name="T14" fmla="*/ 1259 w 1259"/>
                <a:gd name="T15" fmla="*/ 349 h 833"/>
                <a:gd name="T16" fmla="*/ 1259 w 1259"/>
                <a:gd name="T17" fmla="*/ 833 h 833"/>
                <a:gd name="T18" fmla="*/ 1056 w 1259"/>
                <a:gd name="T19" fmla="*/ 833 h 833"/>
                <a:gd name="T20" fmla="*/ 1056 w 1259"/>
                <a:gd name="T21" fmla="*/ 372 h 833"/>
                <a:gd name="T22" fmla="*/ 905 w 1259"/>
                <a:gd name="T23" fmla="*/ 183 h 833"/>
                <a:gd name="T24" fmla="*/ 731 w 1259"/>
                <a:gd name="T25" fmla="*/ 393 h 833"/>
                <a:gd name="T26" fmla="*/ 731 w 1259"/>
                <a:gd name="T27" fmla="*/ 833 h 833"/>
                <a:gd name="T28" fmla="*/ 528 w 1259"/>
                <a:gd name="T29" fmla="*/ 833 h 833"/>
                <a:gd name="T30" fmla="*/ 528 w 1259"/>
                <a:gd name="T31" fmla="*/ 349 h 833"/>
                <a:gd name="T32" fmla="*/ 389 w 1259"/>
                <a:gd name="T33" fmla="*/ 183 h 833"/>
                <a:gd name="T34" fmla="*/ 204 w 1259"/>
                <a:gd name="T35" fmla="*/ 390 h 833"/>
                <a:gd name="T36" fmla="*/ 204 w 1259"/>
                <a:gd name="T37" fmla="*/ 833 h 833"/>
                <a:gd name="T38" fmla="*/ 0 w 1259"/>
                <a:gd name="T39" fmla="*/ 833 h 833"/>
                <a:gd name="T40" fmla="*/ 0 w 1259"/>
                <a:gd name="T41" fmla="*/ 2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9" h="833">
                  <a:moveTo>
                    <a:pt x="0" y="20"/>
                  </a:moveTo>
                  <a:cubicBezTo>
                    <a:pt x="193" y="20"/>
                    <a:pt x="193" y="20"/>
                    <a:pt x="193" y="20"/>
                  </a:cubicBezTo>
                  <a:cubicBezTo>
                    <a:pt x="193" y="148"/>
                    <a:pt x="193" y="148"/>
                    <a:pt x="193" y="148"/>
                  </a:cubicBezTo>
                  <a:cubicBezTo>
                    <a:pt x="197" y="148"/>
                    <a:pt x="197" y="148"/>
                    <a:pt x="197" y="148"/>
                  </a:cubicBezTo>
                  <a:cubicBezTo>
                    <a:pt x="232" y="72"/>
                    <a:pt x="310" y="0"/>
                    <a:pt x="445" y="0"/>
                  </a:cubicBezTo>
                  <a:cubicBezTo>
                    <a:pt x="570" y="0"/>
                    <a:pt x="656" y="49"/>
                    <a:pt x="699" y="151"/>
                  </a:cubicBezTo>
                  <a:cubicBezTo>
                    <a:pt x="758" y="47"/>
                    <a:pt x="844" y="0"/>
                    <a:pt x="966" y="0"/>
                  </a:cubicBezTo>
                  <a:cubicBezTo>
                    <a:pt x="1183" y="0"/>
                    <a:pt x="1259" y="155"/>
                    <a:pt x="1259" y="349"/>
                  </a:cubicBezTo>
                  <a:cubicBezTo>
                    <a:pt x="1259" y="833"/>
                    <a:pt x="1259" y="833"/>
                    <a:pt x="1259" y="833"/>
                  </a:cubicBezTo>
                  <a:cubicBezTo>
                    <a:pt x="1056" y="833"/>
                    <a:pt x="1056" y="833"/>
                    <a:pt x="1056" y="833"/>
                  </a:cubicBezTo>
                  <a:cubicBezTo>
                    <a:pt x="1056" y="372"/>
                    <a:pt x="1056" y="372"/>
                    <a:pt x="1056" y="372"/>
                  </a:cubicBezTo>
                  <a:cubicBezTo>
                    <a:pt x="1056" y="271"/>
                    <a:pt x="1025" y="183"/>
                    <a:pt x="905" y="183"/>
                  </a:cubicBezTo>
                  <a:cubicBezTo>
                    <a:pt x="778" y="183"/>
                    <a:pt x="731" y="288"/>
                    <a:pt x="731" y="393"/>
                  </a:cubicBezTo>
                  <a:cubicBezTo>
                    <a:pt x="731" y="833"/>
                    <a:pt x="731" y="833"/>
                    <a:pt x="731" y="833"/>
                  </a:cubicBezTo>
                  <a:cubicBezTo>
                    <a:pt x="528" y="833"/>
                    <a:pt x="528" y="833"/>
                    <a:pt x="528" y="833"/>
                  </a:cubicBezTo>
                  <a:cubicBezTo>
                    <a:pt x="528" y="349"/>
                    <a:pt x="528" y="349"/>
                    <a:pt x="528" y="349"/>
                  </a:cubicBezTo>
                  <a:cubicBezTo>
                    <a:pt x="528" y="249"/>
                    <a:pt x="487" y="183"/>
                    <a:pt x="389" y="183"/>
                  </a:cubicBezTo>
                  <a:cubicBezTo>
                    <a:pt x="256" y="183"/>
                    <a:pt x="204" y="281"/>
                    <a:pt x="204" y="390"/>
                  </a:cubicBezTo>
                  <a:cubicBezTo>
                    <a:pt x="204" y="833"/>
                    <a:pt x="204" y="833"/>
                    <a:pt x="204" y="833"/>
                  </a:cubicBezTo>
                  <a:cubicBezTo>
                    <a:pt x="0" y="833"/>
                    <a:pt x="0" y="833"/>
                    <a:pt x="0" y="833"/>
                  </a:cubicBezTo>
                  <a:lnTo>
                    <a:pt x="0" y="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2" name="Freeform 48">
              <a:extLst>
                <a:ext uri="{FF2B5EF4-FFF2-40B4-BE49-F238E27FC236}">
                  <a16:creationId xmlns:a16="http://schemas.microsoft.com/office/drawing/2014/main" id="{0C7F4442-2C2D-4A55-8C64-21A57A1756DF}"/>
                </a:ext>
              </a:extLst>
            </p:cNvPr>
            <p:cNvSpPr>
              <a:spLocks noEditPoints="1"/>
            </p:cNvSpPr>
            <p:nvPr userDrawn="1"/>
          </p:nvSpPr>
          <p:spPr bwMode="ltGray">
            <a:xfrm>
              <a:off x="1717675" y="200025"/>
              <a:ext cx="153988" cy="160338"/>
            </a:xfrm>
            <a:custGeom>
              <a:avLst/>
              <a:gdLst>
                <a:gd name="T0" fmla="*/ 204 w 825"/>
                <a:gd name="T1" fmla="*/ 501 h 858"/>
                <a:gd name="T2" fmla="*/ 423 w 825"/>
                <a:gd name="T3" fmla="*/ 695 h 858"/>
                <a:gd name="T4" fmla="*/ 642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5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10" y="695"/>
                    <a:pt x="423" y="695"/>
                  </a:cubicBezTo>
                  <a:cubicBezTo>
                    <a:pt x="525" y="695"/>
                    <a:pt x="591" y="647"/>
                    <a:pt x="642"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8"/>
                    <a:pt x="542" y="153"/>
                    <a:pt x="415" y="153"/>
                  </a:cubicBezTo>
                  <a:cubicBezTo>
                    <a:pt x="294"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3" name="Freeform 49">
              <a:extLst>
                <a:ext uri="{FF2B5EF4-FFF2-40B4-BE49-F238E27FC236}">
                  <a16:creationId xmlns:a16="http://schemas.microsoft.com/office/drawing/2014/main" id="{E708E535-9F33-4B32-AF3A-89677DD5E41B}"/>
                </a:ext>
              </a:extLst>
            </p:cNvPr>
            <p:cNvSpPr>
              <a:spLocks noEditPoints="1"/>
            </p:cNvSpPr>
            <p:nvPr userDrawn="1"/>
          </p:nvSpPr>
          <p:spPr bwMode="ltGray">
            <a:xfrm>
              <a:off x="1900238" y="200025"/>
              <a:ext cx="153988" cy="160338"/>
            </a:xfrm>
            <a:custGeom>
              <a:avLst/>
              <a:gdLst>
                <a:gd name="T0" fmla="*/ 204 w 825"/>
                <a:gd name="T1" fmla="*/ 501 h 858"/>
                <a:gd name="T2" fmla="*/ 422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4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08" y="695"/>
                    <a:pt x="422"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19" y="228"/>
                    <a:pt x="542" y="153"/>
                    <a:pt x="414" y="153"/>
                  </a:cubicBezTo>
                  <a:cubicBezTo>
                    <a:pt x="293"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4" name="Freeform 50">
              <a:extLst>
                <a:ext uri="{FF2B5EF4-FFF2-40B4-BE49-F238E27FC236}">
                  <a16:creationId xmlns:a16="http://schemas.microsoft.com/office/drawing/2014/main" id="{8850C9E0-7F66-4B6F-A5E3-B030EA899A8C}"/>
                </a:ext>
              </a:extLst>
            </p:cNvPr>
            <p:cNvSpPr>
              <a:spLocks/>
            </p:cNvSpPr>
            <p:nvPr userDrawn="1"/>
          </p:nvSpPr>
          <p:spPr bwMode="ltGray">
            <a:xfrm>
              <a:off x="2089150" y="200025"/>
              <a:ext cx="139700" cy="155575"/>
            </a:xfrm>
            <a:custGeom>
              <a:avLst/>
              <a:gdLst>
                <a:gd name="T0" fmla="*/ 0 w 750"/>
                <a:gd name="T1" fmla="*/ 20 h 833"/>
                <a:gd name="T2" fmla="*/ 195 w 750"/>
                <a:gd name="T3" fmla="*/ 20 h 833"/>
                <a:gd name="T4" fmla="*/ 195 w 750"/>
                <a:gd name="T5" fmla="*/ 151 h 833"/>
                <a:gd name="T6" fmla="*/ 199 w 750"/>
                <a:gd name="T7" fmla="*/ 151 h 833"/>
                <a:gd name="T8" fmla="*/ 450 w 750"/>
                <a:gd name="T9" fmla="*/ 0 h 833"/>
                <a:gd name="T10" fmla="*/ 750 w 750"/>
                <a:gd name="T11" fmla="*/ 320 h 833"/>
                <a:gd name="T12" fmla="*/ 750 w 750"/>
                <a:gd name="T13" fmla="*/ 833 h 833"/>
                <a:gd name="T14" fmla="*/ 545 w 750"/>
                <a:gd name="T15" fmla="*/ 833 h 833"/>
                <a:gd name="T16" fmla="*/ 545 w 750"/>
                <a:gd name="T17" fmla="*/ 421 h 833"/>
                <a:gd name="T18" fmla="*/ 394 w 750"/>
                <a:gd name="T19" fmla="*/ 183 h 833"/>
                <a:gd name="T20" fmla="*/ 206 w 750"/>
                <a:gd name="T21" fmla="*/ 390 h 833"/>
                <a:gd name="T22" fmla="*/ 206 w 750"/>
                <a:gd name="T23" fmla="*/ 833 h 833"/>
                <a:gd name="T24" fmla="*/ 0 w 750"/>
                <a:gd name="T25" fmla="*/ 833 h 833"/>
                <a:gd name="T26" fmla="*/ 0 w 750"/>
                <a:gd name="T27" fmla="*/ 2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0" h="833">
                  <a:moveTo>
                    <a:pt x="0" y="20"/>
                  </a:moveTo>
                  <a:cubicBezTo>
                    <a:pt x="195" y="20"/>
                    <a:pt x="195" y="20"/>
                    <a:pt x="195" y="20"/>
                  </a:cubicBezTo>
                  <a:cubicBezTo>
                    <a:pt x="195" y="151"/>
                    <a:pt x="195" y="151"/>
                    <a:pt x="195" y="151"/>
                  </a:cubicBezTo>
                  <a:cubicBezTo>
                    <a:pt x="199" y="151"/>
                    <a:pt x="199" y="151"/>
                    <a:pt x="199" y="151"/>
                  </a:cubicBezTo>
                  <a:cubicBezTo>
                    <a:pt x="237" y="69"/>
                    <a:pt x="313" y="0"/>
                    <a:pt x="450" y="0"/>
                  </a:cubicBezTo>
                  <a:cubicBezTo>
                    <a:pt x="671" y="0"/>
                    <a:pt x="750" y="155"/>
                    <a:pt x="750" y="320"/>
                  </a:cubicBezTo>
                  <a:cubicBezTo>
                    <a:pt x="750" y="833"/>
                    <a:pt x="750" y="833"/>
                    <a:pt x="750" y="833"/>
                  </a:cubicBezTo>
                  <a:cubicBezTo>
                    <a:pt x="545" y="833"/>
                    <a:pt x="545" y="833"/>
                    <a:pt x="545" y="833"/>
                  </a:cubicBezTo>
                  <a:cubicBezTo>
                    <a:pt x="545" y="421"/>
                    <a:pt x="545" y="421"/>
                    <a:pt x="545" y="421"/>
                  </a:cubicBezTo>
                  <a:cubicBezTo>
                    <a:pt x="545" y="333"/>
                    <a:pt x="538" y="183"/>
                    <a:pt x="394" y="183"/>
                  </a:cubicBezTo>
                  <a:cubicBezTo>
                    <a:pt x="259" y="183"/>
                    <a:pt x="206" y="281"/>
                    <a:pt x="206" y="390"/>
                  </a:cubicBezTo>
                  <a:cubicBezTo>
                    <a:pt x="206" y="833"/>
                    <a:pt x="206" y="833"/>
                    <a:pt x="206" y="833"/>
                  </a:cubicBezTo>
                  <a:cubicBezTo>
                    <a:pt x="0" y="833"/>
                    <a:pt x="0" y="833"/>
                    <a:pt x="0" y="833"/>
                  </a:cubicBezTo>
                  <a:lnTo>
                    <a:pt x="0" y="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5" name="Freeform 51">
              <a:extLst>
                <a:ext uri="{FF2B5EF4-FFF2-40B4-BE49-F238E27FC236}">
                  <a16:creationId xmlns:a16="http://schemas.microsoft.com/office/drawing/2014/main" id="{5E7243FB-D22C-4780-A2BD-2B0FE0EBDE84}"/>
                </a:ext>
              </a:extLst>
            </p:cNvPr>
            <p:cNvSpPr>
              <a:spLocks/>
            </p:cNvSpPr>
            <p:nvPr userDrawn="1"/>
          </p:nvSpPr>
          <p:spPr bwMode="ltGray">
            <a:xfrm>
              <a:off x="2254250" y="158750"/>
              <a:ext cx="111125" cy="201613"/>
            </a:xfrm>
            <a:custGeom>
              <a:avLst/>
              <a:gdLst>
                <a:gd name="T0" fmla="*/ 0 w 591"/>
                <a:gd name="T1" fmla="*/ 411 h 1075"/>
                <a:gd name="T2" fmla="*/ 0 w 591"/>
                <a:gd name="T3" fmla="*/ 237 h 1075"/>
                <a:gd name="T4" fmla="*/ 166 w 591"/>
                <a:gd name="T5" fmla="*/ 237 h 1075"/>
                <a:gd name="T6" fmla="*/ 166 w 591"/>
                <a:gd name="T7" fmla="*/ 0 h 1075"/>
                <a:gd name="T8" fmla="*/ 369 w 591"/>
                <a:gd name="T9" fmla="*/ 0 h 1075"/>
                <a:gd name="T10" fmla="*/ 369 w 591"/>
                <a:gd name="T11" fmla="*/ 237 h 1075"/>
                <a:gd name="T12" fmla="*/ 591 w 591"/>
                <a:gd name="T13" fmla="*/ 237 h 1075"/>
                <a:gd name="T14" fmla="*/ 591 w 591"/>
                <a:gd name="T15" fmla="*/ 411 h 1075"/>
                <a:gd name="T16" fmla="*/ 369 w 591"/>
                <a:gd name="T17" fmla="*/ 411 h 1075"/>
                <a:gd name="T18" fmla="*/ 369 w 591"/>
                <a:gd name="T19" fmla="*/ 769 h 1075"/>
                <a:gd name="T20" fmla="*/ 482 w 591"/>
                <a:gd name="T21" fmla="*/ 901 h 1075"/>
                <a:gd name="T22" fmla="*/ 591 w 591"/>
                <a:gd name="T23" fmla="*/ 876 h 1075"/>
                <a:gd name="T24" fmla="*/ 591 w 591"/>
                <a:gd name="T25" fmla="*/ 1048 h 1075"/>
                <a:gd name="T26" fmla="*/ 432 w 591"/>
                <a:gd name="T27" fmla="*/ 1075 h 1075"/>
                <a:gd name="T28" fmla="*/ 166 w 591"/>
                <a:gd name="T29" fmla="*/ 786 h 1075"/>
                <a:gd name="T30" fmla="*/ 166 w 591"/>
                <a:gd name="T31" fmla="*/ 411 h 1075"/>
                <a:gd name="T32" fmla="*/ 0 w 591"/>
                <a:gd name="T33" fmla="*/ 411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1" h="1075">
                  <a:moveTo>
                    <a:pt x="0" y="411"/>
                  </a:moveTo>
                  <a:cubicBezTo>
                    <a:pt x="0" y="237"/>
                    <a:pt x="0" y="237"/>
                    <a:pt x="0" y="237"/>
                  </a:cubicBezTo>
                  <a:cubicBezTo>
                    <a:pt x="166" y="237"/>
                    <a:pt x="166" y="237"/>
                    <a:pt x="166" y="237"/>
                  </a:cubicBezTo>
                  <a:cubicBezTo>
                    <a:pt x="166" y="0"/>
                    <a:pt x="166" y="0"/>
                    <a:pt x="166" y="0"/>
                  </a:cubicBezTo>
                  <a:cubicBezTo>
                    <a:pt x="369" y="0"/>
                    <a:pt x="369" y="0"/>
                    <a:pt x="369" y="0"/>
                  </a:cubicBezTo>
                  <a:cubicBezTo>
                    <a:pt x="369" y="237"/>
                    <a:pt x="369" y="237"/>
                    <a:pt x="369" y="237"/>
                  </a:cubicBezTo>
                  <a:cubicBezTo>
                    <a:pt x="591" y="237"/>
                    <a:pt x="591" y="237"/>
                    <a:pt x="591" y="237"/>
                  </a:cubicBezTo>
                  <a:cubicBezTo>
                    <a:pt x="591" y="411"/>
                    <a:pt x="591" y="411"/>
                    <a:pt x="591" y="411"/>
                  </a:cubicBezTo>
                  <a:cubicBezTo>
                    <a:pt x="369" y="411"/>
                    <a:pt x="369" y="411"/>
                    <a:pt x="369" y="411"/>
                  </a:cubicBezTo>
                  <a:cubicBezTo>
                    <a:pt x="369" y="769"/>
                    <a:pt x="369" y="769"/>
                    <a:pt x="369" y="769"/>
                  </a:cubicBezTo>
                  <a:cubicBezTo>
                    <a:pt x="369" y="851"/>
                    <a:pt x="392" y="901"/>
                    <a:pt x="482" y="901"/>
                  </a:cubicBezTo>
                  <a:cubicBezTo>
                    <a:pt x="517" y="901"/>
                    <a:pt x="566" y="894"/>
                    <a:pt x="591" y="876"/>
                  </a:cubicBezTo>
                  <a:cubicBezTo>
                    <a:pt x="591" y="1048"/>
                    <a:pt x="591" y="1048"/>
                    <a:pt x="591" y="1048"/>
                  </a:cubicBezTo>
                  <a:cubicBezTo>
                    <a:pt x="550" y="1068"/>
                    <a:pt x="478" y="1075"/>
                    <a:pt x="432" y="1075"/>
                  </a:cubicBezTo>
                  <a:cubicBezTo>
                    <a:pt x="216" y="1075"/>
                    <a:pt x="166" y="978"/>
                    <a:pt x="166" y="786"/>
                  </a:cubicBezTo>
                  <a:cubicBezTo>
                    <a:pt x="166" y="411"/>
                    <a:pt x="166" y="411"/>
                    <a:pt x="166" y="411"/>
                  </a:cubicBezTo>
                  <a:lnTo>
                    <a:pt x="0" y="41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6" name="Freeform 52">
              <a:extLst>
                <a:ext uri="{FF2B5EF4-FFF2-40B4-BE49-F238E27FC236}">
                  <a16:creationId xmlns:a16="http://schemas.microsoft.com/office/drawing/2014/main" id="{6E9E2EC8-D504-4CF1-B77E-DDBDE4017BF5}"/>
                </a:ext>
              </a:extLst>
            </p:cNvPr>
            <p:cNvSpPr>
              <a:spLocks noEditPoints="1"/>
            </p:cNvSpPr>
            <p:nvPr userDrawn="1"/>
          </p:nvSpPr>
          <p:spPr bwMode="ltGray">
            <a:xfrm>
              <a:off x="2387600" y="200025"/>
              <a:ext cx="155575" cy="160338"/>
            </a:xfrm>
            <a:custGeom>
              <a:avLst/>
              <a:gdLst>
                <a:gd name="T0" fmla="*/ 203 w 825"/>
                <a:gd name="T1" fmla="*/ 501 h 858"/>
                <a:gd name="T2" fmla="*/ 422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3 w 825"/>
                <a:gd name="T19" fmla="*/ 501 h 858"/>
                <a:gd name="T20" fmla="*/ 622 w 825"/>
                <a:gd name="T21" fmla="*/ 347 h 858"/>
                <a:gd name="T22" fmla="*/ 414 w 825"/>
                <a:gd name="T23" fmla="*/ 153 h 858"/>
                <a:gd name="T24" fmla="*/ 203 w 825"/>
                <a:gd name="T25" fmla="*/ 347 h 858"/>
                <a:gd name="T26" fmla="*/ 622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3" y="501"/>
                  </a:moveTo>
                  <a:cubicBezTo>
                    <a:pt x="217" y="621"/>
                    <a:pt x="309" y="695"/>
                    <a:pt x="422"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1" y="0"/>
                    <a:pt x="825" y="160"/>
                    <a:pt x="825" y="445"/>
                  </a:cubicBezTo>
                  <a:cubicBezTo>
                    <a:pt x="825" y="501"/>
                    <a:pt x="825" y="501"/>
                    <a:pt x="825" y="501"/>
                  </a:cubicBezTo>
                  <a:lnTo>
                    <a:pt x="203" y="501"/>
                  </a:lnTo>
                  <a:close/>
                  <a:moveTo>
                    <a:pt x="622" y="347"/>
                  </a:moveTo>
                  <a:cubicBezTo>
                    <a:pt x="619" y="228"/>
                    <a:pt x="542" y="153"/>
                    <a:pt x="414" y="153"/>
                  </a:cubicBezTo>
                  <a:cubicBezTo>
                    <a:pt x="293" y="153"/>
                    <a:pt x="218" y="229"/>
                    <a:pt x="203" y="347"/>
                  </a:cubicBezTo>
                  <a:lnTo>
                    <a:pt x="622"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7" name="Freeform 53">
              <a:extLst>
                <a:ext uri="{FF2B5EF4-FFF2-40B4-BE49-F238E27FC236}">
                  <a16:creationId xmlns:a16="http://schemas.microsoft.com/office/drawing/2014/main" id="{8A66AFFE-C1AF-4BF3-961F-5537D56D006C}"/>
                </a:ext>
              </a:extLst>
            </p:cNvPr>
            <p:cNvSpPr>
              <a:spLocks noEditPoints="1"/>
            </p:cNvSpPr>
            <p:nvPr userDrawn="1"/>
          </p:nvSpPr>
          <p:spPr bwMode="ltGray">
            <a:xfrm>
              <a:off x="998538" y="465138"/>
              <a:ext cx="228600" cy="225425"/>
            </a:xfrm>
            <a:custGeom>
              <a:avLst/>
              <a:gdLst>
                <a:gd name="T0" fmla="*/ 61 w 144"/>
                <a:gd name="T1" fmla="*/ 0 h 142"/>
                <a:gd name="T2" fmla="*/ 83 w 144"/>
                <a:gd name="T3" fmla="*/ 0 h 142"/>
                <a:gd name="T4" fmla="*/ 144 w 144"/>
                <a:gd name="T5" fmla="*/ 142 h 142"/>
                <a:gd name="T6" fmla="*/ 115 w 144"/>
                <a:gd name="T7" fmla="*/ 142 h 142"/>
                <a:gd name="T8" fmla="*/ 103 w 144"/>
                <a:gd name="T9" fmla="*/ 109 h 142"/>
                <a:gd name="T10" fmla="*/ 41 w 144"/>
                <a:gd name="T11" fmla="*/ 109 h 142"/>
                <a:gd name="T12" fmla="*/ 28 w 144"/>
                <a:gd name="T13" fmla="*/ 142 h 142"/>
                <a:gd name="T14" fmla="*/ 0 w 144"/>
                <a:gd name="T15" fmla="*/ 142 h 142"/>
                <a:gd name="T16" fmla="*/ 61 w 144"/>
                <a:gd name="T17" fmla="*/ 0 h 142"/>
                <a:gd name="T18" fmla="*/ 94 w 144"/>
                <a:gd name="T19" fmla="*/ 88 h 142"/>
                <a:gd name="T20" fmla="*/ 72 w 144"/>
                <a:gd name="T21" fmla="*/ 30 h 142"/>
                <a:gd name="T22" fmla="*/ 50 w 144"/>
                <a:gd name="T23" fmla="*/ 88 h 142"/>
                <a:gd name="T24" fmla="*/ 94 w 144"/>
                <a:gd name="T25" fmla="*/ 8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42">
                  <a:moveTo>
                    <a:pt x="61" y="0"/>
                  </a:moveTo>
                  <a:lnTo>
                    <a:pt x="83" y="0"/>
                  </a:lnTo>
                  <a:lnTo>
                    <a:pt x="144" y="142"/>
                  </a:lnTo>
                  <a:lnTo>
                    <a:pt x="115" y="142"/>
                  </a:lnTo>
                  <a:lnTo>
                    <a:pt x="103" y="109"/>
                  </a:lnTo>
                  <a:lnTo>
                    <a:pt x="41" y="109"/>
                  </a:lnTo>
                  <a:lnTo>
                    <a:pt x="28" y="142"/>
                  </a:lnTo>
                  <a:lnTo>
                    <a:pt x="0" y="142"/>
                  </a:lnTo>
                  <a:lnTo>
                    <a:pt x="61" y="0"/>
                  </a:lnTo>
                  <a:close/>
                  <a:moveTo>
                    <a:pt x="94" y="88"/>
                  </a:moveTo>
                  <a:lnTo>
                    <a:pt x="72" y="30"/>
                  </a:lnTo>
                  <a:lnTo>
                    <a:pt x="50" y="88"/>
                  </a:lnTo>
                  <a:lnTo>
                    <a:pt x="94" y="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8" name="Freeform 54">
              <a:extLst>
                <a:ext uri="{FF2B5EF4-FFF2-40B4-BE49-F238E27FC236}">
                  <a16:creationId xmlns:a16="http://schemas.microsoft.com/office/drawing/2014/main" id="{EC606987-D892-4CD1-9A72-6B9C2DC29614}"/>
                </a:ext>
              </a:extLst>
            </p:cNvPr>
            <p:cNvSpPr>
              <a:spLocks/>
            </p:cNvSpPr>
            <p:nvPr userDrawn="1"/>
          </p:nvSpPr>
          <p:spPr bwMode="ltGray">
            <a:xfrm>
              <a:off x="1247775" y="533400"/>
              <a:ext cx="236538" cy="157163"/>
            </a:xfrm>
            <a:custGeom>
              <a:avLst/>
              <a:gdLst>
                <a:gd name="T0" fmla="*/ 0 w 1267"/>
                <a:gd name="T1" fmla="*/ 21 h 842"/>
                <a:gd name="T2" fmla="*/ 194 w 1267"/>
                <a:gd name="T3" fmla="*/ 21 h 842"/>
                <a:gd name="T4" fmla="*/ 194 w 1267"/>
                <a:gd name="T5" fmla="*/ 149 h 842"/>
                <a:gd name="T6" fmla="*/ 198 w 1267"/>
                <a:gd name="T7" fmla="*/ 149 h 842"/>
                <a:gd name="T8" fmla="*/ 448 w 1267"/>
                <a:gd name="T9" fmla="*/ 0 h 842"/>
                <a:gd name="T10" fmla="*/ 704 w 1267"/>
                <a:gd name="T11" fmla="*/ 153 h 842"/>
                <a:gd name="T12" fmla="*/ 972 w 1267"/>
                <a:gd name="T13" fmla="*/ 0 h 842"/>
                <a:gd name="T14" fmla="*/ 1267 w 1267"/>
                <a:gd name="T15" fmla="*/ 352 h 842"/>
                <a:gd name="T16" fmla="*/ 1267 w 1267"/>
                <a:gd name="T17" fmla="*/ 842 h 842"/>
                <a:gd name="T18" fmla="*/ 1063 w 1267"/>
                <a:gd name="T19" fmla="*/ 842 h 842"/>
                <a:gd name="T20" fmla="*/ 1063 w 1267"/>
                <a:gd name="T21" fmla="*/ 377 h 842"/>
                <a:gd name="T22" fmla="*/ 911 w 1267"/>
                <a:gd name="T23" fmla="*/ 185 h 842"/>
                <a:gd name="T24" fmla="*/ 736 w 1267"/>
                <a:gd name="T25" fmla="*/ 397 h 842"/>
                <a:gd name="T26" fmla="*/ 736 w 1267"/>
                <a:gd name="T27" fmla="*/ 842 h 842"/>
                <a:gd name="T28" fmla="*/ 532 w 1267"/>
                <a:gd name="T29" fmla="*/ 842 h 842"/>
                <a:gd name="T30" fmla="*/ 532 w 1267"/>
                <a:gd name="T31" fmla="*/ 352 h 842"/>
                <a:gd name="T32" fmla="*/ 392 w 1267"/>
                <a:gd name="T33" fmla="*/ 185 h 842"/>
                <a:gd name="T34" fmla="*/ 205 w 1267"/>
                <a:gd name="T35" fmla="*/ 394 h 842"/>
                <a:gd name="T36" fmla="*/ 205 w 1267"/>
                <a:gd name="T37" fmla="*/ 842 h 842"/>
                <a:gd name="T38" fmla="*/ 0 w 1267"/>
                <a:gd name="T39" fmla="*/ 842 h 842"/>
                <a:gd name="T40" fmla="*/ 0 w 1267"/>
                <a:gd name="T41"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7" h="842">
                  <a:moveTo>
                    <a:pt x="0" y="21"/>
                  </a:moveTo>
                  <a:cubicBezTo>
                    <a:pt x="194" y="21"/>
                    <a:pt x="194" y="21"/>
                    <a:pt x="194" y="21"/>
                  </a:cubicBezTo>
                  <a:cubicBezTo>
                    <a:pt x="194" y="149"/>
                    <a:pt x="194" y="149"/>
                    <a:pt x="194" y="149"/>
                  </a:cubicBezTo>
                  <a:cubicBezTo>
                    <a:pt x="198" y="149"/>
                    <a:pt x="198" y="149"/>
                    <a:pt x="198" y="149"/>
                  </a:cubicBezTo>
                  <a:cubicBezTo>
                    <a:pt x="234" y="72"/>
                    <a:pt x="312" y="0"/>
                    <a:pt x="448" y="0"/>
                  </a:cubicBezTo>
                  <a:cubicBezTo>
                    <a:pt x="574" y="0"/>
                    <a:pt x="661" y="50"/>
                    <a:pt x="704" y="153"/>
                  </a:cubicBezTo>
                  <a:cubicBezTo>
                    <a:pt x="763" y="48"/>
                    <a:pt x="850" y="0"/>
                    <a:pt x="972" y="0"/>
                  </a:cubicBezTo>
                  <a:cubicBezTo>
                    <a:pt x="1191" y="0"/>
                    <a:pt x="1267" y="156"/>
                    <a:pt x="1267" y="352"/>
                  </a:cubicBezTo>
                  <a:cubicBezTo>
                    <a:pt x="1267" y="842"/>
                    <a:pt x="1267" y="842"/>
                    <a:pt x="1267" y="842"/>
                  </a:cubicBezTo>
                  <a:cubicBezTo>
                    <a:pt x="1063" y="842"/>
                    <a:pt x="1063" y="842"/>
                    <a:pt x="1063" y="842"/>
                  </a:cubicBezTo>
                  <a:cubicBezTo>
                    <a:pt x="1063" y="377"/>
                    <a:pt x="1063" y="377"/>
                    <a:pt x="1063" y="377"/>
                  </a:cubicBezTo>
                  <a:cubicBezTo>
                    <a:pt x="1063" y="274"/>
                    <a:pt x="1032" y="185"/>
                    <a:pt x="911" y="185"/>
                  </a:cubicBezTo>
                  <a:cubicBezTo>
                    <a:pt x="784" y="185"/>
                    <a:pt x="736" y="291"/>
                    <a:pt x="736" y="397"/>
                  </a:cubicBezTo>
                  <a:cubicBezTo>
                    <a:pt x="736" y="842"/>
                    <a:pt x="736" y="842"/>
                    <a:pt x="736" y="842"/>
                  </a:cubicBezTo>
                  <a:cubicBezTo>
                    <a:pt x="532" y="842"/>
                    <a:pt x="532" y="842"/>
                    <a:pt x="532" y="842"/>
                  </a:cubicBezTo>
                  <a:cubicBezTo>
                    <a:pt x="532" y="352"/>
                    <a:pt x="532" y="352"/>
                    <a:pt x="532" y="352"/>
                  </a:cubicBezTo>
                  <a:cubicBezTo>
                    <a:pt x="532" y="252"/>
                    <a:pt x="490" y="185"/>
                    <a:pt x="392" y="185"/>
                  </a:cubicBezTo>
                  <a:cubicBezTo>
                    <a:pt x="258" y="185"/>
                    <a:pt x="205" y="284"/>
                    <a:pt x="205" y="394"/>
                  </a:cubicBezTo>
                  <a:cubicBezTo>
                    <a:pt x="205" y="842"/>
                    <a:pt x="205" y="842"/>
                    <a:pt x="205"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9" name="Freeform 55">
              <a:extLst>
                <a:ext uri="{FF2B5EF4-FFF2-40B4-BE49-F238E27FC236}">
                  <a16:creationId xmlns:a16="http://schemas.microsoft.com/office/drawing/2014/main" id="{938EECDB-9B08-44D8-9CAE-92D9483255BB}"/>
                </a:ext>
              </a:extLst>
            </p:cNvPr>
            <p:cNvSpPr>
              <a:spLocks/>
            </p:cNvSpPr>
            <p:nvPr userDrawn="1"/>
          </p:nvSpPr>
          <p:spPr bwMode="ltGray">
            <a:xfrm>
              <a:off x="1512888" y="533400"/>
              <a:ext cx="123825" cy="160338"/>
            </a:xfrm>
            <a:custGeom>
              <a:avLst/>
              <a:gdLst>
                <a:gd name="T0" fmla="*/ 507 w 667"/>
                <a:gd name="T1" fmla="*/ 247 h 859"/>
                <a:gd name="T2" fmla="*/ 348 w 667"/>
                <a:gd name="T3" fmla="*/ 164 h 859"/>
                <a:gd name="T4" fmla="*/ 228 w 667"/>
                <a:gd name="T5" fmla="*/ 251 h 859"/>
                <a:gd name="T6" fmla="*/ 667 w 667"/>
                <a:gd name="T7" fmla="*/ 597 h 859"/>
                <a:gd name="T8" fmla="*/ 317 w 667"/>
                <a:gd name="T9" fmla="*/ 859 h 859"/>
                <a:gd name="T10" fmla="*/ 0 w 667"/>
                <a:gd name="T11" fmla="*/ 733 h 859"/>
                <a:gd name="T12" fmla="*/ 136 w 667"/>
                <a:gd name="T13" fmla="*/ 605 h 859"/>
                <a:gd name="T14" fmla="*/ 329 w 667"/>
                <a:gd name="T15" fmla="*/ 706 h 859"/>
                <a:gd name="T16" fmla="*/ 464 w 667"/>
                <a:gd name="T17" fmla="*/ 612 h 859"/>
                <a:gd name="T18" fmla="*/ 25 w 667"/>
                <a:gd name="T19" fmla="*/ 264 h 859"/>
                <a:gd name="T20" fmla="*/ 352 w 667"/>
                <a:gd name="T21" fmla="*/ 0 h 859"/>
                <a:gd name="T22" fmla="*/ 642 w 667"/>
                <a:gd name="T23" fmla="*/ 125 h 859"/>
                <a:gd name="T24" fmla="*/ 507 w 667"/>
                <a:gd name="T25" fmla="*/ 2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7" h="859">
                  <a:moveTo>
                    <a:pt x="507" y="247"/>
                  </a:moveTo>
                  <a:cubicBezTo>
                    <a:pt x="467" y="193"/>
                    <a:pt x="417" y="164"/>
                    <a:pt x="348" y="164"/>
                  </a:cubicBezTo>
                  <a:cubicBezTo>
                    <a:pt x="293" y="164"/>
                    <a:pt x="228" y="190"/>
                    <a:pt x="228" y="251"/>
                  </a:cubicBezTo>
                  <a:cubicBezTo>
                    <a:pt x="228" y="397"/>
                    <a:pt x="667" y="278"/>
                    <a:pt x="667" y="597"/>
                  </a:cubicBezTo>
                  <a:cubicBezTo>
                    <a:pt x="667" y="791"/>
                    <a:pt x="483" y="859"/>
                    <a:pt x="317" y="859"/>
                  </a:cubicBezTo>
                  <a:cubicBezTo>
                    <a:pt x="191" y="859"/>
                    <a:pt x="83" y="826"/>
                    <a:pt x="0" y="733"/>
                  </a:cubicBezTo>
                  <a:cubicBezTo>
                    <a:pt x="136" y="605"/>
                    <a:pt x="136" y="605"/>
                    <a:pt x="136" y="605"/>
                  </a:cubicBezTo>
                  <a:cubicBezTo>
                    <a:pt x="188" y="662"/>
                    <a:pt x="242" y="706"/>
                    <a:pt x="329" y="706"/>
                  </a:cubicBezTo>
                  <a:cubicBezTo>
                    <a:pt x="387" y="706"/>
                    <a:pt x="464" y="677"/>
                    <a:pt x="464" y="612"/>
                  </a:cubicBezTo>
                  <a:cubicBezTo>
                    <a:pt x="464" y="443"/>
                    <a:pt x="25" y="575"/>
                    <a:pt x="25" y="264"/>
                  </a:cubicBezTo>
                  <a:cubicBezTo>
                    <a:pt x="25" y="82"/>
                    <a:pt x="188" y="0"/>
                    <a:pt x="352" y="0"/>
                  </a:cubicBezTo>
                  <a:cubicBezTo>
                    <a:pt x="461" y="0"/>
                    <a:pt x="576" y="35"/>
                    <a:pt x="642" y="125"/>
                  </a:cubicBezTo>
                  <a:lnTo>
                    <a:pt x="507" y="2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0" name="Freeform 56">
              <a:extLst>
                <a:ext uri="{FF2B5EF4-FFF2-40B4-BE49-F238E27FC236}">
                  <a16:creationId xmlns:a16="http://schemas.microsoft.com/office/drawing/2014/main" id="{201C2FD4-4458-4C08-B319-3082B6BC5FFC}"/>
                </a:ext>
              </a:extLst>
            </p:cNvPr>
            <p:cNvSpPr>
              <a:spLocks/>
            </p:cNvSpPr>
            <p:nvPr userDrawn="1"/>
          </p:nvSpPr>
          <p:spPr bwMode="ltGray">
            <a:xfrm>
              <a:off x="1647825" y="493713"/>
              <a:ext cx="112713" cy="200025"/>
            </a:xfrm>
            <a:custGeom>
              <a:avLst/>
              <a:gdLst>
                <a:gd name="T0" fmla="*/ 0 w 600"/>
                <a:gd name="T1" fmla="*/ 407 h 1067"/>
                <a:gd name="T2" fmla="*/ 0 w 600"/>
                <a:gd name="T3" fmla="*/ 235 h 1067"/>
                <a:gd name="T4" fmla="*/ 169 w 600"/>
                <a:gd name="T5" fmla="*/ 235 h 1067"/>
                <a:gd name="T6" fmla="*/ 169 w 600"/>
                <a:gd name="T7" fmla="*/ 0 h 1067"/>
                <a:gd name="T8" fmla="*/ 374 w 600"/>
                <a:gd name="T9" fmla="*/ 0 h 1067"/>
                <a:gd name="T10" fmla="*/ 374 w 600"/>
                <a:gd name="T11" fmla="*/ 235 h 1067"/>
                <a:gd name="T12" fmla="*/ 600 w 600"/>
                <a:gd name="T13" fmla="*/ 235 h 1067"/>
                <a:gd name="T14" fmla="*/ 600 w 600"/>
                <a:gd name="T15" fmla="*/ 407 h 1067"/>
                <a:gd name="T16" fmla="*/ 374 w 600"/>
                <a:gd name="T17" fmla="*/ 407 h 1067"/>
                <a:gd name="T18" fmla="*/ 374 w 600"/>
                <a:gd name="T19" fmla="*/ 762 h 1067"/>
                <a:gd name="T20" fmla="*/ 488 w 600"/>
                <a:gd name="T21" fmla="*/ 894 h 1067"/>
                <a:gd name="T22" fmla="*/ 600 w 600"/>
                <a:gd name="T23" fmla="*/ 868 h 1067"/>
                <a:gd name="T24" fmla="*/ 600 w 600"/>
                <a:gd name="T25" fmla="*/ 1040 h 1067"/>
                <a:gd name="T26" fmla="*/ 437 w 600"/>
                <a:gd name="T27" fmla="*/ 1067 h 1067"/>
                <a:gd name="T28" fmla="*/ 169 w 600"/>
                <a:gd name="T29" fmla="*/ 780 h 1067"/>
                <a:gd name="T30" fmla="*/ 169 w 600"/>
                <a:gd name="T31" fmla="*/ 407 h 1067"/>
                <a:gd name="T32" fmla="*/ 0 w 600"/>
                <a:gd name="T33" fmla="*/ 40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0" h="1067">
                  <a:moveTo>
                    <a:pt x="0" y="407"/>
                  </a:moveTo>
                  <a:cubicBezTo>
                    <a:pt x="0" y="235"/>
                    <a:pt x="0" y="235"/>
                    <a:pt x="0" y="235"/>
                  </a:cubicBezTo>
                  <a:cubicBezTo>
                    <a:pt x="169" y="235"/>
                    <a:pt x="169" y="235"/>
                    <a:pt x="169" y="235"/>
                  </a:cubicBezTo>
                  <a:cubicBezTo>
                    <a:pt x="169" y="0"/>
                    <a:pt x="169" y="0"/>
                    <a:pt x="169" y="0"/>
                  </a:cubicBezTo>
                  <a:cubicBezTo>
                    <a:pt x="374" y="0"/>
                    <a:pt x="374" y="0"/>
                    <a:pt x="374" y="0"/>
                  </a:cubicBezTo>
                  <a:cubicBezTo>
                    <a:pt x="374" y="235"/>
                    <a:pt x="374" y="235"/>
                    <a:pt x="374" y="235"/>
                  </a:cubicBezTo>
                  <a:cubicBezTo>
                    <a:pt x="600" y="235"/>
                    <a:pt x="600" y="235"/>
                    <a:pt x="600" y="235"/>
                  </a:cubicBezTo>
                  <a:cubicBezTo>
                    <a:pt x="600" y="407"/>
                    <a:pt x="600" y="407"/>
                    <a:pt x="600" y="407"/>
                  </a:cubicBezTo>
                  <a:cubicBezTo>
                    <a:pt x="374" y="407"/>
                    <a:pt x="374" y="407"/>
                    <a:pt x="374" y="407"/>
                  </a:cubicBezTo>
                  <a:cubicBezTo>
                    <a:pt x="374" y="762"/>
                    <a:pt x="374" y="762"/>
                    <a:pt x="374" y="762"/>
                  </a:cubicBezTo>
                  <a:cubicBezTo>
                    <a:pt x="374" y="844"/>
                    <a:pt x="399" y="894"/>
                    <a:pt x="488" y="894"/>
                  </a:cubicBezTo>
                  <a:cubicBezTo>
                    <a:pt x="525" y="894"/>
                    <a:pt x="574" y="887"/>
                    <a:pt x="600" y="868"/>
                  </a:cubicBezTo>
                  <a:cubicBezTo>
                    <a:pt x="600" y="1040"/>
                    <a:pt x="600" y="1040"/>
                    <a:pt x="600" y="1040"/>
                  </a:cubicBezTo>
                  <a:cubicBezTo>
                    <a:pt x="557" y="1060"/>
                    <a:pt x="486" y="1067"/>
                    <a:pt x="437" y="1067"/>
                  </a:cubicBezTo>
                  <a:cubicBezTo>
                    <a:pt x="221" y="1067"/>
                    <a:pt x="169" y="970"/>
                    <a:pt x="169" y="780"/>
                  </a:cubicBezTo>
                  <a:cubicBezTo>
                    <a:pt x="169" y="407"/>
                    <a:pt x="169" y="407"/>
                    <a:pt x="169" y="407"/>
                  </a:cubicBezTo>
                  <a:lnTo>
                    <a:pt x="0" y="40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1" name="Freeform 57">
              <a:extLst>
                <a:ext uri="{FF2B5EF4-FFF2-40B4-BE49-F238E27FC236}">
                  <a16:creationId xmlns:a16="http://schemas.microsoft.com/office/drawing/2014/main" id="{5A3F9447-F0E2-44F7-8372-1CAA2787262A}"/>
                </a:ext>
              </a:extLst>
            </p:cNvPr>
            <p:cNvSpPr>
              <a:spLocks noEditPoints="1"/>
            </p:cNvSpPr>
            <p:nvPr userDrawn="1"/>
          </p:nvSpPr>
          <p:spPr bwMode="ltGray">
            <a:xfrm>
              <a:off x="1781175" y="533400"/>
              <a:ext cx="155575" cy="160338"/>
            </a:xfrm>
            <a:custGeom>
              <a:avLst/>
              <a:gdLst>
                <a:gd name="T0" fmla="*/ 204 w 825"/>
                <a:gd name="T1" fmla="*/ 501 h 859"/>
                <a:gd name="T2" fmla="*/ 423 w 825"/>
                <a:gd name="T3" fmla="*/ 695 h 859"/>
                <a:gd name="T4" fmla="*/ 642 w 825"/>
                <a:gd name="T5" fmla="*/ 585 h 859"/>
                <a:gd name="T6" fmla="*/ 787 w 825"/>
                <a:gd name="T7" fmla="*/ 695 h 859"/>
                <a:gd name="T8" fmla="*/ 443 w 825"/>
                <a:gd name="T9" fmla="*/ 859 h 859"/>
                <a:gd name="T10" fmla="*/ 0 w 825"/>
                <a:gd name="T11" fmla="*/ 430 h 859"/>
                <a:gd name="T12" fmla="*/ 443 w 825"/>
                <a:gd name="T13" fmla="*/ 0 h 859"/>
                <a:gd name="T14" fmla="*/ 825 w 825"/>
                <a:gd name="T15" fmla="*/ 445 h 859"/>
                <a:gd name="T16" fmla="*/ 825 w 825"/>
                <a:gd name="T17" fmla="*/ 501 h 859"/>
                <a:gd name="T18" fmla="*/ 204 w 825"/>
                <a:gd name="T19" fmla="*/ 501 h 859"/>
                <a:gd name="T20" fmla="*/ 621 w 825"/>
                <a:gd name="T21" fmla="*/ 347 h 859"/>
                <a:gd name="T22" fmla="*/ 415 w 825"/>
                <a:gd name="T23" fmla="*/ 153 h 859"/>
                <a:gd name="T24" fmla="*/ 204 w 825"/>
                <a:gd name="T25" fmla="*/ 347 h 859"/>
                <a:gd name="T26" fmla="*/ 621 w 825"/>
                <a:gd name="T27" fmla="*/ 3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9">
                  <a:moveTo>
                    <a:pt x="204" y="501"/>
                  </a:moveTo>
                  <a:cubicBezTo>
                    <a:pt x="218" y="622"/>
                    <a:pt x="309" y="695"/>
                    <a:pt x="423" y="695"/>
                  </a:cubicBezTo>
                  <a:cubicBezTo>
                    <a:pt x="525" y="695"/>
                    <a:pt x="590" y="647"/>
                    <a:pt x="642" y="585"/>
                  </a:cubicBezTo>
                  <a:cubicBezTo>
                    <a:pt x="787" y="695"/>
                    <a:pt x="787" y="695"/>
                    <a:pt x="787" y="695"/>
                  </a:cubicBezTo>
                  <a:cubicBezTo>
                    <a:pt x="692" y="813"/>
                    <a:pt x="572" y="859"/>
                    <a:pt x="443" y="859"/>
                  </a:cubicBezTo>
                  <a:cubicBezTo>
                    <a:pt x="197" y="859"/>
                    <a:pt x="0" y="687"/>
                    <a:pt x="0" y="430"/>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9"/>
                    <a:pt x="541" y="153"/>
                    <a:pt x="415" y="153"/>
                  </a:cubicBezTo>
                  <a:cubicBezTo>
                    <a:pt x="294" y="153"/>
                    <a:pt x="219" y="230"/>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2" name="Freeform 58">
              <a:extLst>
                <a:ext uri="{FF2B5EF4-FFF2-40B4-BE49-F238E27FC236}">
                  <a16:creationId xmlns:a16="http://schemas.microsoft.com/office/drawing/2014/main" id="{09ED63FC-E10D-4A0E-BC83-4FE0D72454AD}"/>
                </a:ext>
              </a:extLst>
            </p:cNvPr>
            <p:cNvSpPr>
              <a:spLocks/>
            </p:cNvSpPr>
            <p:nvPr userDrawn="1"/>
          </p:nvSpPr>
          <p:spPr bwMode="ltGray">
            <a:xfrm>
              <a:off x="1971675" y="533400"/>
              <a:ext cx="96838" cy="157163"/>
            </a:xfrm>
            <a:custGeom>
              <a:avLst/>
              <a:gdLst>
                <a:gd name="T0" fmla="*/ 0 w 517"/>
                <a:gd name="T1" fmla="*/ 21 h 842"/>
                <a:gd name="T2" fmla="*/ 202 w 517"/>
                <a:gd name="T3" fmla="*/ 21 h 842"/>
                <a:gd name="T4" fmla="*/ 202 w 517"/>
                <a:gd name="T5" fmla="*/ 150 h 842"/>
                <a:gd name="T6" fmla="*/ 206 w 517"/>
                <a:gd name="T7" fmla="*/ 150 h 842"/>
                <a:gd name="T8" fmla="*/ 445 w 517"/>
                <a:gd name="T9" fmla="*/ 0 h 842"/>
                <a:gd name="T10" fmla="*/ 517 w 517"/>
                <a:gd name="T11" fmla="*/ 12 h 842"/>
                <a:gd name="T12" fmla="*/ 517 w 517"/>
                <a:gd name="T13" fmla="*/ 211 h 842"/>
                <a:gd name="T14" fmla="*/ 420 w 517"/>
                <a:gd name="T15" fmla="*/ 195 h 842"/>
                <a:gd name="T16" fmla="*/ 202 w 517"/>
                <a:gd name="T17" fmla="*/ 402 h 842"/>
                <a:gd name="T18" fmla="*/ 202 w 517"/>
                <a:gd name="T19" fmla="*/ 842 h 842"/>
                <a:gd name="T20" fmla="*/ 0 w 517"/>
                <a:gd name="T21" fmla="*/ 842 h 842"/>
                <a:gd name="T22" fmla="*/ 0 w 517"/>
                <a:gd name="T23"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7" h="842">
                  <a:moveTo>
                    <a:pt x="0" y="21"/>
                  </a:moveTo>
                  <a:cubicBezTo>
                    <a:pt x="202" y="21"/>
                    <a:pt x="202" y="21"/>
                    <a:pt x="202" y="21"/>
                  </a:cubicBezTo>
                  <a:cubicBezTo>
                    <a:pt x="202" y="150"/>
                    <a:pt x="202" y="150"/>
                    <a:pt x="202" y="150"/>
                  </a:cubicBezTo>
                  <a:cubicBezTo>
                    <a:pt x="206" y="150"/>
                    <a:pt x="206" y="150"/>
                    <a:pt x="206" y="150"/>
                  </a:cubicBezTo>
                  <a:cubicBezTo>
                    <a:pt x="250" y="57"/>
                    <a:pt x="339" y="0"/>
                    <a:pt x="445" y="0"/>
                  </a:cubicBezTo>
                  <a:cubicBezTo>
                    <a:pt x="471" y="0"/>
                    <a:pt x="494" y="5"/>
                    <a:pt x="517" y="12"/>
                  </a:cubicBezTo>
                  <a:cubicBezTo>
                    <a:pt x="517" y="211"/>
                    <a:pt x="517" y="211"/>
                    <a:pt x="517" y="211"/>
                  </a:cubicBezTo>
                  <a:cubicBezTo>
                    <a:pt x="483" y="202"/>
                    <a:pt x="452" y="195"/>
                    <a:pt x="420" y="195"/>
                  </a:cubicBezTo>
                  <a:cubicBezTo>
                    <a:pt x="230" y="195"/>
                    <a:pt x="202" y="358"/>
                    <a:pt x="202" y="402"/>
                  </a:cubicBezTo>
                  <a:cubicBezTo>
                    <a:pt x="202" y="842"/>
                    <a:pt x="202" y="842"/>
                    <a:pt x="202"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3" name="Freeform 59">
              <a:extLst>
                <a:ext uri="{FF2B5EF4-FFF2-40B4-BE49-F238E27FC236}">
                  <a16:creationId xmlns:a16="http://schemas.microsoft.com/office/drawing/2014/main" id="{D631A289-79D1-4DEE-A37E-F23443011D02}"/>
                </a:ext>
              </a:extLst>
            </p:cNvPr>
            <p:cNvSpPr>
              <a:spLocks noEditPoints="1"/>
            </p:cNvSpPr>
            <p:nvPr userDrawn="1"/>
          </p:nvSpPr>
          <p:spPr bwMode="ltGray">
            <a:xfrm>
              <a:off x="2082800" y="450850"/>
              <a:ext cx="163513" cy="242888"/>
            </a:xfrm>
            <a:custGeom>
              <a:avLst/>
              <a:gdLst>
                <a:gd name="T0" fmla="*/ 683 w 875"/>
                <a:gd name="T1" fmla="*/ 1157 h 1300"/>
                <a:gd name="T2" fmla="*/ 679 w 875"/>
                <a:gd name="T3" fmla="*/ 1157 h 1300"/>
                <a:gd name="T4" fmla="*/ 400 w 875"/>
                <a:gd name="T5" fmla="*/ 1300 h 1300"/>
                <a:gd name="T6" fmla="*/ 0 w 875"/>
                <a:gd name="T7" fmla="*/ 873 h 1300"/>
                <a:gd name="T8" fmla="*/ 392 w 875"/>
                <a:gd name="T9" fmla="*/ 447 h 1300"/>
                <a:gd name="T10" fmla="*/ 667 w 875"/>
                <a:gd name="T11" fmla="*/ 571 h 1300"/>
                <a:gd name="T12" fmla="*/ 672 w 875"/>
                <a:gd name="T13" fmla="*/ 571 h 1300"/>
                <a:gd name="T14" fmla="*/ 672 w 875"/>
                <a:gd name="T15" fmla="*/ 0 h 1300"/>
                <a:gd name="T16" fmla="*/ 875 w 875"/>
                <a:gd name="T17" fmla="*/ 0 h 1300"/>
                <a:gd name="T18" fmla="*/ 875 w 875"/>
                <a:gd name="T19" fmla="*/ 1280 h 1300"/>
                <a:gd name="T20" fmla="*/ 683 w 875"/>
                <a:gd name="T21" fmla="*/ 1280 h 1300"/>
                <a:gd name="T22" fmla="*/ 683 w 875"/>
                <a:gd name="T23" fmla="*/ 1157 h 1300"/>
                <a:gd name="T24" fmla="*/ 441 w 875"/>
                <a:gd name="T25" fmla="*/ 1116 h 1300"/>
                <a:gd name="T26" fmla="*/ 679 w 875"/>
                <a:gd name="T27" fmla="*/ 873 h 1300"/>
                <a:gd name="T28" fmla="*/ 441 w 875"/>
                <a:gd name="T29" fmla="*/ 629 h 1300"/>
                <a:gd name="T30" fmla="*/ 203 w 875"/>
                <a:gd name="T31" fmla="*/ 873 h 1300"/>
                <a:gd name="T32" fmla="*/ 441 w 875"/>
                <a:gd name="T33" fmla="*/ 11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5" h="1300">
                  <a:moveTo>
                    <a:pt x="683" y="1157"/>
                  </a:moveTo>
                  <a:cubicBezTo>
                    <a:pt x="679" y="1157"/>
                    <a:pt x="679" y="1157"/>
                    <a:pt x="679" y="1157"/>
                  </a:cubicBezTo>
                  <a:cubicBezTo>
                    <a:pt x="620" y="1255"/>
                    <a:pt x="513" y="1300"/>
                    <a:pt x="400" y="1300"/>
                  </a:cubicBezTo>
                  <a:cubicBezTo>
                    <a:pt x="151" y="1300"/>
                    <a:pt x="0" y="1114"/>
                    <a:pt x="0" y="873"/>
                  </a:cubicBezTo>
                  <a:cubicBezTo>
                    <a:pt x="0" y="633"/>
                    <a:pt x="160" y="447"/>
                    <a:pt x="392" y="447"/>
                  </a:cubicBezTo>
                  <a:cubicBezTo>
                    <a:pt x="544" y="447"/>
                    <a:pt x="625" y="518"/>
                    <a:pt x="667" y="571"/>
                  </a:cubicBezTo>
                  <a:cubicBezTo>
                    <a:pt x="672" y="571"/>
                    <a:pt x="672" y="571"/>
                    <a:pt x="672" y="571"/>
                  </a:cubicBezTo>
                  <a:cubicBezTo>
                    <a:pt x="672" y="0"/>
                    <a:pt x="672" y="0"/>
                    <a:pt x="672" y="0"/>
                  </a:cubicBezTo>
                  <a:cubicBezTo>
                    <a:pt x="875" y="0"/>
                    <a:pt x="875" y="0"/>
                    <a:pt x="875" y="0"/>
                  </a:cubicBezTo>
                  <a:cubicBezTo>
                    <a:pt x="875" y="1280"/>
                    <a:pt x="875" y="1280"/>
                    <a:pt x="875" y="1280"/>
                  </a:cubicBezTo>
                  <a:cubicBezTo>
                    <a:pt x="683" y="1280"/>
                    <a:pt x="683" y="1280"/>
                    <a:pt x="683" y="1280"/>
                  </a:cubicBezTo>
                  <a:lnTo>
                    <a:pt x="683" y="1157"/>
                  </a:lnTo>
                  <a:close/>
                  <a:moveTo>
                    <a:pt x="441" y="1116"/>
                  </a:moveTo>
                  <a:cubicBezTo>
                    <a:pt x="589" y="1116"/>
                    <a:pt x="679" y="1001"/>
                    <a:pt x="679" y="873"/>
                  </a:cubicBezTo>
                  <a:cubicBezTo>
                    <a:pt x="679" y="746"/>
                    <a:pt x="589" y="629"/>
                    <a:pt x="441" y="629"/>
                  </a:cubicBezTo>
                  <a:cubicBezTo>
                    <a:pt x="292" y="629"/>
                    <a:pt x="203" y="746"/>
                    <a:pt x="203" y="873"/>
                  </a:cubicBezTo>
                  <a:cubicBezTo>
                    <a:pt x="203" y="1001"/>
                    <a:pt x="292" y="1116"/>
                    <a:pt x="441" y="1116"/>
                  </a:cubicBez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4" name="Freeform 60">
              <a:extLst>
                <a:ext uri="{FF2B5EF4-FFF2-40B4-BE49-F238E27FC236}">
                  <a16:creationId xmlns:a16="http://schemas.microsoft.com/office/drawing/2014/main" id="{3DD2871F-37DF-4206-87CE-46715E9EFAB6}"/>
                </a:ext>
              </a:extLst>
            </p:cNvPr>
            <p:cNvSpPr>
              <a:spLocks noEditPoints="1"/>
            </p:cNvSpPr>
            <p:nvPr userDrawn="1"/>
          </p:nvSpPr>
          <p:spPr bwMode="ltGray">
            <a:xfrm>
              <a:off x="2279650" y="533400"/>
              <a:ext cx="139700" cy="160338"/>
            </a:xfrm>
            <a:custGeom>
              <a:avLst/>
              <a:gdLst>
                <a:gd name="T0" fmla="*/ 566 w 750"/>
                <a:gd name="T1" fmla="*/ 726 h 859"/>
                <a:gd name="T2" fmla="*/ 562 w 750"/>
                <a:gd name="T3" fmla="*/ 726 h 859"/>
                <a:gd name="T4" fmla="*/ 299 w 750"/>
                <a:gd name="T5" fmla="*/ 859 h 859"/>
                <a:gd name="T6" fmla="*/ 0 w 750"/>
                <a:gd name="T7" fmla="*/ 613 h 859"/>
                <a:gd name="T8" fmla="*/ 515 w 750"/>
                <a:gd name="T9" fmla="*/ 329 h 859"/>
                <a:gd name="T10" fmla="*/ 566 w 750"/>
                <a:gd name="T11" fmla="*/ 329 h 859"/>
                <a:gd name="T12" fmla="*/ 566 w 750"/>
                <a:gd name="T13" fmla="*/ 307 h 859"/>
                <a:gd name="T14" fmla="*/ 379 w 750"/>
                <a:gd name="T15" fmla="*/ 153 h 859"/>
                <a:gd name="T16" fmla="*/ 160 w 750"/>
                <a:gd name="T17" fmla="*/ 239 h 859"/>
                <a:gd name="T18" fmla="*/ 53 w 750"/>
                <a:gd name="T19" fmla="*/ 131 h 859"/>
                <a:gd name="T20" fmla="*/ 400 w 750"/>
                <a:gd name="T21" fmla="*/ 0 h 859"/>
                <a:gd name="T22" fmla="*/ 750 w 750"/>
                <a:gd name="T23" fmla="*/ 369 h 859"/>
                <a:gd name="T24" fmla="*/ 750 w 750"/>
                <a:gd name="T25" fmla="*/ 839 h 859"/>
                <a:gd name="T26" fmla="*/ 566 w 750"/>
                <a:gd name="T27" fmla="*/ 839 h 859"/>
                <a:gd name="T28" fmla="*/ 566 w 750"/>
                <a:gd name="T29" fmla="*/ 726 h 859"/>
                <a:gd name="T30" fmla="*/ 555 w 750"/>
                <a:gd name="T31" fmla="*/ 472 h 859"/>
                <a:gd name="T32" fmla="*/ 512 w 750"/>
                <a:gd name="T33" fmla="*/ 472 h 859"/>
                <a:gd name="T34" fmla="*/ 205 w 750"/>
                <a:gd name="T35" fmla="*/ 598 h 859"/>
                <a:gd name="T36" fmla="*/ 347 w 750"/>
                <a:gd name="T37" fmla="*/ 706 h 859"/>
                <a:gd name="T38" fmla="*/ 555 w 750"/>
                <a:gd name="T39" fmla="*/ 518 h 859"/>
                <a:gd name="T40" fmla="*/ 555 w 750"/>
                <a:gd name="T41" fmla="*/ 472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0" h="859">
                  <a:moveTo>
                    <a:pt x="566" y="726"/>
                  </a:moveTo>
                  <a:cubicBezTo>
                    <a:pt x="562" y="726"/>
                    <a:pt x="562" y="726"/>
                    <a:pt x="562" y="726"/>
                  </a:cubicBezTo>
                  <a:cubicBezTo>
                    <a:pt x="503" y="818"/>
                    <a:pt x="408" y="859"/>
                    <a:pt x="299" y="859"/>
                  </a:cubicBezTo>
                  <a:cubicBezTo>
                    <a:pt x="147" y="859"/>
                    <a:pt x="0" y="775"/>
                    <a:pt x="0" y="613"/>
                  </a:cubicBezTo>
                  <a:cubicBezTo>
                    <a:pt x="0" y="347"/>
                    <a:pt x="311" y="329"/>
                    <a:pt x="515" y="329"/>
                  </a:cubicBezTo>
                  <a:cubicBezTo>
                    <a:pt x="566" y="329"/>
                    <a:pt x="566" y="329"/>
                    <a:pt x="566" y="329"/>
                  </a:cubicBezTo>
                  <a:cubicBezTo>
                    <a:pt x="566" y="307"/>
                    <a:pt x="566" y="307"/>
                    <a:pt x="566" y="307"/>
                  </a:cubicBezTo>
                  <a:cubicBezTo>
                    <a:pt x="566" y="206"/>
                    <a:pt x="488" y="153"/>
                    <a:pt x="379" y="153"/>
                  </a:cubicBezTo>
                  <a:cubicBezTo>
                    <a:pt x="293" y="153"/>
                    <a:pt x="214" y="187"/>
                    <a:pt x="160" y="239"/>
                  </a:cubicBezTo>
                  <a:cubicBezTo>
                    <a:pt x="53" y="131"/>
                    <a:pt x="53" y="131"/>
                    <a:pt x="53" y="131"/>
                  </a:cubicBezTo>
                  <a:cubicBezTo>
                    <a:pt x="144" y="39"/>
                    <a:pt x="271" y="0"/>
                    <a:pt x="400" y="0"/>
                  </a:cubicBezTo>
                  <a:cubicBezTo>
                    <a:pt x="750" y="0"/>
                    <a:pt x="750" y="252"/>
                    <a:pt x="750" y="369"/>
                  </a:cubicBezTo>
                  <a:cubicBezTo>
                    <a:pt x="750" y="839"/>
                    <a:pt x="750" y="839"/>
                    <a:pt x="750" y="839"/>
                  </a:cubicBezTo>
                  <a:cubicBezTo>
                    <a:pt x="566" y="839"/>
                    <a:pt x="566" y="839"/>
                    <a:pt x="566" y="839"/>
                  </a:cubicBezTo>
                  <a:lnTo>
                    <a:pt x="566" y="726"/>
                  </a:lnTo>
                  <a:close/>
                  <a:moveTo>
                    <a:pt x="555" y="472"/>
                  </a:moveTo>
                  <a:cubicBezTo>
                    <a:pt x="512" y="472"/>
                    <a:pt x="512" y="472"/>
                    <a:pt x="512" y="472"/>
                  </a:cubicBezTo>
                  <a:cubicBezTo>
                    <a:pt x="399" y="472"/>
                    <a:pt x="205" y="480"/>
                    <a:pt x="205" y="598"/>
                  </a:cubicBezTo>
                  <a:cubicBezTo>
                    <a:pt x="205" y="673"/>
                    <a:pt x="282" y="706"/>
                    <a:pt x="347" y="706"/>
                  </a:cubicBezTo>
                  <a:cubicBezTo>
                    <a:pt x="488" y="706"/>
                    <a:pt x="555" y="632"/>
                    <a:pt x="555" y="518"/>
                  </a:cubicBezTo>
                  <a:lnTo>
                    <a:pt x="555" y="472"/>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5" name="Freeform 61">
              <a:extLst>
                <a:ext uri="{FF2B5EF4-FFF2-40B4-BE49-F238E27FC236}">
                  <a16:creationId xmlns:a16="http://schemas.microsoft.com/office/drawing/2014/main" id="{28C5B83D-471B-4E36-AF30-F8E4A4B12E42}"/>
                </a:ext>
              </a:extLst>
            </p:cNvPr>
            <p:cNvSpPr>
              <a:spLocks/>
            </p:cNvSpPr>
            <p:nvPr userDrawn="1"/>
          </p:nvSpPr>
          <p:spPr bwMode="ltGray">
            <a:xfrm>
              <a:off x="2459038" y="533400"/>
              <a:ext cx="236538" cy="157163"/>
            </a:xfrm>
            <a:custGeom>
              <a:avLst/>
              <a:gdLst>
                <a:gd name="T0" fmla="*/ 0 w 1267"/>
                <a:gd name="T1" fmla="*/ 21 h 842"/>
                <a:gd name="T2" fmla="*/ 194 w 1267"/>
                <a:gd name="T3" fmla="*/ 21 h 842"/>
                <a:gd name="T4" fmla="*/ 194 w 1267"/>
                <a:gd name="T5" fmla="*/ 149 h 842"/>
                <a:gd name="T6" fmla="*/ 198 w 1267"/>
                <a:gd name="T7" fmla="*/ 149 h 842"/>
                <a:gd name="T8" fmla="*/ 448 w 1267"/>
                <a:gd name="T9" fmla="*/ 0 h 842"/>
                <a:gd name="T10" fmla="*/ 703 w 1267"/>
                <a:gd name="T11" fmla="*/ 153 h 842"/>
                <a:gd name="T12" fmla="*/ 972 w 1267"/>
                <a:gd name="T13" fmla="*/ 0 h 842"/>
                <a:gd name="T14" fmla="*/ 1267 w 1267"/>
                <a:gd name="T15" fmla="*/ 352 h 842"/>
                <a:gd name="T16" fmla="*/ 1267 w 1267"/>
                <a:gd name="T17" fmla="*/ 842 h 842"/>
                <a:gd name="T18" fmla="*/ 1063 w 1267"/>
                <a:gd name="T19" fmla="*/ 842 h 842"/>
                <a:gd name="T20" fmla="*/ 1063 w 1267"/>
                <a:gd name="T21" fmla="*/ 377 h 842"/>
                <a:gd name="T22" fmla="*/ 911 w 1267"/>
                <a:gd name="T23" fmla="*/ 185 h 842"/>
                <a:gd name="T24" fmla="*/ 736 w 1267"/>
                <a:gd name="T25" fmla="*/ 397 h 842"/>
                <a:gd name="T26" fmla="*/ 736 w 1267"/>
                <a:gd name="T27" fmla="*/ 842 h 842"/>
                <a:gd name="T28" fmla="*/ 532 w 1267"/>
                <a:gd name="T29" fmla="*/ 842 h 842"/>
                <a:gd name="T30" fmla="*/ 532 w 1267"/>
                <a:gd name="T31" fmla="*/ 352 h 842"/>
                <a:gd name="T32" fmla="*/ 392 w 1267"/>
                <a:gd name="T33" fmla="*/ 185 h 842"/>
                <a:gd name="T34" fmla="*/ 205 w 1267"/>
                <a:gd name="T35" fmla="*/ 394 h 842"/>
                <a:gd name="T36" fmla="*/ 205 w 1267"/>
                <a:gd name="T37" fmla="*/ 842 h 842"/>
                <a:gd name="T38" fmla="*/ 0 w 1267"/>
                <a:gd name="T39" fmla="*/ 842 h 842"/>
                <a:gd name="T40" fmla="*/ 0 w 1267"/>
                <a:gd name="T41"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7" h="842">
                  <a:moveTo>
                    <a:pt x="0" y="21"/>
                  </a:moveTo>
                  <a:cubicBezTo>
                    <a:pt x="194" y="21"/>
                    <a:pt x="194" y="21"/>
                    <a:pt x="194" y="21"/>
                  </a:cubicBezTo>
                  <a:cubicBezTo>
                    <a:pt x="194" y="149"/>
                    <a:pt x="194" y="149"/>
                    <a:pt x="194" y="149"/>
                  </a:cubicBezTo>
                  <a:cubicBezTo>
                    <a:pt x="198" y="149"/>
                    <a:pt x="198" y="149"/>
                    <a:pt x="198" y="149"/>
                  </a:cubicBezTo>
                  <a:cubicBezTo>
                    <a:pt x="234" y="72"/>
                    <a:pt x="312" y="0"/>
                    <a:pt x="448" y="0"/>
                  </a:cubicBezTo>
                  <a:cubicBezTo>
                    <a:pt x="574" y="0"/>
                    <a:pt x="661" y="50"/>
                    <a:pt x="703" y="153"/>
                  </a:cubicBezTo>
                  <a:cubicBezTo>
                    <a:pt x="763" y="48"/>
                    <a:pt x="850" y="0"/>
                    <a:pt x="972" y="0"/>
                  </a:cubicBezTo>
                  <a:cubicBezTo>
                    <a:pt x="1191" y="0"/>
                    <a:pt x="1267" y="156"/>
                    <a:pt x="1267" y="352"/>
                  </a:cubicBezTo>
                  <a:cubicBezTo>
                    <a:pt x="1267" y="842"/>
                    <a:pt x="1267" y="842"/>
                    <a:pt x="1267" y="842"/>
                  </a:cubicBezTo>
                  <a:cubicBezTo>
                    <a:pt x="1063" y="842"/>
                    <a:pt x="1063" y="842"/>
                    <a:pt x="1063" y="842"/>
                  </a:cubicBezTo>
                  <a:cubicBezTo>
                    <a:pt x="1063" y="377"/>
                    <a:pt x="1063" y="377"/>
                    <a:pt x="1063" y="377"/>
                  </a:cubicBezTo>
                  <a:cubicBezTo>
                    <a:pt x="1063" y="274"/>
                    <a:pt x="1032" y="185"/>
                    <a:pt x="911" y="185"/>
                  </a:cubicBezTo>
                  <a:cubicBezTo>
                    <a:pt x="783" y="185"/>
                    <a:pt x="736" y="291"/>
                    <a:pt x="736" y="397"/>
                  </a:cubicBezTo>
                  <a:cubicBezTo>
                    <a:pt x="736" y="842"/>
                    <a:pt x="736" y="842"/>
                    <a:pt x="736" y="842"/>
                  </a:cubicBezTo>
                  <a:cubicBezTo>
                    <a:pt x="532" y="842"/>
                    <a:pt x="532" y="842"/>
                    <a:pt x="532" y="842"/>
                  </a:cubicBezTo>
                  <a:cubicBezTo>
                    <a:pt x="532" y="352"/>
                    <a:pt x="532" y="352"/>
                    <a:pt x="532" y="352"/>
                  </a:cubicBezTo>
                  <a:cubicBezTo>
                    <a:pt x="532" y="252"/>
                    <a:pt x="490" y="185"/>
                    <a:pt x="392" y="185"/>
                  </a:cubicBezTo>
                  <a:cubicBezTo>
                    <a:pt x="258" y="185"/>
                    <a:pt x="205" y="284"/>
                    <a:pt x="205" y="394"/>
                  </a:cubicBezTo>
                  <a:cubicBezTo>
                    <a:pt x="205" y="842"/>
                    <a:pt x="205" y="842"/>
                    <a:pt x="205"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grpSp>
      <p:grpSp>
        <p:nvGrpSpPr>
          <p:cNvPr id="47" name="Group 46">
            <a:extLst>
              <a:ext uri="{FF2B5EF4-FFF2-40B4-BE49-F238E27FC236}">
                <a16:creationId xmlns:a16="http://schemas.microsoft.com/office/drawing/2014/main" id="{1F962ECB-3A1A-44FE-818D-CB9B4A34412E}"/>
              </a:ext>
            </a:extLst>
          </p:cNvPr>
          <p:cNvGrpSpPr>
            <a:grpSpLocks/>
          </p:cNvGrpSpPr>
          <p:nvPr userDrawn="1"/>
        </p:nvGrpSpPr>
        <p:grpSpPr bwMode="ltGray">
          <a:xfrm>
            <a:off x="233258" y="106904"/>
            <a:ext cx="426000" cy="1448052"/>
            <a:chOff x="177800" y="104775"/>
            <a:chExt cx="417513" cy="1419225"/>
          </a:xfrm>
          <a:solidFill>
            <a:schemeClr val="tx2"/>
          </a:solidFill>
        </p:grpSpPr>
        <p:sp>
          <p:nvSpPr>
            <p:cNvPr id="48" name="Freeform 42">
              <a:extLst>
                <a:ext uri="{FF2B5EF4-FFF2-40B4-BE49-F238E27FC236}">
                  <a16:creationId xmlns:a16="http://schemas.microsoft.com/office/drawing/2014/main" id="{133798F6-4EEC-435A-9713-7BFDDC5FFB74}"/>
                </a:ext>
              </a:extLst>
            </p:cNvPr>
            <p:cNvSpPr>
              <a:spLocks/>
            </p:cNvSpPr>
            <p:nvPr userDrawn="1"/>
          </p:nvSpPr>
          <p:spPr bwMode="ltGray">
            <a:xfrm>
              <a:off x="177800" y="1108075"/>
              <a:ext cx="417513" cy="415925"/>
            </a:xfrm>
            <a:custGeom>
              <a:avLst/>
              <a:gdLst>
                <a:gd name="T0" fmla="*/ 0 w 263"/>
                <a:gd name="T1" fmla="*/ 209 h 262"/>
                <a:gd name="T2" fmla="*/ 80 w 263"/>
                <a:gd name="T3" fmla="*/ 131 h 262"/>
                <a:gd name="T4" fmla="*/ 0 w 263"/>
                <a:gd name="T5" fmla="*/ 52 h 262"/>
                <a:gd name="T6" fmla="*/ 53 w 263"/>
                <a:gd name="T7" fmla="*/ 0 h 262"/>
                <a:gd name="T8" fmla="*/ 132 w 263"/>
                <a:gd name="T9" fmla="*/ 78 h 262"/>
                <a:gd name="T10" fmla="*/ 210 w 263"/>
                <a:gd name="T11" fmla="*/ 0 h 262"/>
                <a:gd name="T12" fmla="*/ 263 w 263"/>
                <a:gd name="T13" fmla="*/ 52 h 262"/>
                <a:gd name="T14" fmla="*/ 185 w 263"/>
                <a:gd name="T15" fmla="*/ 131 h 262"/>
                <a:gd name="T16" fmla="*/ 263 w 263"/>
                <a:gd name="T17" fmla="*/ 209 h 262"/>
                <a:gd name="T18" fmla="*/ 210 w 263"/>
                <a:gd name="T19" fmla="*/ 262 h 262"/>
                <a:gd name="T20" fmla="*/ 132 w 263"/>
                <a:gd name="T21" fmla="*/ 183 h 262"/>
                <a:gd name="T22" fmla="*/ 53 w 263"/>
                <a:gd name="T23" fmla="*/ 262 h 262"/>
                <a:gd name="T24" fmla="*/ 0 w 263"/>
                <a:gd name="T25" fmla="*/ 20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2">
                  <a:moveTo>
                    <a:pt x="0" y="209"/>
                  </a:moveTo>
                  <a:lnTo>
                    <a:pt x="80" y="131"/>
                  </a:lnTo>
                  <a:lnTo>
                    <a:pt x="0" y="52"/>
                  </a:lnTo>
                  <a:lnTo>
                    <a:pt x="53" y="0"/>
                  </a:lnTo>
                  <a:lnTo>
                    <a:pt x="132" y="78"/>
                  </a:lnTo>
                  <a:lnTo>
                    <a:pt x="210" y="0"/>
                  </a:lnTo>
                  <a:lnTo>
                    <a:pt x="263" y="52"/>
                  </a:lnTo>
                  <a:lnTo>
                    <a:pt x="185" y="131"/>
                  </a:lnTo>
                  <a:lnTo>
                    <a:pt x="263" y="209"/>
                  </a:lnTo>
                  <a:lnTo>
                    <a:pt x="210" y="262"/>
                  </a:lnTo>
                  <a:lnTo>
                    <a:pt x="132" y="183"/>
                  </a:lnTo>
                  <a:lnTo>
                    <a:pt x="53" y="262"/>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49" name="Freeform 43">
              <a:extLst>
                <a:ext uri="{FF2B5EF4-FFF2-40B4-BE49-F238E27FC236}">
                  <a16:creationId xmlns:a16="http://schemas.microsoft.com/office/drawing/2014/main" id="{8E16C36D-5041-4E7E-A415-3F2271D253D9}"/>
                </a:ext>
              </a:extLst>
            </p:cNvPr>
            <p:cNvSpPr>
              <a:spLocks/>
            </p:cNvSpPr>
            <p:nvPr userDrawn="1"/>
          </p:nvSpPr>
          <p:spPr bwMode="ltGray">
            <a:xfrm>
              <a:off x="177800" y="104775"/>
              <a:ext cx="417513" cy="417513"/>
            </a:xfrm>
            <a:custGeom>
              <a:avLst/>
              <a:gdLst>
                <a:gd name="T0" fmla="*/ 0 w 263"/>
                <a:gd name="T1" fmla="*/ 211 h 263"/>
                <a:gd name="T2" fmla="*/ 80 w 263"/>
                <a:gd name="T3" fmla="*/ 132 h 263"/>
                <a:gd name="T4" fmla="*/ 0 w 263"/>
                <a:gd name="T5" fmla="*/ 53 h 263"/>
                <a:gd name="T6" fmla="*/ 53 w 263"/>
                <a:gd name="T7" fmla="*/ 0 h 263"/>
                <a:gd name="T8" fmla="*/ 132 w 263"/>
                <a:gd name="T9" fmla="*/ 80 h 263"/>
                <a:gd name="T10" fmla="*/ 210 w 263"/>
                <a:gd name="T11" fmla="*/ 0 h 263"/>
                <a:gd name="T12" fmla="*/ 263 w 263"/>
                <a:gd name="T13" fmla="*/ 53 h 263"/>
                <a:gd name="T14" fmla="*/ 185 w 263"/>
                <a:gd name="T15" fmla="*/ 132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2"/>
                  </a:lnTo>
                  <a:lnTo>
                    <a:pt x="0" y="53"/>
                  </a:lnTo>
                  <a:lnTo>
                    <a:pt x="53" y="0"/>
                  </a:lnTo>
                  <a:lnTo>
                    <a:pt x="132" y="80"/>
                  </a:lnTo>
                  <a:lnTo>
                    <a:pt x="210" y="0"/>
                  </a:lnTo>
                  <a:lnTo>
                    <a:pt x="263" y="53"/>
                  </a:lnTo>
                  <a:lnTo>
                    <a:pt x="185" y="132"/>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50" name="Freeform 44">
              <a:extLst>
                <a:ext uri="{FF2B5EF4-FFF2-40B4-BE49-F238E27FC236}">
                  <a16:creationId xmlns:a16="http://schemas.microsoft.com/office/drawing/2014/main" id="{F926A661-97B8-4B43-9A12-C9C8083A5839}"/>
                </a:ext>
              </a:extLst>
            </p:cNvPr>
            <p:cNvSpPr>
              <a:spLocks/>
            </p:cNvSpPr>
            <p:nvPr userDrawn="1"/>
          </p:nvSpPr>
          <p:spPr bwMode="ltGray">
            <a:xfrm>
              <a:off x="177800" y="606425"/>
              <a:ext cx="417513" cy="417513"/>
            </a:xfrm>
            <a:custGeom>
              <a:avLst/>
              <a:gdLst>
                <a:gd name="T0" fmla="*/ 0 w 263"/>
                <a:gd name="T1" fmla="*/ 211 h 263"/>
                <a:gd name="T2" fmla="*/ 80 w 263"/>
                <a:gd name="T3" fmla="*/ 131 h 263"/>
                <a:gd name="T4" fmla="*/ 0 w 263"/>
                <a:gd name="T5" fmla="*/ 53 h 263"/>
                <a:gd name="T6" fmla="*/ 53 w 263"/>
                <a:gd name="T7" fmla="*/ 0 h 263"/>
                <a:gd name="T8" fmla="*/ 132 w 263"/>
                <a:gd name="T9" fmla="*/ 79 h 263"/>
                <a:gd name="T10" fmla="*/ 210 w 263"/>
                <a:gd name="T11" fmla="*/ 0 h 263"/>
                <a:gd name="T12" fmla="*/ 263 w 263"/>
                <a:gd name="T13" fmla="*/ 53 h 263"/>
                <a:gd name="T14" fmla="*/ 185 w 263"/>
                <a:gd name="T15" fmla="*/ 131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1"/>
                  </a:lnTo>
                  <a:lnTo>
                    <a:pt x="0" y="53"/>
                  </a:lnTo>
                  <a:lnTo>
                    <a:pt x="53" y="0"/>
                  </a:lnTo>
                  <a:lnTo>
                    <a:pt x="132" y="79"/>
                  </a:lnTo>
                  <a:lnTo>
                    <a:pt x="210" y="0"/>
                  </a:lnTo>
                  <a:lnTo>
                    <a:pt x="263" y="53"/>
                  </a:lnTo>
                  <a:lnTo>
                    <a:pt x="185" y="131"/>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grpSp>
    </p:spTree>
    <p:extLst>
      <p:ext uri="{BB962C8B-B14F-4D97-AF65-F5344CB8AC3E}">
        <p14:creationId xmlns:p14="http://schemas.microsoft.com/office/powerpoint/2010/main" val="123661577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51189184"/>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F24D61-5313-4F14-A557-902DE0AAEE23}"/>
              </a:ext>
            </a:extLst>
          </p:cNvPr>
          <p:cNvSpPr/>
          <p:nvPr userDrawn="1">
            <p:custDataLst>
              <p:tags r:id="rId2"/>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5" name="Title Placeholder 2">
            <a:extLst>
              <a:ext uri="{FF2B5EF4-FFF2-40B4-BE49-F238E27FC236}">
                <a16:creationId xmlns:a16="http://schemas.microsoft.com/office/drawing/2014/main" id="{1CF00FC1-77FF-48FD-8945-D432EB9754D9}"/>
              </a:ext>
            </a:extLst>
          </p:cNvPr>
          <p:cNvSpPr>
            <a:spLocks noGrp="1" noChangeArrowheads="1"/>
          </p:cNvSpPr>
          <p:nvPr>
            <p:ph type="title"/>
          </p:nvPr>
        </p:nvSpPr>
        <p:spPr bwMode="gray">
          <a:xfrm>
            <a:off x="839041" y="283037"/>
            <a:ext cx="1111970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tabLst>
                <a:tab pos="549088" algn="l"/>
              </a:tabLst>
              <a:defRPr/>
            </a:lvl1pPr>
          </a:lstStyle>
          <a:p>
            <a:pPr lvl="0"/>
            <a:r>
              <a:rPr lang="nl-NL" noProof="0" dirty="0"/>
              <a:t>Click to edit Master title style</a:t>
            </a:r>
          </a:p>
        </p:txBody>
      </p:sp>
    </p:spTree>
    <p:extLst>
      <p:ext uri="{BB962C8B-B14F-4D97-AF65-F5344CB8AC3E}">
        <p14:creationId xmlns:p14="http://schemas.microsoft.com/office/powerpoint/2010/main" val="360570789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5BE47-2A2B-43B2-A85F-74DF39EFD07D}"/>
              </a:ext>
            </a:extLst>
          </p:cNvPr>
          <p:cNvGraphicFramePr>
            <a:graphicFrameLocks noChangeAspect="1"/>
          </p:cNvGraphicFramePr>
          <p:nvPr userDrawn="1">
            <p:custDataLst>
              <p:tags r:id="rId1"/>
            </p:custDataLst>
            <p:extLst>
              <p:ext uri="{D42A27DB-BD31-4B8C-83A1-F6EECF244321}">
                <p14:modId xmlns:p14="http://schemas.microsoft.com/office/powerpoint/2010/main" val="680022561"/>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4" name="Object 3" hidden="1">
                        <a:extLst>
                          <a:ext uri="{FF2B5EF4-FFF2-40B4-BE49-F238E27FC236}">
                            <a16:creationId xmlns:a16="http://schemas.microsoft.com/office/drawing/2014/main" id="{E055BE47-2A2B-43B2-A85F-74DF39EFD07D}"/>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90D1DBB-A7F0-4A4F-96ED-21071423E3AB}"/>
              </a:ext>
            </a:extLst>
          </p:cNvPr>
          <p:cNvSpPr/>
          <p:nvPr userDrawn="1">
            <p:custDataLst>
              <p:tags r:id="rId2"/>
            </p:custDataLst>
          </p:nvPr>
        </p:nvSpPr>
        <p:spPr>
          <a:xfrm>
            <a:off x="0" y="0"/>
            <a:ext cx="161977" cy="16197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2" name="Title 1">
            <a:extLst>
              <a:ext uri="{FF2B5EF4-FFF2-40B4-BE49-F238E27FC236}">
                <a16:creationId xmlns:a16="http://schemas.microsoft.com/office/drawing/2014/main" id="{9734B9BF-C3B0-4969-8EE3-D3897CB3D972}"/>
              </a:ext>
            </a:extLst>
          </p:cNvPr>
          <p:cNvSpPr>
            <a:spLocks noGrp="1"/>
          </p:cNvSpPr>
          <p:nvPr>
            <p:ph type="title"/>
          </p:nvPr>
        </p:nvSpPr>
        <p:spPr/>
        <p:txBody>
          <a:bodyPr/>
          <a:lstStyle/>
          <a:p>
            <a:r>
              <a:rPr lang="nl-NL" dirty="0"/>
              <a:t>Click to edit Master title style</a:t>
            </a:r>
          </a:p>
        </p:txBody>
      </p:sp>
    </p:spTree>
    <p:extLst>
      <p:ext uri="{BB962C8B-B14F-4D97-AF65-F5344CB8AC3E}">
        <p14:creationId xmlns:p14="http://schemas.microsoft.com/office/powerpoint/2010/main" val="192816544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itle" preserve="1">
  <p:cSld name="Titeldia met ruimte voor eigen foto">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0" name="Rechthoek 29"/>
          <p:cNvSpPr>
            <a:spLocks noSelect="1"/>
          </p:cNvSpPr>
          <p:nvPr userDrawn="1"/>
        </p:nvSpPr>
        <p:spPr bwMode="white">
          <a:xfrm>
            <a:off x="0" y="0"/>
            <a:ext cx="1051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dirty="0"/>
          </a:p>
        </p:txBody>
      </p:sp>
      <p:grpSp>
        <p:nvGrpSpPr>
          <p:cNvPr id="5" name="Groep 8"/>
          <p:cNvGrpSpPr>
            <a:grpSpLocks noSelect="1"/>
          </p:cNvGrpSpPr>
          <p:nvPr userDrawn="1"/>
        </p:nvGrpSpPr>
        <p:grpSpPr bwMode="black">
          <a:xfrm>
            <a:off x="243417" y="108649"/>
            <a:ext cx="3418416" cy="1447800"/>
            <a:chOff x="182563" y="163513"/>
            <a:chExt cx="2563812" cy="1447800"/>
          </a:xfrm>
        </p:grpSpPr>
        <p:sp>
          <p:nvSpPr>
            <p:cNvPr id="10" name="Freeform 7"/>
            <p:cNvSpPr>
              <a:spLocks noSelect="1"/>
            </p:cNvSpPr>
            <p:nvPr/>
          </p:nvSpPr>
          <p:spPr bwMode="black">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1" name="Freeform 8"/>
            <p:cNvSpPr>
              <a:spLocks noSelect="1"/>
            </p:cNvSpPr>
            <p:nvPr/>
          </p:nvSpPr>
          <p:spPr bwMode="black">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2" name="Freeform 9"/>
            <p:cNvSpPr>
              <a:spLocks noSelect="1"/>
            </p:cNvSpPr>
            <p:nvPr/>
          </p:nvSpPr>
          <p:spPr bwMode="black">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3" name="Freeform 10"/>
            <p:cNvSpPr>
              <a:spLocks noSelect="1"/>
            </p:cNvSpPr>
            <p:nvPr/>
          </p:nvSpPr>
          <p:spPr bwMode="black">
            <a:xfrm>
              <a:off x="1031875" y="184151"/>
              <a:ext cx="214313" cy="241300"/>
            </a:xfrm>
            <a:custGeom>
              <a:avLst/>
              <a:gdLst/>
              <a:ahLst/>
              <a:cxnLst>
                <a:cxn ang="0">
                  <a:pos x="966" y="976"/>
                </a:cxn>
                <a:cxn ang="0">
                  <a:pos x="542" y="1077"/>
                </a:cxn>
                <a:cxn ang="0">
                  <a:pos x="0" y="543"/>
                </a:cxn>
                <a:cxn ang="0">
                  <a:pos x="542" y="0"/>
                </a:cxn>
                <a:cxn ang="0">
                  <a:pos x="946" y="129"/>
                </a:cxn>
                <a:cxn ang="0">
                  <a:pos x="811" y="265"/>
                </a:cxn>
                <a:cxn ang="0">
                  <a:pos x="543" y="165"/>
                </a:cxn>
                <a:cxn ang="0">
                  <a:pos x="191" y="531"/>
                </a:cxn>
                <a:cxn ang="0">
                  <a:pos x="543" y="912"/>
                </a:cxn>
                <a:cxn ang="0">
                  <a:pos x="784" y="859"/>
                </a:cxn>
                <a:cxn ang="0">
                  <a:pos x="784" y="617"/>
                </a:cxn>
                <a:cxn ang="0">
                  <a:pos x="574" y="617"/>
                </a:cxn>
                <a:cxn ang="0">
                  <a:pos x="574" y="452"/>
                </a:cxn>
                <a:cxn ang="0">
                  <a:pos x="966" y="452"/>
                </a:cxn>
                <a:cxn ang="0">
                  <a:pos x="966" y="976"/>
                </a:cxn>
              </a:cxnLst>
              <a:rect l="0" t="0" r="r" b="b"/>
              <a:pathLst>
                <a:path w="966" h="1077">
                  <a:moveTo>
                    <a:pt x="966" y="976"/>
                  </a:moveTo>
                  <a:cubicBezTo>
                    <a:pt x="842" y="1043"/>
                    <a:pt x="700" y="1077"/>
                    <a:pt x="542" y="1077"/>
                  </a:cubicBezTo>
                  <a:cubicBezTo>
                    <a:pt x="226" y="1077"/>
                    <a:pt x="0" y="863"/>
                    <a:pt x="0" y="543"/>
                  </a:cubicBezTo>
                  <a:cubicBezTo>
                    <a:pt x="0" y="214"/>
                    <a:pt x="226" y="0"/>
                    <a:pt x="542" y="0"/>
                  </a:cubicBezTo>
                  <a:cubicBezTo>
                    <a:pt x="698" y="0"/>
                    <a:pt x="839" y="33"/>
                    <a:pt x="946" y="129"/>
                  </a:cubicBezTo>
                  <a:cubicBezTo>
                    <a:pt x="811" y="265"/>
                    <a:pt x="811" y="265"/>
                    <a:pt x="811" y="265"/>
                  </a:cubicBezTo>
                  <a:cubicBezTo>
                    <a:pt x="746" y="201"/>
                    <a:pt x="646" y="165"/>
                    <a:pt x="543" y="165"/>
                  </a:cubicBezTo>
                  <a:cubicBezTo>
                    <a:pt x="332" y="165"/>
                    <a:pt x="191" y="327"/>
                    <a:pt x="191" y="531"/>
                  </a:cubicBezTo>
                  <a:cubicBezTo>
                    <a:pt x="191" y="750"/>
                    <a:pt x="332" y="912"/>
                    <a:pt x="543" y="912"/>
                  </a:cubicBezTo>
                  <a:cubicBezTo>
                    <a:pt x="636" y="912"/>
                    <a:pt x="720" y="895"/>
                    <a:pt x="784" y="859"/>
                  </a:cubicBezTo>
                  <a:cubicBezTo>
                    <a:pt x="784" y="617"/>
                    <a:pt x="784" y="617"/>
                    <a:pt x="784" y="617"/>
                  </a:cubicBezTo>
                  <a:cubicBezTo>
                    <a:pt x="574" y="617"/>
                    <a:pt x="574" y="617"/>
                    <a:pt x="574" y="617"/>
                  </a:cubicBezTo>
                  <a:cubicBezTo>
                    <a:pt x="574" y="452"/>
                    <a:pt x="574" y="452"/>
                    <a:pt x="574" y="452"/>
                  </a:cubicBezTo>
                  <a:cubicBezTo>
                    <a:pt x="966" y="452"/>
                    <a:pt x="966" y="452"/>
                    <a:pt x="966" y="452"/>
                  </a:cubicBezTo>
                  <a:lnTo>
                    <a:pt x="966" y="9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4" name="Freeform 11"/>
            <p:cNvSpPr>
              <a:spLocks noSelect="1"/>
            </p:cNvSpPr>
            <p:nvPr/>
          </p:nvSpPr>
          <p:spPr bwMode="black">
            <a:xfrm>
              <a:off x="1284288" y="260351"/>
              <a:ext cx="157163" cy="163513"/>
            </a:xfrm>
            <a:custGeom>
              <a:avLst/>
              <a:gdLst/>
              <a:ahLst/>
              <a:cxnLst>
                <a:cxn ang="0">
                  <a:pos x="174" y="426"/>
                </a:cxn>
                <a:cxn ang="0">
                  <a:pos x="361"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1"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5" name="Freeform 12"/>
            <p:cNvSpPr>
              <a:spLocks noSelect="1"/>
            </p:cNvSpPr>
            <p:nvPr/>
          </p:nvSpPr>
          <p:spPr bwMode="black">
            <a:xfrm>
              <a:off x="1476375" y="260351"/>
              <a:ext cx="239713" cy="158750"/>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2"/>
                </a:cxn>
                <a:cxn ang="0">
                  <a:pos x="904" y="712"/>
                </a:cxn>
                <a:cxn ang="0">
                  <a:pos x="904" y="318"/>
                </a:cxn>
                <a:cxn ang="0">
                  <a:pos x="775" y="156"/>
                </a:cxn>
                <a:cxn ang="0">
                  <a:pos x="626" y="336"/>
                </a:cxn>
                <a:cxn ang="0">
                  <a:pos x="626" y="712"/>
                </a:cxn>
                <a:cxn ang="0">
                  <a:pos x="452" y="712"/>
                </a:cxn>
                <a:cxn ang="0">
                  <a:pos x="452" y="298"/>
                </a:cxn>
                <a:cxn ang="0">
                  <a:pos x="333" y="156"/>
                </a:cxn>
                <a:cxn ang="0">
                  <a:pos x="174" y="333"/>
                </a:cxn>
                <a:cxn ang="0">
                  <a:pos x="174" y="712"/>
                </a:cxn>
                <a:cxn ang="0">
                  <a:pos x="0" y="712"/>
                </a:cxn>
                <a:cxn ang="0">
                  <a:pos x="0" y="17"/>
                </a:cxn>
              </a:cxnLst>
              <a:rect l="0" t="0" r="r" b="b"/>
              <a:pathLst>
                <a:path w="1078" h="712">
                  <a:moveTo>
                    <a:pt x="0" y="17"/>
                  </a:moveTo>
                  <a:cubicBezTo>
                    <a:pt x="165" y="17"/>
                    <a:pt x="165" y="17"/>
                    <a:pt x="165" y="17"/>
                  </a:cubicBezTo>
                  <a:cubicBezTo>
                    <a:pt x="165" y="126"/>
                    <a:pt x="165" y="126"/>
                    <a:pt x="165" y="126"/>
                  </a:cubicBezTo>
                  <a:cubicBezTo>
                    <a:pt x="168" y="126"/>
                    <a:pt x="168" y="126"/>
                    <a:pt x="168" y="126"/>
                  </a:cubicBezTo>
                  <a:cubicBezTo>
                    <a:pt x="198" y="61"/>
                    <a:pt x="265" y="0"/>
                    <a:pt x="381" y="0"/>
                  </a:cubicBezTo>
                  <a:cubicBezTo>
                    <a:pt x="488" y="0"/>
                    <a:pt x="562" y="42"/>
                    <a:pt x="598" y="129"/>
                  </a:cubicBezTo>
                  <a:cubicBezTo>
                    <a:pt x="649" y="40"/>
                    <a:pt x="723" y="0"/>
                    <a:pt x="827" y="0"/>
                  </a:cubicBezTo>
                  <a:cubicBezTo>
                    <a:pt x="1013" y="0"/>
                    <a:pt x="1078" y="132"/>
                    <a:pt x="1078" y="298"/>
                  </a:cubicBezTo>
                  <a:cubicBezTo>
                    <a:pt x="1078" y="712"/>
                    <a:pt x="1078" y="712"/>
                    <a:pt x="1078" y="712"/>
                  </a:cubicBezTo>
                  <a:cubicBezTo>
                    <a:pt x="904" y="712"/>
                    <a:pt x="904" y="712"/>
                    <a:pt x="904" y="712"/>
                  </a:cubicBezTo>
                  <a:cubicBezTo>
                    <a:pt x="904" y="318"/>
                    <a:pt x="904" y="318"/>
                    <a:pt x="904" y="318"/>
                  </a:cubicBezTo>
                  <a:cubicBezTo>
                    <a:pt x="904" y="231"/>
                    <a:pt x="878" y="156"/>
                    <a:pt x="775" y="156"/>
                  </a:cubicBezTo>
                  <a:cubicBezTo>
                    <a:pt x="666" y="156"/>
                    <a:pt x="626" y="246"/>
                    <a:pt x="626" y="336"/>
                  </a:cubicBezTo>
                  <a:cubicBezTo>
                    <a:pt x="626" y="712"/>
                    <a:pt x="626" y="712"/>
                    <a:pt x="626" y="712"/>
                  </a:cubicBezTo>
                  <a:cubicBezTo>
                    <a:pt x="452" y="712"/>
                    <a:pt x="452" y="712"/>
                    <a:pt x="452" y="712"/>
                  </a:cubicBezTo>
                  <a:cubicBezTo>
                    <a:pt x="452" y="298"/>
                    <a:pt x="452" y="298"/>
                    <a:pt x="452" y="298"/>
                  </a:cubicBezTo>
                  <a:cubicBezTo>
                    <a:pt x="452" y="213"/>
                    <a:pt x="417"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6" name="Freeform 13"/>
            <p:cNvSpPr>
              <a:spLocks noSelect="1"/>
            </p:cNvSpPr>
            <p:nvPr/>
          </p:nvSpPr>
          <p:spPr bwMode="black">
            <a:xfrm>
              <a:off x="1751013" y="260351"/>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5" y="528"/>
                    <a:pt x="264" y="591"/>
                    <a:pt x="361" y="591"/>
                  </a:cubicBezTo>
                  <a:cubicBezTo>
                    <a:pt x="448" y="591"/>
                    <a:pt x="504" y="550"/>
                    <a:pt x="548"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7" name="Freeform 14"/>
            <p:cNvSpPr>
              <a:spLocks noSelect="1"/>
            </p:cNvSpPr>
            <p:nvPr/>
          </p:nvSpPr>
          <p:spPr bwMode="black">
            <a:xfrm>
              <a:off x="1936750" y="260351"/>
              <a:ext cx="157163" cy="163513"/>
            </a:xfrm>
            <a:custGeom>
              <a:avLst/>
              <a:gdLst/>
              <a:ahLst/>
              <a:cxnLst>
                <a:cxn ang="0">
                  <a:pos x="174" y="426"/>
                </a:cxn>
                <a:cxn ang="0">
                  <a:pos x="360"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8"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8" name="Freeform 15"/>
            <p:cNvSpPr>
              <a:spLocks noSelect="1"/>
            </p:cNvSpPr>
            <p:nvPr/>
          </p:nvSpPr>
          <p:spPr bwMode="black">
            <a:xfrm>
              <a:off x="2128838" y="260351"/>
              <a:ext cx="142875" cy="158750"/>
            </a:xfrm>
            <a:custGeom>
              <a:avLst/>
              <a:gdLst/>
              <a:ahLst/>
              <a:cxnLst>
                <a:cxn ang="0">
                  <a:pos x="0" y="17"/>
                </a:cxn>
                <a:cxn ang="0">
                  <a:pos x="165" y="17"/>
                </a:cxn>
                <a:cxn ang="0">
                  <a:pos x="165" y="129"/>
                </a:cxn>
                <a:cxn ang="0">
                  <a:pos x="168" y="129"/>
                </a:cxn>
                <a:cxn ang="0">
                  <a:pos x="381" y="0"/>
                </a:cxn>
                <a:cxn ang="0">
                  <a:pos x="635" y="273"/>
                </a:cxn>
                <a:cxn ang="0">
                  <a:pos x="635" y="712"/>
                </a:cxn>
                <a:cxn ang="0">
                  <a:pos x="461" y="712"/>
                </a:cxn>
                <a:cxn ang="0">
                  <a:pos x="461" y="360"/>
                </a:cxn>
                <a:cxn ang="0">
                  <a:pos x="333" y="156"/>
                </a:cxn>
                <a:cxn ang="0">
                  <a:pos x="174" y="333"/>
                </a:cxn>
                <a:cxn ang="0">
                  <a:pos x="174" y="712"/>
                </a:cxn>
                <a:cxn ang="0">
                  <a:pos x="0" y="712"/>
                </a:cxn>
                <a:cxn ang="0">
                  <a:pos x="0" y="17"/>
                </a:cxn>
              </a:cxnLst>
              <a:rect l="0" t="0" r="r" b="b"/>
              <a:pathLst>
                <a:path w="635" h="712">
                  <a:moveTo>
                    <a:pt x="0" y="17"/>
                  </a:moveTo>
                  <a:cubicBezTo>
                    <a:pt x="165" y="17"/>
                    <a:pt x="165" y="17"/>
                    <a:pt x="165" y="17"/>
                  </a:cubicBezTo>
                  <a:cubicBezTo>
                    <a:pt x="165" y="129"/>
                    <a:pt x="165" y="129"/>
                    <a:pt x="165" y="129"/>
                  </a:cubicBezTo>
                  <a:cubicBezTo>
                    <a:pt x="168" y="129"/>
                    <a:pt x="168" y="129"/>
                    <a:pt x="168" y="129"/>
                  </a:cubicBezTo>
                  <a:cubicBezTo>
                    <a:pt x="200" y="59"/>
                    <a:pt x="265" y="0"/>
                    <a:pt x="381" y="0"/>
                  </a:cubicBezTo>
                  <a:cubicBezTo>
                    <a:pt x="568" y="0"/>
                    <a:pt x="635" y="132"/>
                    <a:pt x="635" y="273"/>
                  </a:cubicBezTo>
                  <a:cubicBezTo>
                    <a:pt x="635" y="712"/>
                    <a:pt x="635" y="712"/>
                    <a:pt x="635" y="712"/>
                  </a:cubicBezTo>
                  <a:cubicBezTo>
                    <a:pt x="461" y="712"/>
                    <a:pt x="461" y="712"/>
                    <a:pt x="461" y="712"/>
                  </a:cubicBezTo>
                  <a:cubicBezTo>
                    <a:pt x="461" y="360"/>
                    <a:pt x="461" y="360"/>
                    <a:pt x="461" y="360"/>
                  </a:cubicBezTo>
                  <a:cubicBezTo>
                    <a:pt x="461" y="284"/>
                    <a:pt x="455"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9" name="Freeform 16"/>
            <p:cNvSpPr>
              <a:spLocks noSelect="1"/>
            </p:cNvSpPr>
            <p:nvPr/>
          </p:nvSpPr>
          <p:spPr bwMode="black">
            <a:xfrm>
              <a:off x="2297113" y="219076"/>
              <a:ext cx="112713" cy="204788"/>
            </a:xfrm>
            <a:custGeom>
              <a:avLst/>
              <a:gdLst/>
              <a:ahLst/>
              <a:cxnLst>
                <a:cxn ang="0">
                  <a:pos x="0" y="349"/>
                </a:cxn>
                <a:cxn ang="0">
                  <a:pos x="0" y="201"/>
                </a:cxn>
                <a:cxn ang="0">
                  <a:pos x="143" y="201"/>
                </a:cxn>
                <a:cxn ang="0">
                  <a:pos x="143" y="0"/>
                </a:cxn>
                <a:cxn ang="0">
                  <a:pos x="317" y="0"/>
                </a:cxn>
                <a:cxn ang="0">
                  <a:pos x="317" y="201"/>
                </a:cxn>
                <a:cxn ang="0">
                  <a:pos x="508" y="201"/>
                </a:cxn>
                <a:cxn ang="0">
                  <a:pos x="508" y="349"/>
                </a:cxn>
                <a:cxn ang="0">
                  <a:pos x="317" y="349"/>
                </a:cxn>
                <a:cxn ang="0">
                  <a:pos x="317" y="653"/>
                </a:cxn>
                <a:cxn ang="0">
                  <a:pos x="414" y="766"/>
                </a:cxn>
                <a:cxn ang="0">
                  <a:pos x="508" y="744"/>
                </a:cxn>
                <a:cxn ang="0">
                  <a:pos x="508" y="891"/>
                </a:cxn>
                <a:cxn ang="0">
                  <a:pos x="371" y="914"/>
                </a:cxn>
                <a:cxn ang="0">
                  <a:pos x="143" y="668"/>
                </a:cxn>
                <a:cxn ang="0">
                  <a:pos x="143" y="349"/>
                </a:cxn>
                <a:cxn ang="0">
                  <a:pos x="0" y="349"/>
                </a:cxn>
              </a:cxnLst>
              <a:rect l="0" t="0" r="r" b="b"/>
              <a:pathLst>
                <a:path w="508"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8" y="201"/>
                    <a:pt x="508" y="201"/>
                    <a:pt x="508" y="201"/>
                  </a:cubicBezTo>
                  <a:cubicBezTo>
                    <a:pt x="508" y="349"/>
                    <a:pt x="508" y="349"/>
                    <a:pt x="508" y="349"/>
                  </a:cubicBezTo>
                  <a:cubicBezTo>
                    <a:pt x="317" y="349"/>
                    <a:pt x="317" y="349"/>
                    <a:pt x="317" y="349"/>
                  </a:cubicBezTo>
                  <a:cubicBezTo>
                    <a:pt x="317" y="653"/>
                    <a:pt x="317" y="653"/>
                    <a:pt x="317" y="653"/>
                  </a:cubicBezTo>
                  <a:cubicBezTo>
                    <a:pt x="317" y="723"/>
                    <a:pt x="337" y="766"/>
                    <a:pt x="414" y="766"/>
                  </a:cubicBezTo>
                  <a:cubicBezTo>
                    <a:pt x="444" y="766"/>
                    <a:pt x="486" y="760"/>
                    <a:pt x="508" y="744"/>
                  </a:cubicBezTo>
                  <a:cubicBezTo>
                    <a:pt x="508" y="891"/>
                    <a:pt x="508" y="891"/>
                    <a:pt x="508" y="891"/>
                  </a:cubicBezTo>
                  <a:cubicBezTo>
                    <a:pt x="472" y="908"/>
                    <a:pt x="411" y="914"/>
                    <a:pt x="371" y="914"/>
                  </a:cubicBezTo>
                  <a:cubicBezTo>
                    <a:pt x="186"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0" name="Freeform 17"/>
            <p:cNvSpPr>
              <a:spLocks noSelect="1"/>
            </p:cNvSpPr>
            <p:nvPr/>
          </p:nvSpPr>
          <p:spPr bwMode="black">
            <a:xfrm>
              <a:off x="2433638" y="260351"/>
              <a:ext cx="157163" cy="163513"/>
            </a:xfrm>
            <a:custGeom>
              <a:avLst/>
              <a:gdLst/>
              <a:ahLst/>
              <a:cxnLst>
                <a:cxn ang="0">
                  <a:pos x="173" y="426"/>
                </a:cxn>
                <a:cxn ang="0">
                  <a:pos x="360" y="591"/>
                </a:cxn>
                <a:cxn ang="0">
                  <a:pos x="547" y="497"/>
                </a:cxn>
                <a:cxn ang="0">
                  <a:pos x="672" y="591"/>
                </a:cxn>
                <a:cxn ang="0">
                  <a:pos x="378" y="730"/>
                </a:cxn>
                <a:cxn ang="0">
                  <a:pos x="0" y="365"/>
                </a:cxn>
                <a:cxn ang="0">
                  <a:pos x="378" y="0"/>
                </a:cxn>
                <a:cxn ang="0">
                  <a:pos x="704" y="378"/>
                </a:cxn>
                <a:cxn ang="0">
                  <a:pos x="704" y="426"/>
                </a:cxn>
                <a:cxn ang="0">
                  <a:pos x="173" y="426"/>
                </a:cxn>
                <a:cxn ang="0">
                  <a:pos x="530" y="295"/>
                </a:cxn>
                <a:cxn ang="0">
                  <a:pos x="353" y="130"/>
                </a:cxn>
                <a:cxn ang="0">
                  <a:pos x="173" y="295"/>
                </a:cxn>
                <a:cxn ang="0">
                  <a:pos x="530" y="295"/>
                </a:cxn>
              </a:cxnLst>
              <a:rect l="0" t="0" r="r" b="b"/>
              <a:pathLst>
                <a:path w="704" h="730">
                  <a:moveTo>
                    <a:pt x="173"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3" y="426"/>
                  </a:lnTo>
                  <a:close/>
                  <a:moveTo>
                    <a:pt x="530" y="295"/>
                  </a:moveTo>
                  <a:cubicBezTo>
                    <a:pt x="528" y="194"/>
                    <a:pt x="462" y="130"/>
                    <a:pt x="353" y="130"/>
                  </a:cubicBezTo>
                  <a:cubicBezTo>
                    <a:pt x="250" y="130"/>
                    <a:pt x="186" y="195"/>
                    <a:pt x="173"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1" name="Freeform 18"/>
            <p:cNvSpPr>
              <a:spLocks noSelect="1"/>
            </p:cNvSpPr>
            <p:nvPr/>
          </p:nvSpPr>
          <p:spPr bwMode="black">
            <a:xfrm>
              <a:off x="1017588" y="530226"/>
              <a:ext cx="233363" cy="230188"/>
            </a:xfrm>
            <a:custGeom>
              <a:avLst/>
              <a:gdLst/>
              <a:ahLst/>
              <a:cxnLst>
                <a:cxn ang="0">
                  <a:pos x="63" y="0"/>
                </a:cxn>
                <a:cxn ang="0">
                  <a:pos x="85" y="0"/>
                </a:cxn>
                <a:cxn ang="0">
                  <a:pos x="147" y="145"/>
                </a:cxn>
                <a:cxn ang="0">
                  <a:pos x="118" y="145"/>
                </a:cxn>
                <a:cxn ang="0">
                  <a:pos x="105" y="112"/>
                </a:cxn>
                <a:cxn ang="0">
                  <a:pos x="42" y="112"/>
                </a:cxn>
                <a:cxn ang="0">
                  <a:pos x="29" y="145"/>
                </a:cxn>
                <a:cxn ang="0">
                  <a:pos x="0" y="145"/>
                </a:cxn>
                <a:cxn ang="0">
                  <a:pos x="63" y="0"/>
                </a:cxn>
                <a:cxn ang="0">
                  <a:pos x="96" y="90"/>
                </a:cxn>
                <a:cxn ang="0">
                  <a:pos x="74" y="31"/>
                </a:cxn>
                <a:cxn ang="0">
                  <a:pos x="51" y="90"/>
                </a:cxn>
                <a:cxn ang="0">
                  <a:pos x="96" y="90"/>
                </a:cxn>
              </a:cxnLst>
              <a:rect l="0" t="0" r="r" b="b"/>
              <a:pathLst>
                <a:path w="147" h="145">
                  <a:moveTo>
                    <a:pt x="63" y="0"/>
                  </a:moveTo>
                  <a:lnTo>
                    <a:pt x="85" y="0"/>
                  </a:lnTo>
                  <a:lnTo>
                    <a:pt x="147" y="145"/>
                  </a:lnTo>
                  <a:lnTo>
                    <a:pt x="118" y="145"/>
                  </a:lnTo>
                  <a:lnTo>
                    <a:pt x="105" y="112"/>
                  </a:lnTo>
                  <a:lnTo>
                    <a:pt x="42" y="112"/>
                  </a:lnTo>
                  <a:lnTo>
                    <a:pt x="29" y="145"/>
                  </a:lnTo>
                  <a:lnTo>
                    <a:pt x="0" y="145"/>
                  </a:lnTo>
                  <a:lnTo>
                    <a:pt x="63" y="0"/>
                  </a:lnTo>
                  <a:close/>
                  <a:moveTo>
                    <a:pt x="96" y="90"/>
                  </a:moveTo>
                  <a:lnTo>
                    <a:pt x="74" y="31"/>
                  </a:lnTo>
                  <a:lnTo>
                    <a:pt x="51" y="90"/>
                  </a:lnTo>
                  <a:lnTo>
                    <a:pt x="96" y="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2" name="Freeform 19"/>
            <p:cNvSpPr>
              <a:spLocks noSelect="1"/>
            </p:cNvSpPr>
            <p:nvPr/>
          </p:nvSpPr>
          <p:spPr bwMode="black">
            <a:xfrm>
              <a:off x="1271588" y="600076"/>
              <a:ext cx="241300" cy="160338"/>
            </a:xfrm>
            <a:custGeom>
              <a:avLst/>
              <a:gdLst/>
              <a:ahLst/>
              <a:cxnLst>
                <a:cxn ang="0">
                  <a:pos x="0" y="17"/>
                </a:cxn>
                <a:cxn ang="0">
                  <a:pos x="165" y="17"/>
                </a:cxn>
                <a:cxn ang="0">
                  <a:pos x="165" y="126"/>
                </a:cxn>
                <a:cxn ang="0">
                  <a:pos x="168" y="126"/>
                </a:cxn>
                <a:cxn ang="0">
                  <a:pos x="381" y="0"/>
                </a:cxn>
                <a:cxn ang="0">
                  <a:pos x="599"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9"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7"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3" name="Freeform 20"/>
            <p:cNvSpPr>
              <a:spLocks noSelect="1"/>
            </p:cNvSpPr>
            <p:nvPr/>
          </p:nvSpPr>
          <p:spPr bwMode="black">
            <a:xfrm>
              <a:off x="1541463" y="600076"/>
              <a:ext cx="127000" cy="163513"/>
            </a:xfrm>
            <a:custGeom>
              <a:avLst/>
              <a:gdLst/>
              <a:ahLst/>
              <a:cxnLst>
                <a:cxn ang="0">
                  <a:pos x="433" y="210"/>
                </a:cxn>
                <a:cxn ang="0">
                  <a:pos x="297" y="139"/>
                </a:cxn>
                <a:cxn ang="0">
                  <a:pos x="195" y="213"/>
                </a:cxn>
                <a:cxn ang="0">
                  <a:pos x="570" y="507"/>
                </a:cxn>
                <a:cxn ang="0">
                  <a:pos x="271" y="730"/>
                </a:cxn>
                <a:cxn ang="0">
                  <a:pos x="0" y="623"/>
                </a:cxn>
                <a:cxn ang="0">
                  <a:pos x="116" y="514"/>
                </a:cxn>
                <a:cxn ang="0">
                  <a:pos x="281" y="600"/>
                </a:cxn>
                <a:cxn ang="0">
                  <a:pos x="397" y="520"/>
                </a:cxn>
                <a:cxn ang="0">
                  <a:pos x="21" y="224"/>
                </a:cxn>
                <a:cxn ang="0">
                  <a:pos x="301" y="0"/>
                </a:cxn>
                <a:cxn ang="0">
                  <a:pos x="549" y="106"/>
                </a:cxn>
                <a:cxn ang="0">
                  <a:pos x="433" y="210"/>
                </a:cxn>
              </a:cxnLst>
              <a:rect l="0" t="0" r="r" b="b"/>
              <a:pathLst>
                <a:path w="570" h="730">
                  <a:moveTo>
                    <a:pt x="433" y="210"/>
                  </a:moveTo>
                  <a:cubicBezTo>
                    <a:pt x="399" y="164"/>
                    <a:pt x="356" y="139"/>
                    <a:pt x="297" y="139"/>
                  </a:cubicBezTo>
                  <a:cubicBezTo>
                    <a:pt x="250" y="139"/>
                    <a:pt x="195" y="161"/>
                    <a:pt x="195" y="213"/>
                  </a:cubicBezTo>
                  <a:cubicBezTo>
                    <a:pt x="195" y="337"/>
                    <a:pt x="570" y="236"/>
                    <a:pt x="570" y="507"/>
                  </a:cubicBezTo>
                  <a:cubicBezTo>
                    <a:pt x="570" y="672"/>
                    <a:pt x="413" y="730"/>
                    <a:pt x="271" y="730"/>
                  </a:cubicBezTo>
                  <a:cubicBezTo>
                    <a:pt x="163" y="730"/>
                    <a:pt x="71" y="702"/>
                    <a:pt x="0" y="623"/>
                  </a:cubicBezTo>
                  <a:cubicBezTo>
                    <a:pt x="116" y="514"/>
                    <a:pt x="116" y="514"/>
                    <a:pt x="116" y="514"/>
                  </a:cubicBezTo>
                  <a:cubicBezTo>
                    <a:pt x="161" y="563"/>
                    <a:pt x="207" y="600"/>
                    <a:pt x="281" y="600"/>
                  </a:cubicBezTo>
                  <a:cubicBezTo>
                    <a:pt x="331" y="600"/>
                    <a:pt x="397" y="575"/>
                    <a:pt x="397" y="520"/>
                  </a:cubicBezTo>
                  <a:cubicBezTo>
                    <a:pt x="397" y="376"/>
                    <a:pt x="21" y="489"/>
                    <a:pt x="21" y="224"/>
                  </a:cubicBezTo>
                  <a:cubicBezTo>
                    <a:pt x="21" y="69"/>
                    <a:pt x="161" y="0"/>
                    <a:pt x="301" y="0"/>
                  </a:cubicBezTo>
                  <a:cubicBezTo>
                    <a:pt x="394" y="0"/>
                    <a:pt x="492" y="29"/>
                    <a:pt x="549" y="106"/>
                  </a:cubicBezTo>
                  <a:lnTo>
                    <a:pt x="433" y="2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4" name="Freeform 21"/>
            <p:cNvSpPr>
              <a:spLocks noSelect="1"/>
            </p:cNvSpPr>
            <p:nvPr/>
          </p:nvSpPr>
          <p:spPr bwMode="black">
            <a:xfrm>
              <a:off x="1679575" y="560388"/>
              <a:ext cx="114300" cy="203200"/>
            </a:xfrm>
            <a:custGeom>
              <a:avLst/>
              <a:gdLst/>
              <a:ahLst/>
              <a:cxnLst>
                <a:cxn ang="0">
                  <a:pos x="0" y="349"/>
                </a:cxn>
                <a:cxn ang="0">
                  <a:pos x="0" y="201"/>
                </a:cxn>
                <a:cxn ang="0">
                  <a:pos x="143" y="201"/>
                </a:cxn>
                <a:cxn ang="0">
                  <a:pos x="143" y="0"/>
                </a:cxn>
                <a:cxn ang="0">
                  <a:pos x="317" y="0"/>
                </a:cxn>
                <a:cxn ang="0">
                  <a:pos x="317" y="201"/>
                </a:cxn>
                <a:cxn ang="0">
                  <a:pos x="509" y="201"/>
                </a:cxn>
                <a:cxn ang="0">
                  <a:pos x="509" y="349"/>
                </a:cxn>
                <a:cxn ang="0">
                  <a:pos x="317" y="349"/>
                </a:cxn>
                <a:cxn ang="0">
                  <a:pos x="317" y="653"/>
                </a:cxn>
                <a:cxn ang="0">
                  <a:pos x="414" y="766"/>
                </a:cxn>
                <a:cxn ang="0">
                  <a:pos x="509" y="744"/>
                </a:cxn>
                <a:cxn ang="0">
                  <a:pos x="509" y="891"/>
                </a:cxn>
                <a:cxn ang="0">
                  <a:pos x="371" y="914"/>
                </a:cxn>
                <a:cxn ang="0">
                  <a:pos x="143" y="668"/>
                </a:cxn>
                <a:cxn ang="0">
                  <a:pos x="143" y="349"/>
                </a:cxn>
                <a:cxn ang="0">
                  <a:pos x="0" y="349"/>
                </a:cxn>
              </a:cxnLst>
              <a:rect l="0" t="0" r="r" b="b"/>
              <a:pathLst>
                <a:path w="509"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9" y="201"/>
                    <a:pt x="509" y="201"/>
                    <a:pt x="509" y="201"/>
                  </a:cubicBezTo>
                  <a:cubicBezTo>
                    <a:pt x="509" y="349"/>
                    <a:pt x="509" y="349"/>
                    <a:pt x="509" y="349"/>
                  </a:cubicBezTo>
                  <a:cubicBezTo>
                    <a:pt x="317" y="349"/>
                    <a:pt x="317" y="349"/>
                    <a:pt x="317" y="349"/>
                  </a:cubicBezTo>
                  <a:cubicBezTo>
                    <a:pt x="317" y="653"/>
                    <a:pt x="317" y="653"/>
                    <a:pt x="317" y="653"/>
                  </a:cubicBezTo>
                  <a:cubicBezTo>
                    <a:pt x="317" y="723"/>
                    <a:pt x="338" y="766"/>
                    <a:pt x="414" y="766"/>
                  </a:cubicBezTo>
                  <a:cubicBezTo>
                    <a:pt x="445" y="766"/>
                    <a:pt x="487" y="760"/>
                    <a:pt x="509" y="744"/>
                  </a:cubicBezTo>
                  <a:cubicBezTo>
                    <a:pt x="509" y="891"/>
                    <a:pt x="509" y="891"/>
                    <a:pt x="509" y="891"/>
                  </a:cubicBezTo>
                  <a:cubicBezTo>
                    <a:pt x="472" y="908"/>
                    <a:pt x="412" y="914"/>
                    <a:pt x="371" y="914"/>
                  </a:cubicBezTo>
                  <a:cubicBezTo>
                    <a:pt x="187"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5" name="Freeform 22"/>
            <p:cNvSpPr>
              <a:spLocks noSelect="1"/>
            </p:cNvSpPr>
            <p:nvPr/>
          </p:nvSpPr>
          <p:spPr bwMode="black">
            <a:xfrm>
              <a:off x="1816100" y="600076"/>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6" y="529"/>
                    <a:pt x="264" y="591"/>
                    <a:pt x="361" y="591"/>
                  </a:cubicBezTo>
                  <a:cubicBezTo>
                    <a:pt x="448" y="591"/>
                    <a:pt x="504" y="550"/>
                    <a:pt x="548" y="497"/>
                  </a:cubicBezTo>
                  <a:cubicBezTo>
                    <a:pt x="672" y="591"/>
                    <a:pt x="672" y="591"/>
                    <a:pt x="672" y="591"/>
                  </a:cubicBezTo>
                  <a:cubicBezTo>
                    <a:pt x="591" y="691"/>
                    <a:pt x="488" y="730"/>
                    <a:pt x="378" y="730"/>
                  </a:cubicBezTo>
                  <a:cubicBezTo>
                    <a:pt x="168" y="730"/>
                    <a:pt x="0" y="584"/>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6" name="Freeform 23"/>
            <p:cNvSpPr>
              <a:spLocks noSelect="1"/>
            </p:cNvSpPr>
            <p:nvPr/>
          </p:nvSpPr>
          <p:spPr bwMode="black">
            <a:xfrm>
              <a:off x="2009775" y="600076"/>
              <a:ext cx="98425" cy="160338"/>
            </a:xfrm>
            <a:custGeom>
              <a:avLst/>
              <a:gdLst/>
              <a:ahLst/>
              <a:cxnLst>
                <a:cxn ang="0">
                  <a:pos x="0" y="17"/>
                </a:cxn>
                <a:cxn ang="0">
                  <a:pos x="174" y="17"/>
                </a:cxn>
                <a:cxn ang="0">
                  <a:pos x="174" y="127"/>
                </a:cxn>
                <a:cxn ang="0">
                  <a:pos x="177" y="127"/>
                </a:cxn>
                <a:cxn ang="0">
                  <a:pos x="383" y="0"/>
                </a:cxn>
                <a:cxn ang="0">
                  <a:pos x="445" y="10"/>
                </a:cxn>
                <a:cxn ang="0">
                  <a:pos x="445" y="178"/>
                </a:cxn>
                <a:cxn ang="0">
                  <a:pos x="361" y="165"/>
                </a:cxn>
                <a:cxn ang="0">
                  <a:pos x="174" y="340"/>
                </a:cxn>
                <a:cxn ang="0">
                  <a:pos x="174" y="713"/>
                </a:cxn>
                <a:cxn ang="0">
                  <a:pos x="0" y="713"/>
                </a:cxn>
                <a:cxn ang="0">
                  <a:pos x="0" y="17"/>
                </a:cxn>
              </a:cxnLst>
              <a:rect l="0" t="0" r="r" b="b"/>
              <a:pathLst>
                <a:path w="445" h="713">
                  <a:moveTo>
                    <a:pt x="0" y="17"/>
                  </a:moveTo>
                  <a:cubicBezTo>
                    <a:pt x="174" y="17"/>
                    <a:pt x="174" y="17"/>
                    <a:pt x="174" y="17"/>
                  </a:cubicBezTo>
                  <a:cubicBezTo>
                    <a:pt x="174" y="127"/>
                    <a:pt x="174" y="127"/>
                    <a:pt x="174" y="127"/>
                  </a:cubicBezTo>
                  <a:cubicBezTo>
                    <a:pt x="177" y="127"/>
                    <a:pt x="177" y="127"/>
                    <a:pt x="177" y="127"/>
                  </a:cubicBezTo>
                  <a:cubicBezTo>
                    <a:pt x="215" y="48"/>
                    <a:pt x="292" y="0"/>
                    <a:pt x="383" y="0"/>
                  </a:cubicBezTo>
                  <a:cubicBezTo>
                    <a:pt x="405" y="0"/>
                    <a:pt x="425" y="4"/>
                    <a:pt x="445" y="10"/>
                  </a:cubicBezTo>
                  <a:cubicBezTo>
                    <a:pt x="445" y="178"/>
                    <a:pt x="445" y="178"/>
                    <a:pt x="445" y="178"/>
                  </a:cubicBezTo>
                  <a:cubicBezTo>
                    <a:pt x="416" y="171"/>
                    <a:pt x="389" y="165"/>
                    <a:pt x="361" y="165"/>
                  </a:cubicBezTo>
                  <a:cubicBezTo>
                    <a:pt x="198" y="165"/>
                    <a:pt x="174" y="303"/>
                    <a:pt x="174" y="340"/>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7" name="Freeform 24"/>
            <p:cNvSpPr>
              <a:spLocks noSelect="1"/>
            </p:cNvSpPr>
            <p:nvPr/>
          </p:nvSpPr>
          <p:spPr bwMode="black">
            <a:xfrm>
              <a:off x="2122488" y="515938"/>
              <a:ext cx="166688" cy="247650"/>
            </a:xfrm>
            <a:custGeom>
              <a:avLst/>
              <a:gdLst/>
              <a:ahLst/>
              <a:cxnLst>
                <a:cxn ang="0">
                  <a:pos x="585" y="991"/>
                </a:cxn>
                <a:cxn ang="0">
                  <a:pos x="582" y="991"/>
                </a:cxn>
                <a:cxn ang="0">
                  <a:pos x="343" y="1113"/>
                </a:cxn>
                <a:cxn ang="0">
                  <a:pos x="0" y="748"/>
                </a:cxn>
                <a:cxn ang="0">
                  <a:pos x="336" y="383"/>
                </a:cxn>
                <a:cxn ang="0">
                  <a:pos x="572" y="489"/>
                </a:cxn>
                <a:cxn ang="0">
                  <a:pos x="576" y="489"/>
                </a:cxn>
                <a:cxn ang="0">
                  <a:pos x="576" y="0"/>
                </a:cxn>
                <a:cxn ang="0">
                  <a:pos x="750" y="0"/>
                </a:cxn>
                <a:cxn ang="0">
                  <a:pos x="750" y="1096"/>
                </a:cxn>
                <a:cxn ang="0">
                  <a:pos x="585" y="1096"/>
                </a:cxn>
                <a:cxn ang="0">
                  <a:pos x="585" y="991"/>
                </a:cxn>
                <a:cxn ang="0">
                  <a:pos x="378" y="956"/>
                </a:cxn>
                <a:cxn ang="0">
                  <a:pos x="582" y="748"/>
                </a:cxn>
                <a:cxn ang="0">
                  <a:pos x="378" y="539"/>
                </a:cxn>
                <a:cxn ang="0">
                  <a:pos x="174" y="748"/>
                </a:cxn>
                <a:cxn ang="0">
                  <a:pos x="378" y="956"/>
                </a:cxn>
              </a:cxnLst>
              <a:rect l="0" t="0" r="r" b="b"/>
              <a:pathLst>
                <a:path w="750" h="1113">
                  <a:moveTo>
                    <a:pt x="585" y="991"/>
                  </a:moveTo>
                  <a:cubicBezTo>
                    <a:pt x="582" y="991"/>
                    <a:pt x="582" y="991"/>
                    <a:pt x="582" y="991"/>
                  </a:cubicBezTo>
                  <a:cubicBezTo>
                    <a:pt x="531" y="1075"/>
                    <a:pt x="440" y="1113"/>
                    <a:pt x="343" y="1113"/>
                  </a:cubicBezTo>
                  <a:cubicBezTo>
                    <a:pt x="129" y="1113"/>
                    <a:pt x="0" y="954"/>
                    <a:pt x="0" y="748"/>
                  </a:cubicBezTo>
                  <a:cubicBezTo>
                    <a:pt x="0" y="542"/>
                    <a:pt x="137" y="383"/>
                    <a:pt x="336" y="383"/>
                  </a:cubicBezTo>
                  <a:cubicBezTo>
                    <a:pt x="466" y="383"/>
                    <a:pt x="536" y="444"/>
                    <a:pt x="572" y="489"/>
                  </a:cubicBezTo>
                  <a:cubicBezTo>
                    <a:pt x="576" y="489"/>
                    <a:pt x="576" y="489"/>
                    <a:pt x="576" y="489"/>
                  </a:cubicBezTo>
                  <a:cubicBezTo>
                    <a:pt x="576" y="0"/>
                    <a:pt x="576" y="0"/>
                    <a:pt x="576" y="0"/>
                  </a:cubicBezTo>
                  <a:cubicBezTo>
                    <a:pt x="750" y="0"/>
                    <a:pt x="750" y="0"/>
                    <a:pt x="750" y="0"/>
                  </a:cubicBezTo>
                  <a:cubicBezTo>
                    <a:pt x="750" y="1096"/>
                    <a:pt x="750" y="1096"/>
                    <a:pt x="750" y="1096"/>
                  </a:cubicBezTo>
                  <a:cubicBezTo>
                    <a:pt x="585" y="1096"/>
                    <a:pt x="585" y="1096"/>
                    <a:pt x="585" y="1096"/>
                  </a:cubicBezTo>
                  <a:lnTo>
                    <a:pt x="585" y="991"/>
                  </a:lnTo>
                  <a:close/>
                  <a:moveTo>
                    <a:pt x="378" y="956"/>
                  </a:moveTo>
                  <a:cubicBezTo>
                    <a:pt x="505" y="956"/>
                    <a:pt x="582" y="857"/>
                    <a:pt x="582" y="748"/>
                  </a:cubicBezTo>
                  <a:cubicBezTo>
                    <a:pt x="582" y="639"/>
                    <a:pt x="505" y="539"/>
                    <a:pt x="378" y="539"/>
                  </a:cubicBezTo>
                  <a:cubicBezTo>
                    <a:pt x="250" y="539"/>
                    <a:pt x="174" y="639"/>
                    <a:pt x="174" y="748"/>
                  </a:cubicBezTo>
                  <a:cubicBezTo>
                    <a:pt x="174" y="857"/>
                    <a:pt x="250" y="956"/>
                    <a:pt x="378" y="956"/>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8" name="Freeform 25"/>
            <p:cNvSpPr>
              <a:spLocks noSelect="1"/>
            </p:cNvSpPr>
            <p:nvPr/>
          </p:nvSpPr>
          <p:spPr bwMode="black">
            <a:xfrm>
              <a:off x="2322513" y="600076"/>
              <a:ext cx="142875" cy="163513"/>
            </a:xfrm>
            <a:custGeom>
              <a:avLst/>
              <a:gdLst/>
              <a:ahLst/>
              <a:cxnLst>
                <a:cxn ang="0">
                  <a:pos x="481" y="617"/>
                </a:cxn>
                <a:cxn ang="0">
                  <a:pos x="477" y="617"/>
                </a:cxn>
                <a:cxn ang="0">
                  <a:pos x="254" y="730"/>
                </a:cxn>
                <a:cxn ang="0">
                  <a:pos x="0" y="521"/>
                </a:cxn>
                <a:cxn ang="0">
                  <a:pos x="437" y="279"/>
                </a:cxn>
                <a:cxn ang="0">
                  <a:pos x="481" y="279"/>
                </a:cxn>
                <a:cxn ang="0">
                  <a:pos x="481" y="261"/>
                </a:cxn>
                <a:cxn ang="0">
                  <a:pos x="322" y="130"/>
                </a:cxn>
                <a:cxn ang="0">
                  <a:pos x="136" y="203"/>
                </a:cxn>
                <a:cxn ang="0">
                  <a:pos x="45" y="111"/>
                </a:cxn>
                <a:cxn ang="0">
                  <a:pos x="340" y="0"/>
                </a:cxn>
                <a:cxn ang="0">
                  <a:pos x="637" y="313"/>
                </a:cxn>
                <a:cxn ang="0">
                  <a:pos x="637" y="713"/>
                </a:cxn>
                <a:cxn ang="0">
                  <a:pos x="481" y="713"/>
                </a:cxn>
                <a:cxn ang="0">
                  <a:pos x="481" y="617"/>
                </a:cxn>
                <a:cxn ang="0">
                  <a:pos x="471" y="401"/>
                </a:cxn>
                <a:cxn ang="0">
                  <a:pos x="435" y="401"/>
                </a:cxn>
                <a:cxn ang="0">
                  <a:pos x="174" y="508"/>
                </a:cxn>
                <a:cxn ang="0">
                  <a:pos x="295" y="600"/>
                </a:cxn>
                <a:cxn ang="0">
                  <a:pos x="471" y="440"/>
                </a:cxn>
                <a:cxn ang="0">
                  <a:pos x="471" y="401"/>
                </a:cxn>
              </a:cxnLst>
              <a:rect l="0" t="0" r="r" b="b"/>
              <a:pathLst>
                <a:path w="637" h="730">
                  <a:moveTo>
                    <a:pt x="481" y="617"/>
                  </a:moveTo>
                  <a:cubicBezTo>
                    <a:pt x="477" y="617"/>
                    <a:pt x="477" y="617"/>
                    <a:pt x="477" y="617"/>
                  </a:cubicBezTo>
                  <a:cubicBezTo>
                    <a:pt x="427" y="695"/>
                    <a:pt x="346" y="730"/>
                    <a:pt x="254" y="730"/>
                  </a:cubicBezTo>
                  <a:cubicBezTo>
                    <a:pt x="125" y="730"/>
                    <a:pt x="0" y="659"/>
                    <a:pt x="0" y="521"/>
                  </a:cubicBezTo>
                  <a:cubicBezTo>
                    <a:pt x="0" y="295"/>
                    <a:pt x="264" y="279"/>
                    <a:pt x="437" y="279"/>
                  </a:cubicBezTo>
                  <a:cubicBezTo>
                    <a:pt x="481" y="279"/>
                    <a:pt x="481" y="279"/>
                    <a:pt x="481" y="279"/>
                  </a:cubicBezTo>
                  <a:cubicBezTo>
                    <a:pt x="481" y="261"/>
                    <a:pt x="481" y="261"/>
                    <a:pt x="481" y="261"/>
                  </a:cubicBezTo>
                  <a:cubicBezTo>
                    <a:pt x="481" y="175"/>
                    <a:pt x="414" y="130"/>
                    <a:pt x="322" y="130"/>
                  </a:cubicBezTo>
                  <a:cubicBezTo>
                    <a:pt x="249" y="130"/>
                    <a:pt x="182" y="159"/>
                    <a:pt x="136" y="203"/>
                  </a:cubicBezTo>
                  <a:cubicBezTo>
                    <a:pt x="45" y="111"/>
                    <a:pt x="45" y="111"/>
                    <a:pt x="45" y="111"/>
                  </a:cubicBezTo>
                  <a:cubicBezTo>
                    <a:pt x="122" y="33"/>
                    <a:pt x="230" y="0"/>
                    <a:pt x="340" y="0"/>
                  </a:cubicBezTo>
                  <a:cubicBezTo>
                    <a:pt x="637" y="0"/>
                    <a:pt x="637" y="214"/>
                    <a:pt x="637" y="313"/>
                  </a:cubicBezTo>
                  <a:cubicBezTo>
                    <a:pt x="637" y="713"/>
                    <a:pt x="637" y="713"/>
                    <a:pt x="637" y="713"/>
                  </a:cubicBezTo>
                  <a:cubicBezTo>
                    <a:pt x="481" y="713"/>
                    <a:pt x="481" y="713"/>
                    <a:pt x="481" y="713"/>
                  </a:cubicBezTo>
                  <a:lnTo>
                    <a:pt x="481" y="617"/>
                  </a:lnTo>
                  <a:close/>
                  <a:moveTo>
                    <a:pt x="471" y="401"/>
                  </a:moveTo>
                  <a:cubicBezTo>
                    <a:pt x="435" y="401"/>
                    <a:pt x="435" y="401"/>
                    <a:pt x="435" y="401"/>
                  </a:cubicBezTo>
                  <a:cubicBezTo>
                    <a:pt x="339" y="401"/>
                    <a:pt x="174" y="408"/>
                    <a:pt x="174" y="508"/>
                  </a:cubicBezTo>
                  <a:cubicBezTo>
                    <a:pt x="174" y="572"/>
                    <a:pt x="239" y="600"/>
                    <a:pt x="295" y="600"/>
                  </a:cubicBezTo>
                  <a:cubicBezTo>
                    <a:pt x="414" y="600"/>
                    <a:pt x="471" y="537"/>
                    <a:pt x="471" y="440"/>
                  </a:cubicBezTo>
                  <a:lnTo>
                    <a:pt x="471" y="40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9" name="Freeform 26"/>
            <p:cNvSpPr>
              <a:spLocks noSelect="1"/>
            </p:cNvSpPr>
            <p:nvPr/>
          </p:nvSpPr>
          <p:spPr bwMode="black">
            <a:xfrm>
              <a:off x="2505075" y="600076"/>
              <a:ext cx="241300" cy="160338"/>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8"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6"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grpSp>
      <p:sp>
        <p:nvSpPr>
          <p:cNvPr id="2" name="Titel 1"/>
          <p:cNvSpPr>
            <a:spLocks noGrp="1" noSelect="1"/>
          </p:cNvSpPr>
          <p:nvPr userDrawn="1">
            <p:ph type="ctrTitle" hasCustomPrompt="1"/>
          </p:nvPr>
        </p:nvSpPr>
        <p:spPr bwMode="gray">
          <a:xfrm>
            <a:off x="1308060" y="1758949"/>
            <a:ext cx="9792000" cy="1836000"/>
          </a:xfrm>
        </p:spPr>
        <p:txBody>
          <a:bodyPr anchor="t" anchorCtr="0"/>
          <a:lstStyle>
            <a:lvl1pPr algn="l">
              <a:defRPr sz="5500">
                <a:solidFill>
                  <a:schemeClr val="bg1"/>
                </a:solidFill>
              </a:defRPr>
            </a:lvl1pPr>
          </a:lstStyle>
          <a:p>
            <a:r>
              <a:rPr lang="nl-NL" noProof="1"/>
              <a:t>Titel</a:t>
            </a:r>
          </a:p>
        </p:txBody>
      </p:sp>
      <p:sp>
        <p:nvSpPr>
          <p:cNvPr id="3" name="Ondertitel 2"/>
          <p:cNvSpPr>
            <a:spLocks noGrp="1" noSelect="1"/>
          </p:cNvSpPr>
          <p:nvPr userDrawn="1">
            <p:ph type="subTitle" idx="1" hasCustomPrompt="1"/>
          </p:nvPr>
        </p:nvSpPr>
        <p:spPr bwMode="gray">
          <a:xfrm>
            <a:off x="1308060" y="3603786"/>
            <a:ext cx="9792000" cy="1752600"/>
          </a:xfrm>
        </p:spPr>
        <p:txBody>
          <a:bodyPr/>
          <a:lstStyle>
            <a:lvl1pPr marL="0" indent="0" algn="l">
              <a:buNone/>
              <a:defRPr sz="3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jaar / subtitel</a:t>
            </a:r>
          </a:p>
        </p:txBody>
      </p:sp>
      <p:sp>
        <p:nvSpPr>
          <p:cNvPr id="4" name="***Tijdelijke aanduiding voor datum 3"/>
          <p:cNvSpPr>
            <a:spLocks noGrp="1" noSelect="1"/>
          </p:cNvSpPr>
          <p:nvPr userDrawn="1">
            <p:ph type="dt" sz="half" idx="10"/>
          </p:nvPr>
        </p:nvSpPr>
        <p:spPr bwMode="gray">
          <a:xfrm>
            <a:off x="1182800" y="6357010"/>
            <a:ext cx="2844800" cy="365125"/>
          </a:xfrm>
          <a:prstGeom prst="rect">
            <a:avLst/>
          </a:prstGeom>
        </p:spPr>
        <p:txBody>
          <a:bodyPr/>
          <a:lstStyle>
            <a:lvl1pPr algn="l">
              <a:defRPr sz="1750" b="1">
                <a:solidFill>
                  <a:schemeClr val="bg1"/>
                </a:solidFill>
              </a:defRPr>
            </a:lvl1pPr>
          </a:lstStyle>
          <a:p>
            <a:endParaRPr lang="nl-NL" noProof="1"/>
          </a:p>
        </p:txBody>
      </p:sp>
      <p:sp>
        <p:nvSpPr>
          <p:cNvPr id="33" name="Afgeronde rechthoek 32"/>
          <p:cNvSpPr>
            <a:spLocks noSelect="1"/>
          </p:cNvSpPr>
          <p:nvPr userDrawn="1"/>
        </p:nvSpPr>
        <p:spPr bwMode="gray">
          <a:xfrm>
            <a:off x="-2308591" y="98556"/>
            <a:ext cx="2146029" cy="4770636"/>
          </a:xfrm>
          <a:prstGeom prst="roundRect">
            <a:avLst>
              <a:gd name="adj" fmla="val 970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r>
              <a:rPr lang="nl-NL" sz="1000" noProof="1">
                <a:solidFill>
                  <a:schemeClr val="tx1"/>
                </a:solidFill>
              </a:rPr>
              <a:t>Deze dia  is zo gemaakt dat je zelf een afbeelding kan invoegen. </a:t>
            </a:r>
          </a:p>
          <a:p>
            <a:pPr algn="l"/>
            <a:endParaRPr lang="nl-NL" sz="1000" noProof="1">
              <a:solidFill>
                <a:schemeClr val="tx1"/>
              </a:solidFill>
            </a:endParaRPr>
          </a:p>
          <a:p>
            <a:pPr algn="l"/>
            <a:r>
              <a:rPr lang="nl-NL" sz="1000" noProof="1">
                <a:solidFill>
                  <a:schemeClr val="tx1"/>
                </a:solidFill>
              </a:rPr>
              <a:t>Klik met de rechtermuisknop in de achtergrond en kies Achtergrond opmaken. Klik op Opvulling met figuur of bitmappatroon en dan op Invoegen uit bestand. Kies de afbeelding en klik op Invoegen en Sluiten.</a:t>
            </a:r>
          </a:p>
          <a:p>
            <a:pPr algn="l"/>
            <a:endParaRPr lang="nl-NL" sz="1000" noProof="1">
              <a:solidFill>
                <a:schemeClr val="tx1"/>
              </a:solidFill>
            </a:endParaRPr>
          </a:p>
          <a:p>
            <a:pPr algn="l"/>
            <a:r>
              <a:rPr lang="nl-NL" sz="1000" noProof="1">
                <a:solidFill>
                  <a:schemeClr val="tx1"/>
                </a:solidFill>
              </a:rPr>
              <a:t>Klik niet op Overal toepassen omdat de afbeelding dan op alle dia’s komt. Met ctrl + z kan je dit ongedaan maken.</a:t>
            </a:r>
          </a:p>
          <a:p>
            <a:pPr algn="l"/>
            <a:endParaRPr lang="nl-NL" sz="1000" noProof="1">
              <a:solidFill>
                <a:schemeClr val="tx1"/>
              </a:solidFill>
            </a:endParaRPr>
          </a:p>
          <a:p>
            <a:pPr algn="l"/>
            <a:r>
              <a:rPr lang="nl-NL" sz="1000" noProof="1">
                <a:solidFill>
                  <a:schemeClr val="tx1"/>
                </a:solidFill>
              </a:rPr>
              <a:t>Voor het mooiste resultaat is de beeldverhouding 1024 x 768 pixels. Het beeld blijft dan scherp en vervormt niet.</a:t>
            </a:r>
          </a:p>
          <a:p>
            <a:pPr algn="l"/>
            <a:endParaRPr lang="nl-NL" sz="1000" noProof="1">
              <a:solidFill>
                <a:schemeClr val="tx1"/>
              </a:solidFill>
            </a:endParaRPr>
          </a:p>
        </p:txBody>
      </p:sp>
    </p:spTree>
    <p:extLst>
      <p:ext uri="{BB962C8B-B14F-4D97-AF65-F5344CB8AC3E}">
        <p14:creationId xmlns:p14="http://schemas.microsoft.com/office/powerpoint/2010/main" val="102523507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reserve="1">
  <p:cSld name="Titel en kader">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lvl1pPr>
              <a:defRPr/>
            </a:lvl1pPr>
          </a:lstStyle>
          <a:p>
            <a:r>
              <a:rPr lang="nl-NL" noProof="1"/>
              <a:t>Titel</a:t>
            </a:r>
          </a:p>
        </p:txBody>
      </p:sp>
      <p:sp>
        <p:nvSpPr>
          <p:cNvPr id="3" name="Tijdelijke aanduiding voor inhoud 2"/>
          <p:cNvSpPr>
            <a:spLocks noGrp="1" noSelect="1"/>
          </p:cNvSpPr>
          <p:nvPr>
            <p:ph idx="1"/>
          </p:nvPr>
        </p:nvSpPr>
        <p:spPr bwMode="gray"/>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4" name="Tijdelijke aanduiding voor datum 3"/>
          <p:cNvSpPr>
            <a:spLocks noGrp="1" noSelect="1"/>
          </p:cNvSpPr>
          <p:nvPr>
            <p:ph type="dt" sz="half" idx="10"/>
          </p:nvPr>
        </p:nvSpPr>
        <p:spPr bwMode="gray"/>
        <p:txBody>
          <a:bodyPr/>
          <a:lstStyle/>
          <a:p>
            <a:endParaRPr lang="nl-NL" dirty="0"/>
          </a:p>
        </p:txBody>
      </p:sp>
      <p:sp>
        <p:nvSpPr>
          <p:cNvPr id="5" name="Tijdelijke aanduiding voor voettekst 4"/>
          <p:cNvSpPr>
            <a:spLocks noGrp="1" noSelect="1"/>
          </p:cNvSpPr>
          <p:nvPr>
            <p:ph type="ftr" sz="quarter" idx="11"/>
          </p:nvPr>
        </p:nvSpPr>
        <p:spPr bwMode="gray"/>
        <p:txBody>
          <a:bodyPr/>
          <a:lstStyle/>
          <a:p>
            <a:r>
              <a:rPr lang="nl-NL"/>
              <a:t>Informatiebijeenkomst 26 juli 2021 Europese Aanbesteding SVWI</a:t>
            </a:r>
            <a:endParaRPr lang="nl-NL" dirty="0"/>
          </a:p>
        </p:txBody>
      </p:sp>
      <p:sp>
        <p:nvSpPr>
          <p:cNvPr id="6" name="Tijdelijke aanduiding voor dianummer 5"/>
          <p:cNvSpPr>
            <a:spLocks noGrp="1" noSelect="1"/>
          </p:cNvSpPr>
          <p:nvPr>
            <p:ph type="sldNum" sz="quarter" idx="12"/>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115849609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title" preserve="1">
  <p:cSld name="Titeldia rood">
    <p:spTree>
      <p:nvGrpSpPr>
        <p:cNvPr id="1" name=""/>
        <p:cNvGrpSpPr/>
        <p:nvPr/>
      </p:nvGrpSpPr>
      <p:grpSpPr>
        <a:xfrm>
          <a:off x="0" y="0"/>
          <a:ext cx="0" cy="0"/>
          <a:chOff x="0" y="0"/>
          <a:chExt cx="0" cy="0"/>
        </a:xfrm>
      </p:grpSpPr>
      <p:sp>
        <p:nvSpPr>
          <p:cNvPr id="9" name="Rectangle 5"/>
          <p:cNvSpPr>
            <a:spLocks noSelect="1" noChangeArrowheads="1"/>
          </p:cNvSpPr>
          <p:nvPr/>
        </p:nvSpPr>
        <p:spPr bwMode="ltGray">
          <a:xfrm>
            <a:off x="0" y="1"/>
            <a:ext cx="12183533" cy="6854825"/>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0" name="Rectangle 6"/>
          <p:cNvSpPr>
            <a:spLocks noSelect="1" noChangeArrowheads="1"/>
          </p:cNvSpPr>
          <p:nvPr/>
        </p:nvSpPr>
        <p:spPr bwMode="white">
          <a:xfrm>
            <a:off x="0" y="1589"/>
            <a:ext cx="1049867" cy="68548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sz="1800" dirty="0"/>
          </a:p>
        </p:txBody>
      </p:sp>
      <p:grpSp>
        <p:nvGrpSpPr>
          <p:cNvPr id="5" name="Groep 4"/>
          <p:cNvGrpSpPr>
            <a:grpSpLocks noSelect="1"/>
          </p:cNvGrpSpPr>
          <p:nvPr userDrawn="1"/>
        </p:nvGrpSpPr>
        <p:grpSpPr bwMode="black">
          <a:xfrm>
            <a:off x="243417" y="163513"/>
            <a:ext cx="3418416" cy="1447800"/>
            <a:chOff x="182563" y="163513"/>
            <a:chExt cx="2563812" cy="1447800"/>
          </a:xfrm>
        </p:grpSpPr>
        <p:sp>
          <p:nvSpPr>
            <p:cNvPr id="11" name="Freeform 7"/>
            <p:cNvSpPr>
              <a:spLocks noSelect="1"/>
            </p:cNvSpPr>
            <p:nvPr/>
          </p:nvSpPr>
          <p:spPr bwMode="black">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2" name="Freeform 8"/>
            <p:cNvSpPr>
              <a:spLocks noSelect="1"/>
            </p:cNvSpPr>
            <p:nvPr/>
          </p:nvSpPr>
          <p:spPr bwMode="black">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3" name="Freeform 9"/>
            <p:cNvSpPr>
              <a:spLocks noSelect="1"/>
            </p:cNvSpPr>
            <p:nvPr/>
          </p:nvSpPr>
          <p:spPr bwMode="black">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4" name="Freeform 10"/>
            <p:cNvSpPr>
              <a:spLocks noSelect="1"/>
            </p:cNvSpPr>
            <p:nvPr/>
          </p:nvSpPr>
          <p:spPr bwMode="black">
            <a:xfrm>
              <a:off x="1031875" y="184151"/>
              <a:ext cx="214313" cy="241300"/>
            </a:xfrm>
            <a:custGeom>
              <a:avLst/>
              <a:gdLst/>
              <a:ahLst/>
              <a:cxnLst>
                <a:cxn ang="0">
                  <a:pos x="966" y="976"/>
                </a:cxn>
                <a:cxn ang="0">
                  <a:pos x="542" y="1077"/>
                </a:cxn>
                <a:cxn ang="0">
                  <a:pos x="0" y="543"/>
                </a:cxn>
                <a:cxn ang="0">
                  <a:pos x="542" y="0"/>
                </a:cxn>
                <a:cxn ang="0">
                  <a:pos x="946" y="129"/>
                </a:cxn>
                <a:cxn ang="0">
                  <a:pos x="811" y="265"/>
                </a:cxn>
                <a:cxn ang="0">
                  <a:pos x="543" y="165"/>
                </a:cxn>
                <a:cxn ang="0">
                  <a:pos x="191" y="531"/>
                </a:cxn>
                <a:cxn ang="0">
                  <a:pos x="543" y="912"/>
                </a:cxn>
                <a:cxn ang="0">
                  <a:pos x="784" y="859"/>
                </a:cxn>
                <a:cxn ang="0">
                  <a:pos x="784" y="617"/>
                </a:cxn>
                <a:cxn ang="0">
                  <a:pos x="574" y="617"/>
                </a:cxn>
                <a:cxn ang="0">
                  <a:pos x="574" y="452"/>
                </a:cxn>
                <a:cxn ang="0">
                  <a:pos x="966" y="452"/>
                </a:cxn>
                <a:cxn ang="0">
                  <a:pos x="966" y="976"/>
                </a:cxn>
              </a:cxnLst>
              <a:rect l="0" t="0" r="r" b="b"/>
              <a:pathLst>
                <a:path w="966" h="1077">
                  <a:moveTo>
                    <a:pt x="966" y="976"/>
                  </a:moveTo>
                  <a:cubicBezTo>
                    <a:pt x="842" y="1043"/>
                    <a:pt x="700" y="1077"/>
                    <a:pt x="542" y="1077"/>
                  </a:cubicBezTo>
                  <a:cubicBezTo>
                    <a:pt x="226" y="1077"/>
                    <a:pt x="0" y="863"/>
                    <a:pt x="0" y="543"/>
                  </a:cubicBezTo>
                  <a:cubicBezTo>
                    <a:pt x="0" y="214"/>
                    <a:pt x="226" y="0"/>
                    <a:pt x="542" y="0"/>
                  </a:cubicBezTo>
                  <a:cubicBezTo>
                    <a:pt x="698" y="0"/>
                    <a:pt x="839" y="33"/>
                    <a:pt x="946" y="129"/>
                  </a:cubicBezTo>
                  <a:cubicBezTo>
                    <a:pt x="811" y="265"/>
                    <a:pt x="811" y="265"/>
                    <a:pt x="811" y="265"/>
                  </a:cubicBezTo>
                  <a:cubicBezTo>
                    <a:pt x="746" y="201"/>
                    <a:pt x="646" y="165"/>
                    <a:pt x="543" y="165"/>
                  </a:cubicBezTo>
                  <a:cubicBezTo>
                    <a:pt x="332" y="165"/>
                    <a:pt x="191" y="327"/>
                    <a:pt x="191" y="531"/>
                  </a:cubicBezTo>
                  <a:cubicBezTo>
                    <a:pt x="191" y="750"/>
                    <a:pt x="332" y="912"/>
                    <a:pt x="543" y="912"/>
                  </a:cubicBezTo>
                  <a:cubicBezTo>
                    <a:pt x="636" y="912"/>
                    <a:pt x="720" y="895"/>
                    <a:pt x="784" y="859"/>
                  </a:cubicBezTo>
                  <a:cubicBezTo>
                    <a:pt x="784" y="617"/>
                    <a:pt x="784" y="617"/>
                    <a:pt x="784" y="617"/>
                  </a:cubicBezTo>
                  <a:cubicBezTo>
                    <a:pt x="574" y="617"/>
                    <a:pt x="574" y="617"/>
                    <a:pt x="574" y="617"/>
                  </a:cubicBezTo>
                  <a:cubicBezTo>
                    <a:pt x="574" y="452"/>
                    <a:pt x="574" y="452"/>
                    <a:pt x="574" y="452"/>
                  </a:cubicBezTo>
                  <a:cubicBezTo>
                    <a:pt x="966" y="452"/>
                    <a:pt x="966" y="452"/>
                    <a:pt x="966" y="452"/>
                  </a:cubicBezTo>
                  <a:lnTo>
                    <a:pt x="966" y="9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5" name="Freeform 11"/>
            <p:cNvSpPr>
              <a:spLocks noSelect="1"/>
            </p:cNvSpPr>
            <p:nvPr/>
          </p:nvSpPr>
          <p:spPr bwMode="black">
            <a:xfrm>
              <a:off x="1284288" y="260351"/>
              <a:ext cx="157163" cy="163513"/>
            </a:xfrm>
            <a:custGeom>
              <a:avLst/>
              <a:gdLst/>
              <a:ahLst/>
              <a:cxnLst>
                <a:cxn ang="0">
                  <a:pos x="174" y="426"/>
                </a:cxn>
                <a:cxn ang="0">
                  <a:pos x="361"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1"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6" name="Freeform 12"/>
            <p:cNvSpPr>
              <a:spLocks noSelect="1"/>
            </p:cNvSpPr>
            <p:nvPr/>
          </p:nvSpPr>
          <p:spPr bwMode="black">
            <a:xfrm>
              <a:off x="1476375" y="260351"/>
              <a:ext cx="239713" cy="158750"/>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2"/>
                </a:cxn>
                <a:cxn ang="0">
                  <a:pos x="904" y="712"/>
                </a:cxn>
                <a:cxn ang="0">
                  <a:pos x="904" y="318"/>
                </a:cxn>
                <a:cxn ang="0">
                  <a:pos x="775" y="156"/>
                </a:cxn>
                <a:cxn ang="0">
                  <a:pos x="626" y="336"/>
                </a:cxn>
                <a:cxn ang="0">
                  <a:pos x="626" y="712"/>
                </a:cxn>
                <a:cxn ang="0">
                  <a:pos x="452" y="712"/>
                </a:cxn>
                <a:cxn ang="0">
                  <a:pos x="452" y="298"/>
                </a:cxn>
                <a:cxn ang="0">
                  <a:pos x="333" y="156"/>
                </a:cxn>
                <a:cxn ang="0">
                  <a:pos x="174" y="333"/>
                </a:cxn>
                <a:cxn ang="0">
                  <a:pos x="174" y="712"/>
                </a:cxn>
                <a:cxn ang="0">
                  <a:pos x="0" y="712"/>
                </a:cxn>
                <a:cxn ang="0">
                  <a:pos x="0" y="17"/>
                </a:cxn>
              </a:cxnLst>
              <a:rect l="0" t="0" r="r" b="b"/>
              <a:pathLst>
                <a:path w="1078" h="712">
                  <a:moveTo>
                    <a:pt x="0" y="17"/>
                  </a:moveTo>
                  <a:cubicBezTo>
                    <a:pt x="165" y="17"/>
                    <a:pt x="165" y="17"/>
                    <a:pt x="165" y="17"/>
                  </a:cubicBezTo>
                  <a:cubicBezTo>
                    <a:pt x="165" y="126"/>
                    <a:pt x="165" y="126"/>
                    <a:pt x="165" y="126"/>
                  </a:cubicBezTo>
                  <a:cubicBezTo>
                    <a:pt x="168" y="126"/>
                    <a:pt x="168" y="126"/>
                    <a:pt x="168" y="126"/>
                  </a:cubicBezTo>
                  <a:cubicBezTo>
                    <a:pt x="198" y="61"/>
                    <a:pt x="265" y="0"/>
                    <a:pt x="381" y="0"/>
                  </a:cubicBezTo>
                  <a:cubicBezTo>
                    <a:pt x="488" y="0"/>
                    <a:pt x="562" y="42"/>
                    <a:pt x="598" y="129"/>
                  </a:cubicBezTo>
                  <a:cubicBezTo>
                    <a:pt x="649" y="40"/>
                    <a:pt x="723" y="0"/>
                    <a:pt x="827" y="0"/>
                  </a:cubicBezTo>
                  <a:cubicBezTo>
                    <a:pt x="1013" y="0"/>
                    <a:pt x="1078" y="132"/>
                    <a:pt x="1078" y="298"/>
                  </a:cubicBezTo>
                  <a:cubicBezTo>
                    <a:pt x="1078" y="712"/>
                    <a:pt x="1078" y="712"/>
                    <a:pt x="1078" y="712"/>
                  </a:cubicBezTo>
                  <a:cubicBezTo>
                    <a:pt x="904" y="712"/>
                    <a:pt x="904" y="712"/>
                    <a:pt x="904" y="712"/>
                  </a:cubicBezTo>
                  <a:cubicBezTo>
                    <a:pt x="904" y="318"/>
                    <a:pt x="904" y="318"/>
                    <a:pt x="904" y="318"/>
                  </a:cubicBezTo>
                  <a:cubicBezTo>
                    <a:pt x="904" y="231"/>
                    <a:pt x="878" y="156"/>
                    <a:pt x="775" y="156"/>
                  </a:cubicBezTo>
                  <a:cubicBezTo>
                    <a:pt x="666" y="156"/>
                    <a:pt x="626" y="246"/>
                    <a:pt x="626" y="336"/>
                  </a:cubicBezTo>
                  <a:cubicBezTo>
                    <a:pt x="626" y="712"/>
                    <a:pt x="626" y="712"/>
                    <a:pt x="626" y="712"/>
                  </a:cubicBezTo>
                  <a:cubicBezTo>
                    <a:pt x="452" y="712"/>
                    <a:pt x="452" y="712"/>
                    <a:pt x="452" y="712"/>
                  </a:cubicBezTo>
                  <a:cubicBezTo>
                    <a:pt x="452" y="298"/>
                    <a:pt x="452" y="298"/>
                    <a:pt x="452" y="298"/>
                  </a:cubicBezTo>
                  <a:cubicBezTo>
                    <a:pt x="452" y="213"/>
                    <a:pt x="417"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7" name="Freeform 13"/>
            <p:cNvSpPr>
              <a:spLocks noSelect="1"/>
            </p:cNvSpPr>
            <p:nvPr/>
          </p:nvSpPr>
          <p:spPr bwMode="black">
            <a:xfrm>
              <a:off x="1751013" y="260351"/>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5" y="528"/>
                    <a:pt x="264" y="591"/>
                    <a:pt x="361" y="591"/>
                  </a:cubicBezTo>
                  <a:cubicBezTo>
                    <a:pt x="448" y="591"/>
                    <a:pt x="504" y="550"/>
                    <a:pt x="548"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8" name="Freeform 14"/>
            <p:cNvSpPr>
              <a:spLocks noSelect="1"/>
            </p:cNvSpPr>
            <p:nvPr/>
          </p:nvSpPr>
          <p:spPr bwMode="black">
            <a:xfrm>
              <a:off x="1936750" y="260351"/>
              <a:ext cx="157163" cy="163513"/>
            </a:xfrm>
            <a:custGeom>
              <a:avLst/>
              <a:gdLst/>
              <a:ahLst/>
              <a:cxnLst>
                <a:cxn ang="0">
                  <a:pos x="174" y="426"/>
                </a:cxn>
                <a:cxn ang="0">
                  <a:pos x="360"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8"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9" name="Freeform 15"/>
            <p:cNvSpPr>
              <a:spLocks noSelect="1"/>
            </p:cNvSpPr>
            <p:nvPr/>
          </p:nvSpPr>
          <p:spPr bwMode="black">
            <a:xfrm>
              <a:off x="2128838" y="260351"/>
              <a:ext cx="142875" cy="158750"/>
            </a:xfrm>
            <a:custGeom>
              <a:avLst/>
              <a:gdLst/>
              <a:ahLst/>
              <a:cxnLst>
                <a:cxn ang="0">
                  <a:pos x="0" y="17"/>
                </a:cxn>
                <a:cxn ang="0">
                  <a:pos x="165" y="17"/>
                </a:cxn>
                <a:cxn ang="0">
                  <a:pos x="165" y="129"/>
                </a:cxn>
                <a:cxn ang="0">
                  <a:pos x="168" y="129"/>
                </a:cxn>
                <a:cxn ang="0">
                  <a:pos x="381" y="0"/>
                </a:cxn>
                <a:cxn ang="0">
                  <a:pos x="635" y="273"/>
                </a:cxn>
                <a:cxn ang="0">
                  <a:pos x="635" y="712"/>
                </a:cxn>
                <a:cxn ang="0">
                  <a:pos x="461" y="712"/>
                </a:cxn>
                <a:cxn ang="0">
                  <a:pos x="461" y="360"/>
                </a:cxn>
                <a:cxn ang="0">
                  <a:pos x="333" y="156"/>
                </a:cxn>
                <a:cxn ang="0">
                  <a:pos x="174" y="333"/>
                </a:cxn>
                <a:cxn ang="0">
                  <a:pos x="174" y="712"/>
                </a:cxn>
                <a:cxn ang="0">
                  <a:pos x="0" y="712"/>
                </a:cxn>
                <a:cxn ang="0">
                  <a:pos x="0" y="17"/>
                </a:cxn>
              </a:cxnLst>
              <a:rect l="0" t="0" r="r" b="b"/>
              <a:pathLst>
                <a:path w="635" h="712">
                  <a:moveTo>
                    <a:pt x="0" y="17"/>
                  </a:moveTo>
                  <a:cubicBezTo>
                    <a:pt x="165" y="17"/>
                    <a:pt x="165" y="17"/>
                    <a:pt x="165" y="17"/>
                  </a:cubicBezTo>
                  <a:cubicBezTo>
                    <a:pt x="165" y="129"/>
                    <a:pt x="165" y="129"/>
                    <a:pt x="165" y="129"/>
                  </a:cubicBezTo>
                  <a:cubicBezTo>
                    <a:pt x="168" y="129"/>
                    <a:pt x="168" y="129"/>
                    <a:pt x="168" y="129"/>
                  </a:cubicBezTo>
                  <a:cubicBezTo>
                    <a:pt x="200" y="59"/>
                    <a:pt x="265" y="0"/>
                    <a:pt x="381" y="0"/>
                  </a:cubicBezTo>
                  <a:cubicBezTo>
                    <a:pt x="568" y="0"/>
                    <a:pt x="635" y="132"/>
                    <a:pt x="635" y="273"/>
                  </a:cubicBezTo>
                  <a:cubicBezTo>
                    <a:pt x="635" y="712"/>
                    <a:pt x="635" y="712"/>
                    <a:pt x="635" y="712"/>
                  </a:cubicBezTo>
                  <a:cubicBezTo>
                    <a:pt x="461" y="712"/>
                    <a:pt x="461" y="712"/>
                    <a:pt x="461" y="712"/>
                  </a:cubicBezTo>
                  <a:cubicBezTo>
                    <a:pt x="461" y="360"/>
                    <a:pt x="461" y="360"/>
                    <a:pt x="461" y="360"/>
                  </a:cubicBezTo>
                  <a:cubicBezTo>
                    <a:pt x="461" y="284"/>
                    <a:pt x="455"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0" name="Freeform 16"/>
            <p:cNvSpPr>
              <a:spLocks noSelect="1"/>
            </p:cNvSpPr>
            <p:nvPr/>
          </p:nvSpPr>
          <p:spPr bwMode="black">
            <a:xfrm>
              <a:off x="2297113" y="219076"/>
              <a:ext cx="112713" cy="204788"/>
            </a:xfrm>
            <a:custGeom>
              <a:avLst/>
              <a:gdLst/>
              <a:ahLst/>
              <a:cxnLst>
                <a:cxn ang="0">
                  <a:pos x="0" y="349"/>
                </a:cxn>
                <a:cxn ang="0">
                  <a:pos x="0" y="201"/>
                </a:cxn>
                <a:cxn ang="0">
                  <a:pos x="143" y="201"/>
                </a:cxn>
                <a:cxn ang="0">
                  <a:pos x="143" y="0"/>
                </a:cxn>
                <a:cxn ang="0">
                  <a:pos x="317" y="0"/>
                </a:cxn>
                <a:cxn ang="0">
                  <a:pos x="317" y="201"/>
                </a:cxn>
                <a:cxn ang="0">
                  <a:pos x="508" y="201"/>
                </a:cxn>
                <a:cxn ang="0">
                  <a:pos x="508" y="349"/>
                </a:cxn>
                <a:cxn ang="0">
                  <a:pos x="317" y="349"/>
                </a:cxn>
                <a:cxn ang="0">
                  <a:pos x="317" y="653"/>
                </a:cxn>
                <a:cxn ang="0">
                  <a:pos x="414" y="766"/>
                </a:cxn>
                <a:cxn ang="0">
                  <a:pos x="508" y="744"/>
                </a:cxn>
                <a:cxn ang="0">
                  <a:pos x="508" y="891"/>
                </a:cxn>
                <a:cxn ang="0">
                  <a:pos x="371" y="914"/>
                </a:cxn>
                <a:cxn ang="0">
                  <a:pos x="143" y="668"/>
                </a:cxn>
                <a:cxn ang="0">
                  <a:pos x="143" y="349"/>
                </a:cxn>
                <a:cxn ang="0">
                  <a:pos x="0" y="349"/>
                </a:cxn>
              </a:cxnLst>
              <a:rect l="0" t="0" r="r" b="b"/>
              <a:pathLst>
                <a:path w="508"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8" y="201"/>
                    <a:pt x="508" y="201"/>
                    <a:pt x="508" y="201"/>
                  </a:cubicBezTo>
                  <a:cubicBezTo>
                    <a:pt x="508" y="349"/>
                    <a:pt x="508" y="349"/>
                    <a:pt x="508" y="349"/>
                  </a:cubicBezTo>
                  <a:cubicBezTo>
                    <a:pt x="317" y="349"/>
                    <a:pt x="317" y="349"/>
                    <a:pt x="317" y="349"/>
                  </a:cubicBezTo>
                  <a:cubicBezTo>
                    <a:pt x="317" y="653"/>
                    <a:pt x="317" y="653"/>
                    <a:pt x="317" y="653"/>
                  </a:cubicBezTo>
                  <a:cubicBezTo>
                    <a:pt x="317" y="723"/>
                    <a:pt x="337" y="766"/>
                    <a:pt x="414" y="766"/>
                  </a:cubicBezTo>
                  <a:cubicBezTo>
                    <a:pt x="444" y="766"/>
                    <a:pt x="486" y="760"/>
                    <a:pt x="508" y="744"/>
                  </a:cubicBezTo>
                  <a:cubicBezTo>
                    <a:pt x="508" y="891"/>
                    <a:pt x="508" y="891"/>
                    <a:pt x="508" y="891"/>
                  </a:cubicBezTo>
                  <a:cubicBezTo>
                    <a:pt x="472" y="908"/>
                    <a:pt x="411" y="914"/>
                    <a:pt x="371" y="914"/>
                  </a:cubicBezTo>
                  <a:cubicBezTo>
                    <a:pt x="186"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1" name="Freeform 17"/>
            <p:cNvSpPr>
              <a:spLocks noSelect="1"/>
            </p:cNvSpPr>
            <p:nvPr/>
          </p:nvSpPr>
          <p:spPr bwMode="black">
            <a:xfrm>
              <a:off x="2433638" y="260351"/>
              <a:ext cx="157163" cy="163513"/>
            </a:xfrm>
            <a:custGeom>
              <a:avLst/>
              <a:gdLst/>
              <a:ahLst/>
              <a:cxnLst>
                <a:cxn ang="0">
                  <a:pos x="173" y="426"/>
                </a:cxn>
                <a:cxn ang="0">
                  <a:pos x="360" y="591"/>
                </a:cxn>
                <a:cxn ang="0">
                  <a:pos x="547" y="497"/>
                </a:cxn>
                <a:cxn ang="0">
                  <a:pos x="672" y="591"/>
                </a:cxn>
                <a:cxn ang="0">
                  <a:pos x="378" y="730"/>
                </a:cxn>
                <a:cxn ang="0">
                  <a:pos x="0" y="365"/>
                </a:cxn>
                <a:cxn ang="0">
                  <a:pos x="378" y="0"/>
                </a:cxn>
                <a:cxn ang="0">
                  <a:pos x="704" y="378"/>
                </a:cxn>
                <a:cxn ang="0">
                  <a:pos x="704" y="426"/>
                </a:cxn>
                <a:cxn ang="0">
                  <a:pos x="173" y="426"/>
                </a:cxn>
                <a:cxn ang="0">
                  <a:pos x="530" y="295"/>
                </a:cxn>
                <a:cxn ang="0">
                  <a:pos x="353" y="130"/>
                </a:cxn>
                <a:cxn ang="0">
                  <a:pos x="173" y="295"/>
                </a:cxn>
                <a:cxn ang="0">
                  <a:pos x="530" y="295"/>
                </a:cxn>
              </a:cxnLst>
              <a:rect l="0" t="0" r="r" b="b"/>
              <a:pathLst>
                <a:path w="704" h="730">
                  <a:moveTo>
                    <a:pt x="173"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3" y="426"/>
                  </a:lnTo>
                  <a:close/>
                  <a:moveTo>
                    <a:pt x="530" y="295"/>
                  </a:moveTo>
                  <a:cubicBezTo>
                    <a:pt x="528" y="194"/>
                    <a:pt x="462" y="130"/>
                    <a:pt x="353" y="130"/>
                  </a:cubicBezTo>
                  <a:cubicBezTo>
                    <a:pt x="250" y="130"/>
                    <a:pt x="186" y="195"/>
                    <a:pt x="173"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2" name="Freeform 18"/>
            <p:cNvSpPr>
              <a:spLocks noSelect="1"/>
            </p:cNvSpPr>
            <p:nvPr/>
          </p:nvSpPr>
          <p:spPr bwMode="black">
            <a:xfrm>
              <a:off x="1017588" y="530226"/>
              <a:ext cx="233363" cy="230188"/>
            </a:xfrm>
            <a:custGeom>
              <a:avLst/>
              <a:gdLst/>
              <a:ahLst/>
              <a:cxnLst>
                <a:cxn ang="0">
                  <a:pos x="63" y="0"/>
                </a:cxn>
                <a:cxn ang="0">
                  <a:pos x="85" y="0"/>
                </a:cxn>
                <a:cxn ang="0">
                  <a:pos x="147" y="145"/>
                </a:cxn>
                <a:cxn ang="0">
                  <a:pos x="118" y="145"/>
                </a:cxn>
                <a:cxn ang="0">
                  <a:pos x="105" y="112"/>
                </a:cxn>
                <a:cxn ang="0">
                  <a:pos x="42" y="112"/>
                </a:cxn>
                <a:cxn ang="0">
                  <a:pos x="29" y="145"/>
                </a:cxn>
                <a:cxn ang="0">
                  <a:pos x="0" y="145"/>
                </a:cxn>
                <a:cxn ang="0">
                  <a:pos x="63" y="0"/>
                </a:cxn>
                <a:cxn ang="0">
                  <a:pos x="96" y="90"/>
                </a:cxn>
                <a:cxn ang="0">
                  <a:pos x="74" y="31"/>
                </a:cxn>
                <a:cxn ang="0">
                  <a:pos x="51" y="90"/>
                </a:cxn>
                <a:cxn ang="0">
                  <a:pos x="96" y="90"/>
                </a:cxn>
              </a:cxnLst>
              <a:rect l="0" t="0" r="r" b="b"/>
              <a:pathLst>
                <a:path w="147" h="145">
                  <a:moveTo>
                    <a:pt x="63" y="0"/>
                  </a:moveTo>
                  <a:lnTo>
                    <a:pt x="85" y="0"/>
                  </a:lnTo>
                  <a:lnTo>
                    <a:pt x="147" y="145"/>
                  </a:lnTo>
                  <a:lnTo>
                    <a:pt x="118" y="145"/>
                  </a:lnTo>
                  <a:lnTo>
                    <a:pt x="105" y="112"/>
                  </a:lnTo>
                  <a:lnTo>
                    <a:pt x="42" y="112"/>
                  </a:lnTo>
                  <a:lnTo>
                    <a:pt x="29" y="145"/>
                  </a:lnTo>
                  <a:lnTo>
                    <a:pt x="0" y="145"/>
                  </a:lnTo>
                  <a:lnTo>
                    <a:pt x="63" y="0"/>
                  </a:lnTo>
                  <a:close/>
                  <a:moveTo>
                    <a:pt x="96" y="90"/>
                  </a:moveTo>
                  <a:lnTo>
                    <a:pt x="74" y="31"/>
                  </a:lnTo>
                  <a:lnTo>
                    <a:pt x="51" y="90"/>
                  </a:lnTo>
                  <a:lnTo>
                    <a:pt x="96" y="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3" name="Freeform 19"/>
            <p:cNvSpPr>
              <a:spLocks noSelect="1"/>
            </p:cNvSpPr>
            <p:nvPr/>
          </p:nvSpPr>
          <p:spPr bwMode="black">
            <a:xfrm>
              <a:off x="1271588" y="600076"/>
              <a:ext cx="241300" cy="160338"/>
            </a:xfrm>
            <a:custGeom>
              <a:avLst/>
              <a:gdLst/>
              <a:ahLst/>
              <a:cxnLst>
                <a:cxn ang="0">
                  <a:pos x="0" y="17"/>
                </a:cxn>
                <a:cxn ang="0">
                  <a:pos x="165" y="17"/>
                </a:cxn>
                <a:cxn ang="0">
                  <a:pos x="165" y="126"/>
                </a:cxn>
                <a:cxn ang="0">
                  <a:pos x="168" y="126"/>
                </a:cxn>
                <a:cxn ang="0">
                  <a:pos x="381" y="0"/>
                </a:cxn>
                <a:cxn ang="0">
                  <a:pos x="599"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9"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7"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4" name="Freeform 20"/>
            <p:cNvSpPr>
              <a:spLocks noSelect="1"/>
            </p:cNvSpPr>
            <p:nvPr/>
          </p:nvSpPr>
          <p:spPr bwMode="black">
            <a:xfrm>
              <a:off x="1541463" y="600076"/>
              <a:ext cx="127000" cy="163513"/>
            </a:xfrm>
            <a:custGeom>
              <a:avLst/>
              <a:gdLst/>
              <a:ahLst/>
              <a:cxnLst>
                <a:cxn ang="0">
                  <a:pos x="433" y="210"/>
                </a:cxn>
                <a:cxn ang="0">
                  <a:pos x="297" y="139"/>
                </a:cxn>
                <a:cxn ang="0">
                  <a:pos x="195" y="213"/>
                </a:cxn>
                <a:cxn ang="0">
                  <a:pos x="570" y="507"/>
                </a:cxn>
                <a:cxn ang="0">
                  <a:pos x="271" y="730"/>
                </a:cxn>
                <a:cxn ang="0">
                  <a:pos x="0" y="623"/>
                </a:cxn>
                <a:cxn ang="0">
                  <a:pos x="116" y="514"/>
                </a:cxn>
                <a:cxn ang="0">
                  <a:pos x="281" y="600"/>
                </a:cxn>
                <a:cxn ang="0">
                  <a:pos x="397" y="520"/>
                </a:cxn>
                <a:cxn ang="0">
                  <a:pos x="21" y="224"/>
                </a:cxn>
                <a:cxn ang="0">
                  <a:pos x="301" y="0"/>
                </a:cxn>
                <a:cxn ang="0">
                  <a:pos x="549" y="106"/>
                </a:cxn>
                <a:cxn ang="0">
                  <a:pos x="433" y="210"/>
                </a:cxn>
              </a:cxnLst>
              <a:rect l="0" t="0" r="r" b="b"/>
              <a:pathLst>
                <a:path w="570" h="730">
                  <a:moveTo>
                    <a:pt x="433" y="210"/>
                  </a:moveTo>
                  <a:cubicBezTo>
                    <a:pt x="399" y="164"/>
                    <a:pt x="356" y="139"/>
                    <a:pt x="297" y="139"/>
                  </a:cubicBezTo>
                  <a:cubicBezTo>
                    <a:pt x="250" y="139"/>
                    <a:pt x="195" y="161"/>
                    <a:pt x="195" y="213"/>
                  </a:cubicBezTo>
                  <a:cubicBezTo>
                    <a:pt x="195" y="337"/>
                    <a:pt x="570" y="236"/>
                    <a:pt x="570" y="507"/>
                  </a:cubicBezTo>
                  <a:cubicBezTo>
                    <a:pt x="570" y="672"/>
                    <a:pt x="413" y="730"/>
                    <a:pt x="271" y="730"/>
                  </a:cubicBezTo>
                  <a:cubicBezTo>
                    <a:pt x="163" y="730"/>
                    <a:pt x="71" y="702"/>
                    <a:pt x="0" y="623"/>
                  </a:cubicBezTo>
                  <a:cubicBezTo>
                    <a:pt x="116" y="514"/>
                    <a:pt x="116" y="514"/>
                    <a:pt x="116" y="514"/>
                  </a:cubicBezTo>
                  <a:cubicBezTo>
                    <a:pt x="161" y="563"/>
                    <a:pt x="207" y="600"/>
                    <a:pt x="281" y="600"/>
                  </a:cubicBezTo>
                  <a:cubicBezTo>
                    <a:pt x="331" y="600"/>
                    <a:pt x="397" y="575"/>
                    <a:pt x="397" y="520"/>
                  </a:cubicBezTo>
                  <a:cubicBezTo>
                    <a:pt x="397" y="376"/>
                    <a:pt x="21" y="489"/>
                    <a:pt x="21" y="224"/>
                  </a:cubicBezTo>
                  <a:cubicBezTo>
                    <a:pt x="21" y="69"/>
                    <a:pt x="161" y="0"/>
                    <a:pt x="301" y="0"/>
                  </a:cubicBezTo>
                  <a:cubicBezTo>
                    <a:pt x="394" y="0"/>
                    <a:pt x="492" y="29"/>
                    <a:pt x="549" y="106"/>
                  </a:cubicBezTo>
                  <a:lnTo>
                    <a:pt x="433" y="2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5" name="Freeform 21"/>
            <p:cNvSpPr>
              <a:spLocks noSelect="1"/>
            </p:cNvSpPr>
            <p:nvPr/>
          </p:nvSpPr>
          <p:spPr bwMode="black">
            <a:xfrm>
              <a:off x="1679575" y="560388"/>
              <a:ext cx="114300" cy="203200"/>
            </a:xfrm>
            <a:custGeom>
              <a:avLst/>
              <a:gdLst/>
              <a:ahLst/>
              <a:cxnLst>
                <a:cxn ang="0">
                  <a:pos x="0" y="349"/>
                </a:cxn>
                <a:cxn ang="0">
                  <a:pos x="0" y="201"/>
                </a:cxn>
                <a:cxn ang="0">
                  <a:pos x="143" y="201"/>
                </a:cxn>
                <a:cxn ang="0">
                  <a:pos x="143" y="0"/>
                </a:cxn>
                <a:cxn ang="0">
                  <a:pos x="317" y="0"/>
                </a:cxn>
                <a:cxn ang="0">
                  <a:pos x="317" y="201"/>
                </a:cxn>
                <a:cxn ang="0">
                  <a:pos x="509" y="201"/>
                </a:cxn>
                <a:cxn ang="0">
                  <a:pos x="509" y="349"/>
                </a:cxn>
                <a:cxn ang="0">
                  <a:pos x="317" y="349"/>
                </a:cxn>
                <a:cxn ang="0">
                  <a:pos x="317" y="653"/>
                </a:cxn>
                <a:cxn ang="0">
                  <a:pos x="414" y="766"/>
                </a:cxn>
                <a:cxn ang="0">
                  <a:pos x="509" y="744"/>
                </a:cxn>
                <a:cxn ang="0">
                  <a:pos x="509" y="891"/>
                </a:cxn>
                <a:cxn ang="0">
                  <a:pos x="371" y="914"/>
                </a:cxn>
                <a:cxn ang="0">
                  <a:pos x="143" y="668"/>
                </a:cxn>
                <a:cxn ang="0">
                  <a:pos x="143" y="349"/>
                </a:cxn>
                <a:cxn ang="0">
                  <a:pos x="0" y="349"/>
                </a:cxn>
              </a:cxnLst>
              <a:rect l="0" t="0" r="r" b="b"/>
              <a:pathLst>
                <a:path w="509"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9" y="201"/>
                    <a:pt x="509" y="201"/>
                    <a:pt x="509" y="201"/>
                  </a:cubicBezTo>
                  <a:cubicBezTo>
                    <a:pt x="509" y="349"/>
                    <a:pt x="509" y="349"/>
                    <a:pt x="509" y="349"/>
                  </a:cubicBezTo>
                  <a:cubicBezTo>
                    <a:pt x="317" y="349"/>
                    <a:pt x="317" y="349"/>
                    <a:pt x="317" y="349"/>
                  </a:cubicBezTo>
                  <a:cubicBezTo>
                    <a:pt x="317" y="653"/>
                    <a:pt x="317" y="653"/>
                    <a:pt x="317" y="653"/>
                  </a:cubicBezTo>
                  <a:cubicBezTo>
                    <a:pt x="317" y="723"/>
                    <a:pt x="338" y="766"/>
                    <a:pt x="414" y="766"/>
                  </a:cubicBezTo>
                  <a:cubicBezTo>
                    <a:pt x="445" y="766"/>
                    <a:pt x="487" y="760"/>
                    <a:pt x="509" y="744"/>
                  </a:cubicBezTo>
                  <a:cubicBezTo>
                    <a:pt x="509" y="891"/>
                    <a:pt x="509" y="891"/>
                    <a:pt x="509" y="891"/>
                  </a:cubicBezTo>
                  <a:cubicBezTo>
                    <a:pt x="472" y="908"/>
                    <a:pt x="412" y="914"/>
                    <a:pt x="371" y="914"/>
                  </a:cubicBezTo>
                  <a:cubicBezTo>
                    <a:pt x="187"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6" name="Freeform 22"/>
            <p:cNvSpPr>
              <a:spLocks noSelect="1"/>
            </p:cNvSpPr>
            <p:nvPr/>
          </p:nvSpPr>
          <p:spPr bwMode="black">
            <a:xfrm>
              <a:off x="1816100" y="600076"/>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6" y="529"/>
                    <a:pt x="264" y="591"/>
                    <a:pt x="361" y="591"/>
                  </a:cubicBezTo>
                  <a:cubicBezTo>
                    <a:pt x="448" y="591"/>
                    <a:pt x="504" y="550"/>
                    <a:pt x="548" y="497"/>
                  </a:cubicBezTo>
                  <a:cubicBezTo>
                    <a:pt x="672" y="591"/>
                    <a:pt x="672" y="591"/>
                    <a:pt x="672" y="591"/>
                  </a:cubicBezTo>
                  <a:cubicBezTo>
                    <a:pt x="591" y="691"/>
                    <a:pt x="488" y="730"/>
                    <a:pt x="378" y="730"/>
                  </a:cubicBezTo>
                  <a:cubicBezTo>
                    <a:pt x="168" y="730"/>
                    <a:pt x="0" y="584"/>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7" name="Freeform 23"/>
            <p:cNvSpPr>
              <a:spLocks noSelect="1"/>
            </p:cNvSpPr>
            <p:nvPr/>
          </p:nvSpPr>
          <p:spPr bwMode="black">
            <a:xfrm>
              <a:off x="2009775" y="600076"/>
              <a:ext cx="98425" cy="160338"/>
            </a:xfrm>
            <a:custGeom>
              <a:avLst/>
              <a:gdLst/>
              <a:ahLst/>
              <a:cxnLst>
                <a:cxn ang="0">
                  <a:pos x="0" y="17"/>
                </a:cxn>
                <a:cxn ang="0">
                  <a:pos x="174" y="17"/>
                </a:cxn>
                <a:cxn ang="0">
                  <a:pos x="174" y="127"/>
                </a:cxn>
                <a:cxn ang="0">
                  <a:pos x="177" y="127"/>
                </a:cxn>
                <a:cxn ang="0">
                  <a:pos x="383" y="0"/>
                </a:cxn>
                <a:cxn ang="0">
                  <a:pos x="445" y="10"/>
                </a:cxn>
                <a:cxn ang="0">
                  <a:pos x="445" y="178"/>
                </a:cxn>
                <a:cxn ang="0">
                  <a:pos x="361" y="165"/>
                </a:cxn>
                <a:cxn ang="0">
                  <a:pos x="174" y="340"/>
                </a:cxn>
                <a:cxn ang="0">
                  <a:pos x="174" y="713"/>
                </a:cxn>
                <a:cxn ang="0">
                  <a:pos x="0" y="713"/>
                </a:cxn>
                <a:cxn ang="0">
                  <a:pos x="0" y="17"/>
                </a:cxn>
              </a:cxnLst>
              <a:rect l="0" t="0" r="r" b="b"/>
              <a:pathLst>
                <a:path w="445" h="713">
                  <a:moveTo>
                    <a:pt x="0" y="17"/>
                  </a:moveTo>
                  <a:cubicBezTo>
                    <a:pt x="174" y="17"/>
                    <a:pt x="174" y="17"/>
                    <a:pt x="174" y="17"/>
                  </a:cubicBezTo>
                  <a:cubicBezTo>
                    <a:pt x="174" y="127"/>
                    <a:pt x="174" y="127"/>
                    <a:pt x="174" y="127"/>
                  </a:cubicBezTo>
                  <a:cubicBezTo>
                    <a:pt x="177" y="127"/>
                    <a:pt x="177" y="127"/>
                    <a:pt x="177" y="127"/>
                  </a:cubicBezTo>
                  <a:cubicBezTo>
                    <a:pt x="215" y="48"/>
                    <a:pt x="292" y="0"/>
                    <a:pt x="383" y="0"/>
                  </a:cubicBezTo>
                  <a:cubicBezTo>
                    <a:pt x="405" y="0"/>
                    <a:pt x="425" y="4"/>
                    <a:pt x="445" y="10"/>
                  </a:cubicBezTo>
                  <a:cubicBezTo>
                    <a:pt x="445" y="178"/>
                    <a:pt x="445" y="178"/>
                    <a:pt x="445" y="178"/>
                  </a:cubicBezTo>
                  <a:cubicBezTo>
                    <a:pt x="416" y="171"/>
                    <a:pt x="389" y="165"/>
                    <a:pt x="361" y="165"/>
                  </a:cubicBezTo>
                  <a:cubicBezTo>
                    <a:pt x="198" y="165"/>
                    <a:pt x="174" y="303"/>
                    <a:pt x="174" y="340"/>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8" name="Freeform 24"/>
            <p:cNvSpPr>
              <a:spLocks noSelect="1"/>
            </p:cNvSpPr>
            <p:nvPr/>
          </p:nvSpPr>
          <p:spPr bwMode="black">
            <a:xfrm>
              <a:off x="2122488" y="515938"/>
              <a:ext cx="166688" cy="247650"/>
            </a:xfrm>
            <a:custGeom>
              <a:avLst/>
              <a:gdLst/>
              <a:ahLst/>
              <a:cxnLst>
                <a:cxn ang="0">
                  <a:pos x="585" y="991"/>
                </a:cxn>
                <a:cxn ang="0">
                  <a:pos x="582" y="991"/>
                </a:cxn>
                <a:cxn ang="0">
                  <a:pos x="343" y="1113"/>
                </a:cxn>
                <a:cxn ang="0">
                  <a:pos x="0" y="748"/>
                </a:cxn>
                <a:cxn ang="0">
                  <a:pos x="336" y="383"/>
                </a:cxn>
                <a:cxn ang="0">
                  <a:pos x="572" y="489"/>
                </a:cxn>
                <a:cxn ang="0">
                  <a:pos x="576" y="489"/>
                </a:cxn>
                <a:cxn ang="0">
                  <a:pos x="576" y="0"/>
                </a:cxn>
                <a:cxn ang="0">
                  <a:pos x="750" y="0"/>
                </a:cxn>
                <a:cxn ang="0">
                  <a:pos x="750" y="1096"/>
                </a:cxn>
                <a:cxn ang="0">
                  <a:pos x="585" y="1096"/>
                </a:cxn>
                <a:cxn ang="0">
                  <a:pos x="585" y="991"/>
                </a:cxn>
                <a:cxn ang="0">
                  <a:pos x="378" y="956"/>
                </a:cxn>
                <a:cxn ang="0">
                  <a:pos x="582" y="748"/>
                </a:cxn>
                <a:cxn ang="0">
                  <a:pos x="378" y="539"/>
                </a:cxn>
                <a:cxn ang="0">
                  <a:pos x="174" y="748"/>
                </a:cxn>
                <a:cxn ang="0">
                  <a:pos x="378" y="956"/>
                </a:cxn>
              </a:cxnLst>
              <a:rect l="0" t="0" r="r" b="b"/>
              <a:pathLst>
                <a:path w="750" h="1113">
                  <a:moveTo>
                    <a:pt x="585" y="991"/>
                  </a:moveTo>
                  <a:cubicBezTo>
                    <a:pt x="582" y="991"/>
                    <a:pt x="582" y="991"/>
                    <a:pt x="582" y="991"/>
                  </a:cubicBezTo>
                  <a:cubicBezTo>
                    <a:pt x="531" y="1075"/>
                    <a:pt x="440" y="1113"/>
                    <a:pt x="343" y="1113"/>
                  </a:cubicBezTo>
                  <a:cubicBezTo>
                    <a:pt x="129" y="1113"/>
                    <a:pt x="0" y="954"/>
                    <a:pt x="0" y="748"/>
                  </a:cubicBezTo>
                  <a:cubicBezTo>
                    <a:pt x="0" y="542"/>
                    <a:pt x="137" y="383"/>
                    <a:pt x="336" y="383"/>
                  </a:cubicBezTo>
                  <a:cubicBezTo>
                    <a:pt x="466" y="383"/>
                    <a:pt x="536" y="444"/>
                    <a:pt x="572" y="489"/>
                  </a:cubicBezTo>
                  <a:cubicBezTo>
                    <a:pt x="576" y="489"/>
                    <a:pt x="576" y="489"/>
                    <a:pt x="576" y="489"/>
                  </a:cubicBezTo>
                  <a:cubicBezTo>
                    <a:pt x="576" y="0"/>
                    <a:pt x="576" y="0"/>
                    <a:pt x="576" y="0"/>
                  </a:cubicBezTo>
                  <a:cubicBezTo>
                    <a:pt x="750" y="0"/>
                    <a:pt x="750" y="0"/>
                    <a:pt x="750" y="0"/>
                  </a:cubicBezTo>
                  <a:cubicBezTo>
                    <a:pt x="750" y="1096"/>
                    <a:pt x="750" y="1096"/>
                    <a:pt x="750" y="1096"/>
                  </a:cubicBezTo>
                  <a:cubicBezTo>
                    <a:pt x="585" y="1096"/>
                    <a:pt x="585" y="1096"/>
                    <a:pt x="585" y="1096"/>
                  </a:cubicBezTo>
                  <a:lnTo>
                    <a:pt x="585" y="991"/>
                  </a:lnTo>
                  <a:close/>
                  <a:moveTo>
                    <a:pt x="378" y="956"/>
                  </a:moveTo>
                  <a:cubicBezTo>
                    <a:pt x="505" y="956"/>
                    <a:pt x="582" y="857"/>
                    <a:pt x="582" y="748"/>
                  </a:cubicBezTo>
                  <a:cubicBezTo>
                    <a:pt x="582" y="639"/>
                    <a:pt x="505" y="539"/>
                    <a:pt x="378" y="539"/>
                  </a:cubicBezTo>
                  <a:cubicBezTo>
                    <a:pt x="250" y="539"/>
                    <a:pt x="174" y="639"/>
                    <a:pt x="174" y="748"/>
                  </a:cubicBezTo>
                  <a:cubicBezTo>
                    <a:pt x="174" y="857"/>
                    <a:pt x="250" y="956"/>
                    <a:pt x="378" y="956"/>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9" name="Freeform 25"/>
            <p:cNvSpPr>
              <a:spLocks noSelect="1"/>
            </p:cNvSpPr>
            <p:nvPr/>
          </p:nvSpPr>
          <p:spPr bwMode="black">
            <a:xfrm>
              <a:off x="2322513" y="600076"/>
              <a:ext cx="142875" cy="163513"/>
            </a:xfrm>
            <a:custGeom>
              <a:avLst/>
              <a:gdLst/>
              <a:ahLst/>
              <a:cxnLst>
                <a:cxn ang="0">
                  <a:pos x="481" y="617"/>
                </a:cxn>
                <a:cxn ang="0">
                  <a:pos x="477" y="617"/>
                </a:cxn>
                <a:cxn ang="0">
                  <a:pos x="254" y="730"/>
                </a:cxn>
                <a:cxn ang="0">
                  <a:pos x="0" y="521"/>
                </a:cxn>
                <a:cxn ang="0">
                  <a:pos x="437" y="279"/>
                </a:cxn>
                <a:cxn ang="0">
                  <a:pos x="481" y="279"/>
                </a:cxn>
                <a:cxn ang="0">
                  <a:pos x="481" y="261"/>
                </a:cxn>
                <a:cxn ang="0">
                  <a:pos x="322" y="130"/>
                </a:cxn>
                <a:cxn ang="0">
                  <a:pos x="136" y="203"/>
                </a:cxn>
                <a:cxn ang="0">
                  <a:pos x="45" y="111"/>
                </a:cxn>
                <a:cxn ang="0">
                  <a:pos x="340" y="0"/>
                </a:cxn>
                <a:cxn ang="0">
                  <a:pos x="637" y="313"/>
                </a:cxn>
                <a:cxn ang="0">
                  <a:pos x="637" y="713"/>
                </a:cxn>
                <a:cxn ang="0">
                  <a:pos x="481" y="713"/>
                </a:cxn>
                <a:cxn ang="0">
                  <a:pos x="481" y="617"/>
                </a:cxn>
                <a:cxn ang="0">
                  <a:pos x="471" y="401"/>
                </a:cxn>
                <a:cxn ang="0">
                  <a:pos x="435" y="401"/>
                </a:cxn>
                <a:cxn ang="0">
                  <a:pos x="174" y="508"/>
                </a:cxn>
                <a:cxn ang="0">
                  <a:pos x="295" y="600"/>
                </a:cxn>
                <a:cxn ang="0">
                  <a:pos x="471" y="440"/>
                </a:cxn>
                <a:cxn ang="0">
                  <a:pos x="471" y="401"/>
                </a:cxn>
              </a:cxnLst>
              <a:rect l="0" t="0" r="r" b="b"/>
              <a:pathLst>
                <a:path w="637" h="730">
                  <a:moveTo>
                    <a:pt x="481" y="617"/>
                  </a:moveTo>
                  <a:cubicBezTo>
                    <a:pt x="477" y="617"/>
                    <a:pt x="477" y="617"/>
                    <a:pt x="477" y="617"/>
                  </a:cubicBezTo>
                  <a:cubicBezTo>
                    <a:pt x="427" y="695"/>
                    <a:pt x="346" y="730"/>
                    <a:pt x="254" y="730"/>
                  </a:cubicBezTo>
                  <a:cubicBezTo>
                    <a:pt x="125" y="730"/>
                    <a:pt x="0" y="659"/>
                    <a:pt x="0" y="521"/>
                  </a:cubicBezTo>
                  <a:cubicBezTo>
                    <a:pt x="0" y="295"/>
                    <a:pt x="264" y="279"/>
                    <a:pt x="437" y="279"/>
                  </a:cubicBezTo>
                  <a:cubicBezTo>
                    <a:pt x="481" y="279"/>
                    <a:pt x="481" y="279"/>
                    <a:pt x="481" y="279"/>
                  </a:cubicBezTo>
                  <a:cubicBezTo>
                    <a:pt x="481" y="261"/>
                    <a:pt x="481" y="261"/>
                    <a:pt x="481" y="261"/>
                  </a:cubicBezTo>
                  <a:cubicBezTo>
                    <a:pt x="481" y="175"/>
                    <a:pt x="414" y="130"/>
                    <a:pt x="322" y="130"/>
                  </a:cubicBezTo>
                  <a:cubicBezTo>
                    <a:pt x="249" y="130"/>
                    <a:pt x="182" y="159"/>
                    <a:pt x="136" y="203"/>
                  </a:cubicBezTo>
                  <a:cubicBezTo>
                    <a:pt x="45" y="111"/>
                    <a:pt x="45" y="111"/>
                    <a:pt x="45" y="111"/>
                  </a:cubicBezTo>
                  <a:cubicBezTo>
                    <a:pt x="122" y="33"/>
                    <a:pt x="230" y="0"/>
                    <a:pt x="340" y="0"/>
                  </a:cubicBezTo>
                  <a:cubicBezTo>
                    <a:pt x="637" y="0"/>
                    <a:pt x="637" y="214"/>
                    <a:pt x="637" y="313"/>
                  </a:cubicBezTo>
                  <a:cubicBezTo>
                    <a:pt x="637" y="713"/>
                    <a:pt x="637" y="713"/>
                    <a:pt x="637" y="713"/>
                  </a:cubicBezTo>
                  <a:cubicBezTo>
                    <a:pt x="481" y="713"/>
                    <a:pt x="481" y="713"/>
                    <a:pt x="481" y="713"/>
                  </a:cubicBezTo>
                  <a:lnTo>
                    <a:pt x="481" y="617"/>
                  </a:lnTo>
                  <a:close/>
                  <a:moveTo>
                    <a:pt x="471" y="401"/>
                  </a:moveTo>
                  <a:cubicBezTo>
                    <a:pt x="435" y="401"/>
                    <a:pt x="435" y="401"/>
                    <a:pt x="435" y="401"/>
                  </a:cubicBezTo>
                  <a:cubicBezTo>
                    <a:pt x="339" y="401"/>
                    <a:pt x="174" y="408"/>
                    <a:pt x="174" y="508"/>
                  </a:cubicBezTo>
                  <a:cubicBezTo>
                    <a:pt x="174" y="572"/>
                    <a:pt x="239" y="600"/>
                    <a:pt x="295" y="600"/>
                  </a:cubicBezTo>
                  <a:cubicBezTo>
                    <a:pt x="414" y="600"/>
                    <a:pt x="471" y="537"/>
                    <a:pt x="471" y="440"/>
                  </a:cubicBezTo>
                  <a:lnTo>
                    <a:pt x="471" y="40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0" name="Freeform 26"/>
            <p:cNvSpPr>
              <a:spLocks noSelect="1"/>
            </p:cNvSpPr>
            <p:nvPr/>
          </p:nvSpPr>
          <p:spPr bwMode="black">
            <a:xfrm>
              <a:off x="2505075" y="600076"/>
              <a:ext cx="241300" cy="160338"/>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8"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6"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grpSp>
      <p:sp>
        <p:nvSpPr>
          <p:cNvPr id="2" name="Titel 1"/>
          <p:cNvSpPr>
            <a:spLocks noGrp="1" noSelect="1"/>
          </p:cNvSpPr>
          <p:nvPr userDrawn="1">
            <p:ph type="ctrTitle" hasCustomPrompt="1"/>
          </p:nvPr>
        </p:nvSpPr>
        <p:spPr bwMode="gray">
          <a:xfrm>
            <a:off x="1308060" y="1750071"/>
            <a:ext cx="9792000" cy="1836000"/>
          </a:xfrm>
        </p:spPr>
        <p:txBody>
          <a:bodyPr anchor="t" anchorCtr="0"/>
          <a:lstStyle>
            <a:lvl1pPr algn="l">
              <a:defRPr sz="5500">
                <a:solidFill>
                  <a:schemeClr val="bg1"/>
                </a:solidFill>
              </a:defRPr>
            </a:lvl1pPr>
          </a:lstStyle>
          <a:p>
            <a:r>
              <a:rPr lang="nl-NL" noProof="1"/>
              <a:t>Titel</a:t>
            </a:r>
          </a:p>
        </p:txBody>
      </p:sp>
      <p:sp>
        <p:nvSpPr>
          <p:cNvPr id="3" name="Ondertitel 2"/>
          <p:cNvSpPr>
            <a:spLocks noGrp="1" noSelect="1"/>
          </p:cNvSpPr>
          <p:nvPr userDrawn="1">
            <p:ph type="subTitle" idx="1" hasCustomPrompt="1"/>
          </p:nvPr>
        </p:nvSpPr>
        <p:spPr bwMode="gray">
          <a:xfrm>
            <a:off x="1308060" y="3594908"/>
            <a:ext cx="9792000" cy="1752600"/>
          </a:xfrm>
        </p:spPr>
        <p:txBody>
          <a:bodyPr/>
          <a:lstStyle>
            <a:lvl1pPr marL="0" indent="0" algn="l">
              <a:buNone/>
              <a:defRPr sz="3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jaar / subtitel</a:t>
            </a:r>
          </a:p>
        </p:txBody>
      </p:sp>
      <p:sp>
        <p:nvSpPr>
          <p:cNvPr id="4" name="***Tijdelijke aanduiding voor datum 3"/>
          <p:cNvSpPr>
            <a:spLocks noGrp="1" noSelect="1"/>
          </p:cNvSpPr>
          <p:nvPr userDrawn="1">
            <p:ph type="dt" sz="half" idx="10"/>
          </p:nvPr>
        </p:nvSpPr>
        <p:spPr bwMode="gray">
          <a:xfrm>
            <a:off x="1182800" y="6357010"/>
            <a:ext cx="2844800" cy="365125"/>
          </a:xfrm>
          <a:prstGeom prst="rect">
            <a:avLst/>
          </a:prstGeom>
        </p:spPr>
        <p:txBody>
          <a:bodyPr/>
          <a:lstStyle>
            <a:lvl1pPr algn="l">
              <a:defRPr sz="1750" b="1">
                <a:solidFill>
                  <a:schemeClr val="bg1"/>
                </a:solidFill>
              </a:defRPr>
            </a:lvl1pPr>
          </a:lstStyle>
          <a:p>
            <a:endParaRPr lang="nl-NL" noProof="1"/>
          </a:p>
        </p:txBody>
      </p:sp>
    </p:spTree>
    <p:extLst>
      <p:ext uri="{BB962C8B-B14F-4D97-AF65-F5344CB8AC3E}">
        <p14:creationId xmlns:p14="http://schemas.microsoft.com/office/powerpoint/2010/main" val="382307720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title" preserve="1">
  <p:cSld name="Tussendia">
    <p:spTree>
      <p:nvGrpSpPr>
        <p:cNvPr id="1" name=""/>
        <p:cNvGrpSpPr/>
        <p:nvPr/>
      </p:nvGrpSpPr>
      <p:grpSpPr>
        <a:xfrm>
          <a:off x="0" y="0"/>
          <a:ext cx="0" cy="0"/>
          <a:chOff x="0" y="0"/>
          <a:chExt cx="0" cy="0"/>
        </a:xfrm>
      </p:grpSpPr>
      <p:sp>
        <p:nvSpPr>
          <p:cNvPr id="9" name="Rectangle 5"/>
          <p:cNvSpPr>
            <a:spLocks noSelect="1" noChangeArrowheads="1"/>
          </p:cNvSpPr>
          <p:nvPr/>
        </p:nvSpPr>
        <p:spPr bwMode="ltGray">
          <a:xfrm>
            <a:off x="0" y="1589"/>
            <a:ext cx="12183533" cy="6854825"/>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0" name="Rectangle 6"/>
          <p:cNvSpPr>
            <a:spLocks noSelect="1" noChangeArrowheads="1"/>
          </p:cNvSpPr>
          <p:nvPr/>
        </p:nvSpPr>
        <p:spPr bwMode="white">
          <a:xfrm>
            <a:off x="0" y="1589"/>
            <a:ext cx="1049867" cy="68548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 name="Ondertitel 2"/>
          <p:cNvSpPr>
            <a:spLocks noGrp="1" noSelect="1"/>
          </p:cNvSpPr>
          <p:nvPr userDrawn="1">
            <p:ph type="subTitle" idx="1" hasCustomPrompt="1"/>
          </p:nvPr>
        </p:nvSpPr>
        <p:spPr bwMode="gray">
          <a:xfrm>
            <a:off x="1308060" y="2752261"/>
            <a:ext cx="9792000" cy="1752600"/>
          </a:xfrm>
        </p:spPr>
        <p:txBody>
          <a:bodyPr/>
          <a:lstStyle>
            <a:lvl1pPr marL="0" indent="0" algn="l">
              <a:buNone/>
              <a:defRPr sz="3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Subtitel</a:t>
            </a:r>
          </a:p>
        </p:txBody>
      </p:sp>
      <p:sp>
        <p:nvSpPr>
          <p:cNvPr id="2" name="Titel 1"/>
          <p:cNvSpPr>
            <a:spLocks noGrp="1" noSelect="1"/>
          </p:cNvSpPr>
          <p:nvPr userDrawn="1">
            <p:ph type="ctrTitle" hasCustomPrompt="1"/>
          </p:nvPr>
        </p:nvSpPr>
        <p:spPr bwMode="gray">
          <a:xfrm>
            <a:off x="1308060" y="1758950"/>
            <a:ext cx="9792000" cy="1039967"/>
          </a:xfrm>
        </p:spPr>
        <p:txBody>
          <a:bodyPr anchor="t" anchorCtr="0"/>
          <a:lstStyle>
            <a:lvl1pPr algn="l">
              <a:defRPr sz="5500">
                <a:solidFill>
                  <a:schemeClr val="bg1"/>
                </a:solidFill>
              </a:defRPr>
            </a:lvl1pPr>
          </a:lstStyle>
          <a:p>
            <a:r>
              <a:rPr lang="nl-NL" noProof="1"/>
              <a:t>Titel</a:t>
            </a:r>
          </a:p>
        </p:txBody>
      </p:sp>
      <p:grpSp>
        <p:nvGrpSpPr>
          <p:cNvPr id="31" name="Groep 4"/>
          <p:cNvGrpSpPr>
            <a:grpSpLocks noSelect="1"/>
          </p:cNvGrpSpPr>
          <p:nvPr userDrawn="1"/>
        </p:nvGrpSpPr>
        <p:grpSpPr bwMode="black">
          <a:xfrm>
            <a:off x="243417" y="163513"/>
            <a:ext cx="3418416" cy="1447800"/>
            <a:chOff x="182563" y="163513"/>
            <a:chExt cx="2563812" cy="1447800"/>
          </a:xfrm>
        </p:grpSpPr>
        <p:sp>
          <p:nvSpPr>
            <p:cNvPr id="32" name="Freeform 7"/>
            <p:cNvSpPr>
              <a:spLocks noSelect="1"/>
            </p:cNvSpPr>
            <p:nvPr/>
          </p:nvSpPr>
          <p:spPr bwMode="black">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3" name="Freeform 8"/>
            <p:cNvSpPr>
              <a:spLocks noSelect="1"/>
            </p:cNvSpPr>
            <p:nvPr/>
          </p:nvSpPr>
          <p:spPr bwMode="black">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4" name="Freeform 9"/>
            <p:cNvSpPr>
              <a:spLocks noSelect="1"/>
            </p:cNvSpPr>
            <p:nvPr/>
          </p:nvSpPr>
          <p:spPr bwMode="black">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5" name="Freeform 10"/>
            <p:cNvSpPr>
              <a:spLocks noSelect="1"/>
            </p:cNvSpPr>
            <p:nvPr/>
          </p:nvSpPr>
          <p:spPr bwMode="black">
            <a:xfrm>
              <a:off x="1031875" y="184151"/>
              <a:ext cx="214313" cy="241300"/>
            </a:xfrm>
            <a:custGeom>
              <a:avLst/>
              <a:gdLst/>
              <a:ahLst/>
              <a:cxnLst>
                <a:cxn ang="0">
                  <a:pos x="966" y="976"/>
                </a:cxn>
                <a:cxn ang="0">
                  <a:pos x="542" y="1077"/>
                </a:cxn>
                <a:cxn ang="0">
                  <a:pos x="0" y="543"/>
                </a:cxn>
                <a:cxn ang="0">
                  <a:pos x="542" y="0"/>
                </a:cxn>
                <a:cxn ang="0">
                  <a:pos x="946" y="129"/>
                </a:cxn>
                <a:cxn ang="0">
                  <a:pos x="811" y="265"/>
                </a:cxn>
                <a:cxn ang="0">
                  <a:pos x="543" y="165"/>
                </a:cxn>
                <a:cxn ang="0">
                  <a:pos x="191" y="531"/>
                </a:cxn>
                <a:cxn ang="0">
                  <a:pos x="543" y="912"/>
                </a:cxn>
                <a:cxn ang="0">
                  <a:pos x="784" y="859"/>
                </a:cxn>
                <a:cxn ang="0">
                  <a:pos x="784" y="617"/>
                </a:cxn>
                <a:cxn ang="0">
                  <a:pos x="574" y="617"/>
                </a:cxn>
                <a:cxn ang="0">
                  <a:pos x="574" y="452"/>
                </a:cxn>
                <a:cxn ang="0">
                  <a:pos x="966" y="452"/>
                </a:cxn>
                <a:cxn ang="0">
                  <a:pos x="966" y="976"/>
                </a:cxn>
              </a:cxnLst>
              <a:rect l="0" t="0" r="r" b="b"/>
              <a:pathLst>
                <a:path w="966" h="1077">
                  <a:moveTo>
                    <a:pt x="966" y="976"/>
                  </a:moveTo>
                  <a:cubicBezTo>
                    <a:pt x="842" y="1043"/>
                    <a:pt x="700" y="1077"/>
                    <a:pt x="542" y="1077"/>
                  </a:cubicBezTo>
                  <a:cubicBezTo>
                    <a:pt x="226" y="1077"/>
                    <a:pt x="0" y="863"/>
                    <a:pt x="0" y="543"/>
                  </a:cubicBezTo>
                  <a:cubicBezTo>
                    <a:pt x="0" y="214"/>
                    <a:pt x="226" y="0"/>
                    <a:pt x="542" y="0"/>
                  </a:cubicBezTo>
                  <a:cubicBezTo>
                    <a:pt x="698" y="0"/>
                    <a:pt x="839" y="33"/>
                    <a:pt x="946" y="129"/>
                  </a:cubicBezTo>
                  <a:cubicBezTo>
                    <a:pt x="811" y="265"/>
                    <a:pt x="811" y="265"/>
                    <a:pt x="811" y="265"/>
                  </a:cubicBezTo>
                  <a:cubicBezTo>
                    <a:pt x="746" y="201"/>
                    <a:pt x="646" y="165"/>
                    <a:pt x="543" y="165"/>
                  </a:cubicBezTo>
                  <a:cubicBezTo>
                    <a:pt x="332" y="165"/>
                    <a:pt x="191" y="327"/>
                    <a:pt x="191" y="531"/>
                  </a:cubicBezTo>
                  <a:cubicBezTo>
                    <a:pt x="191" y="750"/>
                    <a:pt x="332" y="912"/>
                    <a:pt x="543" y="912"/>
                  </a:cubicBezTo>
                  <a:cubicBezTo>
                    <a:pt x="636" y="912"/>
                    <a:pt x="720" y="895"/>
                    <a:pt x="784" y="859"/>
                  </a:cubicBezTo>
                  <a:cubicBezTo>
                    <a:pt x="784" y="617"/>
                    <a:pt x="784" y="617"/>
                    <a:pt x="784" y="617"/>
                  </a:cubicBezTo>
                  <a:cubicBezTo>
                    <a:pt x="574" y="617"/>
                    <a:pt x="574" y="617"/>
                    <a:pt x="574" y="617"/>
                  </a:cubicBezTo>
                  <a:cubicBezTo>
                    <a:pt x="574" y="452"/>
                    <a:pt x="574" y="452"/>
                    <a:pt x="574" y="452"/>
                  </a:cubicBezTo>
                  <a:cubicBezTo>
                    <a:pt x="966" y="452"/>
                    <a:pt x="966" y="452"/>
                    <a:pt x="966" y="452"/>
                  </a:cubicBezTo>
                  <a:lnTo>
                    <a:pt x="966" y="9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6" name="Freeform 11"/>
            <p:cNvSpPr>
              <a:spLocks noSelect="1"/>
            </p:cNvSpPr>
            <p:nvPr/>
          </p:nvSpPr>
          <p:spPr bwMode="black">
            <a:xfrm>
              <a:off x="1284288" y="260351"/>
              <a:ext cx="157163" cy="163513"/>
            </a:xfrm>
            <a:custGeom>
              <a:avLst/>
              <a:gdLst/>
              <a:ahLst/>
              <a:cxnLst>
                <a:cxn ang="0">
                  <a:pos x="174" y="426"/>
                </a:cxn>
                <a:cxn ang="0">
                  <a:pos x="361"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1"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7" name="Freeform 12"/>
            <p:cNvSpPr>
              <a:spLocks noSelect="1"/>
            </p:cNvSpPr>
            <p:nvPr/>
          </p:nvSpPr>
          <p:spPr bwMode="black">
            <a:xfrm>
              <a:off x="1476375" y="260351"/>
              <a:ext cx="239713" cy="158750"/>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2"/>
                </a:cxn>
                <a:cxn ang="0">
                  <a:pos x="904" y="712"/>
                </a:cxn>
                <a:cxn ang="0">
                  <a:pos x="904" y="318"/>
                </a:cxn>
                <a:cxn ang="0">
                  <a:pos x="775" y="156"/>
                </a:cxn>
                <a:cxn ang="0">
                  <a:pos x="626" y="336"/>
                </a:cxn>
                <a:cxn ang="0">
                  <a:pos x="626" y="712"/>
                </a:cxn>
                <a:cxn ang="0">
                  <a:pos x="452" y="712"/>
                </a:cxn>
                <a:cxn ang="0">
                  <a:pos x="452" y="298"/>
                </a:cxn>
                <a:cxn ang="0">
                  <a:pos x="333" y="156"/>
                </a:cxn>
                <a:cxn ang="0">
                  <a:pos x="174" y="333"/>
                </a:cxn>
                <a:cxn ang="0">
                  <a:pos x="174" y="712"/>
                </a:cxn>
                <a:cxn ang="0">
                  <a:pos x="0" y="712"/>
                </a:cxn>
                <a:cxn ang="0">
                  <a:pos x="0" y="17"/>
                </a:cxn>
              </a:cxnLst>
              <a:rect l="0" t="0" r="r" b="b"/>
              <a:pathLst>
                <a:path w="1078" h="712">
                  <a:moveTo>
                    <a:pt x="0" y="17"/>
                  </a:moveTo>
                  <a:cubicBezTo>
                    <a:pt x="165" y="17"/>
                    <a:pt x="165" y="17"/>
                    <a:pt x="165" y="17"/>
                  </a:cubicBezTo>
                  <a:cubicBezTo>
                    <a:pt x="165" y="126"/>
                    <a:pt x="165" y="126"/>
                    <a:pt x="165" y="126"/>
                  </a:cubicBezTo>
                  <a:cubicBezTo>
                    <a:pt x="168" y="126"/>
                    <a:pt x="168" y="126"/>
                    <a:pt x="168" y="126"/>
                  </a:cubicBezTo>
                  <a:cubicBezTo>
                    <a:pt x="198" y="61"/>
                    <a:pt x="265" y="0"/>
                    <a:pt x="381" y="0"/>
                  </a:cubicBezTo>
                  <a:cubicBezTo>
                    <a:pt x="488" y="0"/>
                    <a:pt x="562" y="42"/>
                    <a:pt x="598" y="129"/>
                  </a:cubicBezTo>
                  <a:cubicBezTo>
                    <a:pt x="649" y="40"/>
                    <a:pt x="723" y="0"/>
                    <a:pt x="827" y="0"/>
                  </a:cubicBezTo>
                  <a:cubicBezTo>
                    <a:pt x="1013" y="0"/>
                    <a:pt x="1078" y="132"/>
                    <a:pt x="1078" y="298"/>
                  </a:cubicBezTo>
                  <a:cubicBezTo>
                    <a:pt x="1078" y="712"/>
                    <a:pt x="1078" y="712"/>
                    <a:pt x="1078" y="712"/>
                  </a:cubicBezTo>
                  <a:cubicBezTo>
                    <a:pt x="904" y="712"/>
                    <a:pt x="904" y="712"/>
                    <a:pt x="904" y="712"/>
                  </a:cubicBezTo>
                  <a:cubicBezTo>
                    <a:pt x="904" y="318"/>
                    <a:pt x="904" y="318"/>
                    <a:pt x="904" y="318"/>
                  </a:cubicBezTo>
                  <a:cubicBezTo>
                    <a:pt x="904" y="231"/>
                    <a:pt x="878" y="156"/>
                    <a:pt x="775" y="156"/>
                  </a:cubicBezTo>
                  <a:cubicBezTo>
                    <a:pt x="666" y="156"/>
                    <a:pt x="626" y="246"/>
                    <a:pt x="626" y="336"/>
                  </a:cubicBezTo>
                  <a:cubicBezTo>
                    <a:pt x="626" y="712"/>
                    <a:pt x="626" y="712"/>
                    <a:pt x="626" y="712"/>
                  </a:cubicBezTo>
                  <a:cubicBezTo>
                    <a:pt x="452" y="712"/>
                    <a:pt x="452" y="712"/>
                    <a:pt x="452" y="712"/>
                  </a:cubicBezTo>
                  <a:cubicBezTo>
                    <a:pt x="452" y="298"/>
                    <a:pt x="452" y="298"/>
                    <a:pt x="452" y="298"/>
                  </a:cubicBezTo>
                  <a:cubicBezTo>
                    <a:pt x="452" y="213"/>
                    <a:pt x="417"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8" name="Freeform 13"/>
            <p:cNvSpPr>
              <a:spLocks noSelect="1"/>
            </p:cNvSpPr>
            <p:nvPr/>
          </p:nvSpPr>
          <p:spPr bwMode="black">
            <a:xfrm>
              <a:off x="1751013" y="260351"/>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5" y="528"/>
                    <a:pt x="264" y="591"/>
                    <a:pt x="361" y="591"/>
                  </a:cubicBezTo>
                  <a:cubicBezTo>
                    <a:pt x="448" y="591"/>
                    <a:pt x="504" y="550"/>
                    <a:pt x="548"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9" name="Freeform 14"/>
            <p:cNvSpPr>
              <a:spLocks noSelect="1"/>
            </p:cNvSpPr>
            <p:nvPr/>
          </p:nvSpPr>
          <p:spPr bwMode="black">
            <a:xfrm>
              <a:off x="1936750" y="260351"/>
              <a:ext cx="157163" cy="163513"/>
            </a:xfrm>
            <a:custGeom>
              <a:avLst/>
              <a:gdLst/>
              <a:ahLst/>
              <a:cxnLst>
                <a:cxn ang="0">
                  <a:pos x="174" y="426"/>
                </a:cxn>
                <a:cxn ang="0">
                  <a:pos x="360"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8"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0" name="Freeform 15"/>
            <p:cNvSpPr>
              <a:spLocks noSelect="1"/>
            </p:cNvSpPr>
            <p:nvPr/>
          </p:nvSpPr>
          <p:spPr bwMode="black">
            <a:xfrm>
              <a:off x="2128838" y="260351"/>
              <a:ext cx="142875" cy="158750"/>
            </a:xfrm>
            <a:custGeom>
              <a:avLst/>
              <a:gdLst/>
              <a:ahLst/>
              <a:cxnLst>
                <a:cxn ang="0">
                  <a:pos x="0" y="17"/>
                </a:cxn>
                <a:cxn ang="0">
                  <a:pos x="165" y="17"/>
                </a:cxn>
                <a:cxn ang="0">
                  <a:pos x="165" y="129"/>
                </a:cxn>
                <a:cxn ang="0">
                  <a:pos x="168" y="129"/>
                </a:cxn>
                <a:cxn ang="0">
                  <a:pos x="381" y="0"/>
                </a:cxn>
                <a:cxn ang="0">
                  <a:pos x="635" y="273"/>
                </a:cxn>
                <a:cxn ang="0">
                  <a:pos x="635" y="712"/>
                </a:cxn>
                <a:cxn ang="0">
                  <a:pos x="461" y="712"/>
                </a:cxn>
                <a:cxn ang="0">
                  <a:pos x="461" y="360"/>
                </a:cxn>
                <a:cxn ang="0">
                  <a:pos x="333" y="156"/>
                </a:cxn>
                <a:cxn ang="0">
                  <a:pos x="174" y="333"/>
                </a:cxn>
                <a:cxn ang="0">
                  <a:pos x="174" y="712"/>
                </a:cxn>
                <a:cxn ang="0">
                  <a:pos x="0" y="712"/>
                </a:cxn>
                <a:cxn ang="0">
                  <a:pos x="0" y="17"/>
                </a:cxn>
              </a:cxnLst>
              <a:rect l="0" t="0" r="r" b="b"/>
              <a:pathLst>
                <a:path w="635" h="712">
                  <a:moveTo>
                    <a:pt x="0" y="17"/>
                  </a:moveTo>
                  <a:cubicBezTo>
                    <a:pt x="165" y="17"/>
                    <a:pt x="165" y="17"/>
                    <a:pt x="165" y="17"/>
                  </a:cubicBezTo>
                  <a:cubicBezTo>
                    <a:pt x="165" y="129"/>
                    <a:pt x="165" y="129"/>
                    <a:pt x="165" y="129"/>
                  </a:cubicBezTo>
                  <a:cubicBezTo>
                    <a:pt x="168" y="129"/>
                    <a:pt x="168" y="129"/>
                    <a:pt x="168" y="129"/>
                  </a:cubicBezTo>
                  <a:cubicBezTo>
                    <a:pt x="200" y="59"/>
                    <a:pt x="265" y="0"/>
                    <a:pt x="381" y="0"/>
                  </a:cubicBezTo>
                  <a:cubicBezTo>
                    <a:pt x="568" y="0"/>
                    <a:pt x="635" y="132"/>
                    <a:pt x="635" y="273"/>
                  </a:cubicBezTo>
                  <a:cubicBezTo>
                    <a:pt x="635" y="712"/>
                    <a:pt x="635" y="712"/>
                    <a:pt x="635" y="712"/>
                  </a:cubicBezTo>
                  <a:cubicBezTo>
                    <a:pt x="461" y="712"/>
                    <a:pt x="461" y="712"/>
                    <a:pt x="461" y="712"/>
                  </a:cubicBezTo>
                  <a:cubicBezTo>
                    <a:pt x="461" y="360"/>
                    <a:pt x="461" y="360"/>
                    <a:pt x="461" y="360"/>
                  </a:cubicBezTo>
                  <a:cubicBezTo>
                    <a:pt x="461" y="284"/>
                    <a:pt x="455"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1" name="Freeform 16"/>
            <p:cNvSpPr>
              <a:spLocks noSelect="1"/>
            </p:cNvSpPr>
            <p:nvPr/>
          </p:nvSpPr>
          <p:spPr bwMode="black">
            <a:xfrm>
              <a:off x="2297113" y="219076"/>
              <a:ext cx="112713" cy="204788"/>
            </a:xfrm>
            <a:custGeom>
              <a:avLst/>
              <a:gdLst/>
              <a:ahLst/>
              <a:cxnLst>
                <a:cxn ang="0">
                  <a:pos x="0" y="349"/>
                </a:cxn>
                <a:cxn ang="0">
                  <a:pos x="0" y="201"/>
                </a:cxn>
                <a:cxn ang="0">
                  <a:pos x="143" y="201"/>
                </a:cxn>
                <a:cxn ang="0">
                  <a:pos x="143" y="0"/>
                </a:cxn>
                <a:cxn ang="0">
                  <a:pos x="317" y="0"/>
                </a:cxn>
                <a:cxn ang="0">
                  <a:pos x="317" y="201"/>
                </a:cxn>
                <a:cxn ang="0">
                  <a:pos x="508" y="201"/>
                </a:cxn>
                <a:cxn ang="0">
                  <a:pos x="508" y="349"/>
                </a:cxn>
                <a:cxn ang="0">
                  <a:pos x="317" y="349"/>
                </a:cxn>
                <a:cxn ang="0">
                  <a:pos x="317" y="653"/>
                </a:cxn>
                <a:cxn ang="0">
                  <a:pos x="414" y="766"/>
                </a:cxn>
                <a:cxn ang="0">
                  <a:pos x="508" y="744"/>
                </a:cxn>
                <a:cxn ang="0">
                  <a:pos x="508" y="891"/>
                </a:cxn>
                <a:cxn ang="0">
                  <a:pos x="371" y="914"/>
                </a:cxn>
                <a:cxn ang="0">
                  <a:pos x="143" y="668"/>
                </a:cxn>
                <a:cxn ang="0">
                  <a:pos x="143" y="349"/>
                </a:cxn>
                <a:cxn ang="0">
                  <a:pos x="0" y="349"/>
                </a:cxn>
              </a:cxnLst>
              <a:rect l="0" t="0" r="r" b="b"/>
              <a:pathLst>
                <a:path w="508"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8" y="201"/>
                    <a:pt x="508" y="201"/>
                    <a:pt x="508" y="201"/>
                  </a:cubicBezTo>
                  <a:cubicBezTo>
                    <a:pt x="508" y="349"/>
                    <a:pt x="508" y="349"/>
                    <a:pt x="508" y="349"/>
                  </a:cubicBezTo>
                  <a:cubicBezTo>
                    <a:pt x="317" y="349"/>
                    <a:pt x="317" y="349"/>
                    <a:pt x="317" y="349"/>
                  </a:cubicBezTo>
                  <a:cubicBezTo>
                    <a:pt x="317" y="653"/>
                    <a:pt x="317" y="653"/>
                    <a:pt x="317" y="653"/>
                  </a:cubicBezTo>
                  <a:cubicBezTo>
                    <a:pt x="317" y="723"/>
                    <a:pt x="337" y="766"/>
                    <a:pt x="414" y="766"/>
                  </a:cubicBezTo>
                  <a:cubicBezTo>
                    <a:pt x="444" y="766"/>
                    <a:pt x="486" y="760"/>
                    <a:pt x="508" y="744"/>
                  </a:cubicBezTo>
                  <a:cubicBezTo>
                    <a:pt x="508" y="891"/>
                    <a:pt x="508" y="891"/>
                    <a:pt x="508" y="891"/>
                  </a:cubicBezTo>
                  <a:cubicBezTo>
                    <a:pt x="472" y="908"/>
                    <a:pt x="411" y="914"/>
                    <a:pt x="371" y="914"/>
                  </a:cubicBezTo>
                  <a:cubicBezTo>
                    <a:pt x="186"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2" name="Freeform 17"/>
            <p:cNvSpPr>
              <a:spLocks noSelect="1"/>
            </p:cNvSpPr>
            <p:nvPr/>
          </p:nvSpPr>
          <p:spPr bwMode="black">
            <a:xfrm>
              <a:off x="2433638" y="260351"/>
              <a:ext cx="157163" cy="163513"/>
            </a:xfrm>
            <a:custGeom>
              <a:avLst/>
              <a:gdLst/>
              <a:ahLst/>
              <a:cxnLst>
                <a:cxn ang="0">
                  <a:pos x="173" y="426"/>
                </a:cxn>
                <a:cxn ang="0">
                  <a:pos x="360" y="591"/>
                </a:cxn>
                <a:cxn ang="0">
                  <a:pos x="547" y="497"/>
                </a:cxn>
                <a:cxn ang="0">
                  <a:pos x="672" y="591"/>
                </a:cxn>
                <a:cxn ang="0">
                  <a:pos x="378" y="730"/>
                </a:cxn>
                <a:cxn ang="0">
                  <a:pos x="0" y="365"/>
                </a:cxn>
                <a:cxn ang="0">
                  <a:pos x="378" y="0"/>
                </a:cxn>
                <a:cxn ang="0">
                  <a:pos x="704" y="378"/>
                </a:cxn>
                <a:cxn ang="0">
                  <a:pos x="704" y="426"/>
                </a:cxn>
                <a:cxn ang="0">
                  <a:pos x="173" y="426"/>
                </a:cxn>
                <a:cxn ang="0">
                  <a:pos x="530" y="295"/>
                </a:cxn>
                <a:cxn ang="0">
                  <a:pos x="353" y="130"/>
                </a:cxn>
                <a:cxn ang="0">
                  <a:pos x="173" y="295"/>
                </a:cxn>
                <a:cxn ang="0">
                  <a:pos x="530" y="295"/>
                </a:cxn>
              </a:cxnLst>
              <a:rect l="0" t="0" r="r" b="b"/>
              <a:pathLst>
                <a:path w="704" h="730">
                  <a:moveTo>
                    <a:pt x="173"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3" y="426"/>
                  </a:lnTo>
                  <a:close/>
                  <a:moveTo>
                    <a:pt x="530" y="295"/>
                  </a:moveTo>
                  <a:cubicBezTo>
                    <a:pt x="528" y="194"/>
                    <a:pt x="462" y="130"/>
                    <a:pt x="353" y="130"/>
                  </a:cubicBezTo>
                  <a:cubicBezTo>
                    <a:pt x="250" y="130"/>
                    <a:pt x="186" y="195"/>
                    <a:pt x="173"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3" name="Freeform 18"/>
            <p:cNvSpPr>
              <a:spLocks noSelect="1"/>
            </p:cNvSpPr>
            <p:nvPr/>
          </p:nvSpPr>
          <p:spPr bwMode="black">
            <a:xfrm>
              <a:off x="1017588" y="530226"/>
              <a:ext cx="233363" cy="230188"/>
            </a:xfrm>
            <a:custGeom>
              <a:avLst/>
              <a:gdLst/>
              <a:ahLst/>
              <a:cxnLst>
                <a:cxn ang="0">
                  <a:pos x="63" y="0"/>
                </a:cxn>
                <a:cxn ang="0">
                  <a:pos x="85" y="0"/>
                </a:cxn>
                <a:cxn ang="0">
                  <a:pos x="147" y="145"/>
                </a:cxn>
                <a:cxn ang="0">
                  <a:pos x="118" y="145"/>
                </a:cxn>
                <a:cxn ang="0">
                  <a:pos x="105" y="112"/>
                </a:cxn>
                <a:cxn ang="0">
                  <a:pos x="42" y="112"/>
                </a:cxn>
                <a:cxn ang="0">
                  <a:pos x="29" y="145"/>
                </a:cxn>
                <a:cxn ang="0">
                  <a:pos x="0" y="145"/>
                </a:cxn>
                <a:cxn ang="0">
                  <a:pos x="63" y="0"/>
                </a:cxn>
                <a:cxn ang="0">
                  <a:pos x="96" y="90"/>
                </a:cxn>
                <a:cxn ang="0">
                  <a:pos x="74" y="31"/>
                </a:cxn>
                <a:cxn ang="0">
                  <a:pos x="51" y="90"/>
                </a:cxn>
                <a:cxn ang="0">
                  <a:pos x="96" y="90"/>
                </a:cxn>
              </a:cxnLst>
              <a:rect l="0" t="0" r="r" b="b"/>
              <a:pathLst>
                <a:path w="147" h="145">
                  <a:moveTo>
                    <a:pt x="63" y="0"/>
                  </a:moveTo>
                  <a:lnTo>
                    <a:pt x="85" y="0"/>
                  </a:lnTo>
                  <a:lnTo>
                    <a:pt x="147" y="145"/>
                  </a:lnTo>
                  <a:lnTo>
                    <a:pt x="118" y="145"/>
                  </a:lnTo>
                  <a:lnTo>
                    <a:pt x="105" y="112"/>
                  </a:lnTo>
                  <a:lnTo>
                    <a:pt x="42" y="112"/>
                  </a:lnTo>
                  <a:lnTo>
                    <a:pt x="29" y="145"/>
                  </a:lnTo>
                  <a:lnTo>
                    <a:pt x="0" y="145"/>
                  </a:lnTo>
                  <a:lnTo>
                    <a:pt x="63" y="0"/>
                  </a:lnTo>
                  <a:close/>
                  <a:moveTo>
                    <a:pt x="96" y="90"/>
                  </a:moveTo>
                  <a:lnTo>
                    <a:pt x="74" y="31"/>
                  </a:lnTo>
                  <a:lnTo>
                    <a:pt x="51" y="90"/>
                  </a:lnTo>
                  <a:lnTo>
                    <a:pt x="96" y="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4" name="Freeform 19"/>
            <p:cNvSpPr>
              <a:spLocks noSelect="1"/>
            </p:cNvSpPr>
            <p:nvPr/>
          </p:nvSpPr>
          <p:spPr bwMode="black">
            <a:xfrm>
              <a:off x="1271588" y="600076"/>
              <a:ext cx="241300" cy="160338"/>
            </a:xfrm>
            <a:custGeom>
              <a:avLst/>
              <a:gdLst/>
              <a:ahLst/>
              <a:cxnLst>
                <a:cxn ang="0">
                  <a:pos x="0" y="17"/>
                </a:cxn>
                <a:cxn ang="0">
                  <a:pos x="165" y="17"/>
                </a:cxn>
                <a:cxn ang="0">
                  <a:pos x="165" y="126"/>
                </a:cxn>
                <a:cxn ang="0">
                  <a:pos x="168" y="126"/>
                </a:cxn>
                <a:cxn ang="0">
                  <a:pos x="381" y="0"/>
                </a:cxn>
                <a:cxn ang="0">
                  <a:pos x="599"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9"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7"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5" name="Freeform 20"/>
            <p:cNvSpPr>
              <a:spLocks noSelect="1"/>
            </p:cNvSpPr>
            <p:nvPr/>
          </p:nvSpPr>
          <p:spPr bwMode="black">
            <a:xfrm>
              <a:off x="1541463" y="600076"/>
              <a:ext cx="127000" cy="163513"/>
            </a:xfrm>
            <a:custGeom>
              <a:avLst/>
              <a:gdLst/>
              <a:ahLst/>
              <a:cxnLst>
                <a:cxn ang="0">
                  <a:pos x="433" y="210"/>
                </a:cxn>
                <a:cxn ang="0">
                  <a:pos x="297" y="139"/>
                </a:cxn>
                <a:cxn ang="0">
                  <a:pos x="195" y="213"/>
                </a:cxn>
                <a:cxn ang="0">
                  <a:pos x="570" y="507"/>
                </a:cxn>
                <a:cxn ang="0">
                  <a:pos x="271" y="730"/>
                </a:cxn>
                <a:cxn ang="0">
                  <a:pos x="0" y="623"/>
                </a:cxn>
                <a:cxn ang="0">
                  <a:pos x="116" y="514"/>
                </a:cxn>
                <a:cxn ang="0">
                  <a:pos x="281" y="600"/>
                </a:cxn>
                <a:cxn ang="0">
                  <a:pos x="397" y="520"/>
                </a:cxn>
                <a:cxn ang="0">
                  <a:pos x="21" y="224"/>
                </a:cxn>
                <a:cxn ang="0">
                  <a:pos x="301" y="0"/>
                </a:cxn>
                <a:cxn ang="0">
                  <a:pos x="549" y="106"/>
                </a:cxn>
                <a:cxn ang="0">
                  <a:pos x="433" y="210"/>
                </a:cxn>
              </a:cxnLst>
              <a:rect l="0" t="0" r="r" b="b"/>
              <a:pathLst>
                <a:path w="570" h="730">
                  <a:moveTo>
                    <a:pt x="433" y="210"/>
                  </a:moveTo>
                  <a:cubicBezTo>
                    <a:pt x="399" y="164"/>
                    <a:pt x="356" y="139"/>
                    <a:pt x="297" y="139"/>
                  </a:cubicBezTo>
                  <a:cubicBezTo>
                    <a:pt x="250" y="139"/>
                    <a:pt x="195" y="161"/>
                    <a:pt x="195" y="213"/>
                  </a:cubicBezTo>
                  <a:cubicBezTo>
                    <a:pt x="195" y="337"/>
                    <a:pt x="570" y="236"/>
                    <a:pt x="570" y="507"/>
                  </a:cubicBezTo>
                  <a:cubicBezTo>
                    <a:pt x="570" y="672"/>
                    <a:pt x="413" y="730"/>
                    <a:pt x="271" y="730"/>
                  </a:cubicBezTo>
                  <a:cubicBezTo>
                    <a:pt x="163" y="730"/>
                    <a:pt x="71" y="702"/>
                    <a:pt x="0" y="623"/>
                  </a:cubicBezTo>
                  <a:cubicBezTo>
                    <a:pt x="116" y="514"/>
                    <a:pt x="116" y="514"/>
                    <a:pt x="116" y="514"/>
                  </a:cubicBezTo>
                  <a:cubicBezTo>
                    <a:pt x="161" y="563"/>
                    <a:pt x="207" y="600"/>
                    <a:pt x="281" y="600"/>
                  </a:cubicBezTo>
                  <a:cubicBezTo>
                    <a:pt x="331" y="600"/>
                    <a:pt x="397" y="575"/>
                    <a:pt x="397" y="520"/>
                  </a:cubicBezTo>
                  <a:cubicBezTo>
                    <a:pt x="397" y="376"/>
                    <a:pt x="21" y="489"/>
                    <a:pt x="21" y="224"/>
                  </a:cubicBezTo>
                  <a:cubicBezTo>
                    <a:pt x="21" y="69"/>
                    <a:pt x="161" y="0"/>
                    <a:pt x="301" y="0"/>
                  </a:cubicBezTo>
                  <a:cubicBezTo>
                    <a:pt x="394" y="0"/>
                    <a:pt x="492" y="29"/>
                    <a:pt x="549" y="106"/>
                  </a:cubicBezTo>
                  <a:lnTo>
                    <a:pt x="433" y="2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6" name="Freeform 21"/>
            <p:cNvSpPr>
              <a:spLocks noSelect="1"/>
            </p:cNvSpPr>
            <p:nvPr/>
          </p:nvSpPr>
          <p:spPr bwMode="black">
            <a:xfrm>
              <a:off x="1679575" y="560388"/>
              <a:ext cx="114300" cy="203200"/>
            </a:xfrm>
            <a:custGeom>
              <a:avLst/>
              <a:gdLst/>
              <a:ahLst/>
              <a:cxnLst>
                <a:cxn ang="0">
                  <a:pos x="0" y="349"/>
                </a:cxn>
                <a:cxn ang="0">
                  <a:pos x="0" y="201"/>
                </a:cxn>
                <a:cxn ang="0">
                  <a:pos x="143" y="201"/>
                </a:cxn>
                <a:cxn ang="0">
                  <a:pos x="143" y="0"/>
                </a:cxn>
                <a:cxn ang="0">
                  <a:pos x="317" y="0"/>
                </a:cxn>
                <a:cxn ang="0">
                  <a:pos x="317" y="201"/>
                </a:cxn>
                <a:cxn ang="0">
                  <a:pos x="509" y="201"/>
                </a:cxn>
                <a:cxn ang="0">
                  <a:pos x="509" y="349"/>
                </a:cxn>
                <a:cxn ang="0">
                  <a:pos x="317" y="349"/>
                </a:cxn>
                <a:cxn ang="0">
                  <a:pos x="317" y="653"/>
                </a:cxn>
                <a:cxn ang="0">
                  <a:pos x="414" y="766"/>
                </a:cxn>
                <a:cxn ang="0">
                  <a:pos x="509" y="744"/>
                </a:cxn>
                <a:cxn ang="0">
                  <a:pos x="509" y="891"/>
                </a:cxn>
                <a:cxn ang="0">
                  <a:pos x="371" y="914"/>
                </a:cxn>
                <a:cxn ang="0">
                  <a:pos x="143" y="668"/>
                </a:cxn>
                <a:cxn ang="0">
                  <a:pos x="143" y="349"/>
                </a:cxn>
                <a:cxn ang="0">
                  <a:pos x="0" y="349"/>
                </a:cxn>
              </a:cxnLst>
              <a:rect l="0" t="0" r="r" b="b"/>
              <a:pathLst>
                <a:path w="509"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9" y="201"/>
                    <a:pt x="509" y="201"/>
                    <a:pt x="509" y="201"/>
                  </a:cubicBezTo>
                  <a:cubicBezTo>
                    <a:pt x="509" y="349"/>
                    <a:pt x="509" y="349"/>
                    <a:pt x="509" y="349"/>
                  </a:cubicBezTo>
                  <a:cubicBezTo>
                    <a:pt x="317" y="349"/>
                    <a:pt x="317" y="349"/>
                    <a:pt x="317" y="349"/>
                  </a:cubicBezTo>
                  <a:cubicBezTo>
                    <a:pt x="317" y="653"/>
                    <a:pt x="317" y="653"/>
                    <a:pt x="317" y="653"/>
                  </a:cubicBezTo>
                  <a:cubicBezTo>
                    <a:pt x="317" y="723"/>
                    <a:pt x="338" y="766"/>
                    <a:pt x="414" y="766"/>
                  </a:cubicBezTo>
                  <a:cubicBezTo>
                    <a:pt x="445" y="766"/>
                    <a:pt x="487" y="760"/>
                    <a:pt x="509" y="744"/>
                  </a:cubicBezTo>
                  <a:cubicBezTo>
                    <a:pt x="509" y="891"/>
                    <a:pt x="509" y="891"/>
                    <a:pt x="509" y="891"/>
                  </a:cubicBezTo>
                  <a:cubicBezTo>
                    <a:pt x="472" y="908"/>
                    <a:pt x="412" y="914"/>
                    <a:pt x="371" y="914"/>
                  </a:cubicBezTo>
                  <a:cubicBezTo>
                    <a:pt x="187"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7" name="Freeform 22"/>
            <p:cNvSpPr>
              <a:spLocks noSelect="1"/>
            </p:cNvSpPr>
            <p:nvPr/>
          </p:nvSpPr>
          <p:spPr bwMode="black">
            <a:xfrm>
              <a:off x="1816100" y="600076"/>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6" y="529"/>
                    <a:pt x="264" y="591"/>
                    <a:pt x="361" y="591"/>
                  </a:cubicBezTo>
                  <a:cubicBezTo>
                    <a:pt x="448" y="591"/>
                    <a:pt x="504" y="550"/>
                    <a:pt x="548" y="497"/>
                  </a:cubicBezTo>
                  <a:cubicBezTo>
                    <a:pt x="672" y="591"/>
                    <a:pt x="672" y="591"/>
                    <a:pt x="672" y="591"/>
                  </a:cubicBezTo>
                  <a:cubicBezTo>
                    <a:pt x="591" y="691"/>
                    <a:pt x="488" y="730"/>
                    <a:pt x="378" y="730"/>
                  </a:cubicBezTo>
                  <a:cubicBezTo>
                    <a:pt x="168" y="730"/>
                    <a:pt x="0" y="584"/>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8" name="Freeform 23"/>
            <p:cNvSpPr>
              <a:spLocks noSelect="1"/>
            </p:cNvSpPr>
            <p:nvPr/>
          </p:nvSpPr>
          <p:spPr bwMode="black">
            <a:xfrm>
              <a:off x="2009775" y="600076"/>
              <a:ext cx="98425" cy="160338"/>
            </a:xfrm>
            <a:custGeom>
              <a:avLst/>
              <a:gdLst/>
              <a:ahLst/>
              <a:cxnLst>
                <a:cxn ang="0">
                  <a:pos x="0" y="17"/>
                </a:cxn>
                <a:cxn ang="0">
                  <a:pos x="174" y="17"/>
                </a:cxn>
                <a:cxn ang="0">
                  <a:pos x="174" y="127"/>
                </a:cxn>
                <a:cxn ang="0">
                  <a:pos x="177" y="127"/>
                </a:cxn>
                <a:cxn ang="0">
                  <a:pos x="383" y="0"/>
                </a:cxn>
                <a:cxn ang="0">
                  <a:pos x="445" y="10"/>
                </a:cxn>
                <a:cxn ang="0">
                  <a:pos x="445" y="178"/>
                </a:cxn>
                <a:cxn ang="0">
                  <a:pos x="361" y="165"/>
                </a:cxn>
                <a:cxn ang="0">
                  <a:pos x="174" y="340"/>
                </a:cxn>
                <a:cxn ang="0">
                  <a:pos x="174" y="713"/>
                </a:cxn>
                <a:cxn ang="0">
                  <a:pos x="0" y="713"/>
                </a:cxn>
                <a:cxn ang="0">
                  <a:pos x="0" y="17"/>
                </a:cxn>
              </a:cxnLst>
              <a:rect l="0" t="0" r="r" b="b"/>
              <a:pathLst>
                <a:path w="445" h="713">
                  <a:moveTo>
                    <a:pt x="0" y="17"/>
                  </a:moveTo>
                  <a:cubicBezTo>
                    <a:pt x="174" y="17"/>
                    <a:pt x="174" y="17"/>
                    <a:pt x="174" y="17"/>
                  </a:cubicBezTo>
                  <a:cubicBezTo>
                    <a:pt x="174" y="127"/>
                    <a:pt x="174" y="127"/>
                    <a:pt x="174" y="127"/>
                  </a:cubicBezTo>
                  <a:cubicBezTo>
                    <a:pt x="177" y="127"/>
                    <a:pt x="177" y="127"/>
                    <a:pt x="177" y="127"/>
                  </a:cubicBezTo>
                  <a:cubicBezTo>
                    <a:pt x="215" y="48"/>
                    <a:pt x="292" y="0"/>
                    <a:pt x="383" y="0"/>
                  </a:cubicBezTo>
                  <a:cubicBezTo>
                    <a:pt x="405" y="0"/>
                    <a:pt x="425" y="4"/>
                    <a:pt x="445" y="10"/>
                  </a:cubicBezTo>
                  <a:cubicBezTo>
                    <a:pt x="445" y="178"/>
                    <a:pt x="445" y="178"/>
                    <a:pt x="445" y="178"/>
                  </a:cubicBezTo>
                  <a:cubicBezTo>
                    <a:pt x="416" y="171"/>
                    <a:pt x="389" y="165"/>
                    <a:pt x="361" y="165"/>
                  </a:cubicBezTo>
                  <a:cubicBezTo>
                    <a:pt x="198" y="165"/>
                    <a:pt x="174" y="303"/>
                    <a:pt x="174" y="340"/>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9" name="Freeform 24"/>
            <p:cNvSpPr>
              <a:spLocks noSelect="1"/>
            </p:cNvSpPr>
            <p:nvPr/>
          </p:nvSpPr>
          <p:spPr bwMode="black">
            <a:xfrm>
              <a:off x="2122488" y="515938"/>
              <a:ext cx="166688" cy="247650"/>
            </a:xfrm>
            <a:custGeom>
              <a:avLst/>
              <a:gdLst/>
              <a:ahLst/>
              <a:cxnLst>
                <a:cxn ang="0">
                  <a:pos x="585" y="991"/>
                </a:cxn>
                <a:cxn ang="0">
                  <a:pos x="582" y="991"/>
                </a:cxn>
                <a:cxn ang="0">
                  <a:pos x="343" y="1113"/>
                </a:cxn>
                <a:cxn ang="0">
                  <a:pos x="0" y="748"/>
                </a:cxn>
                <a:cxn ang="0">
                  <a:pos x="336" y="383"/>
                </a:cxn>
                <a:cxn ang="0">
                  <a:pos x="572" y="489"/>
                </a:cxn>
                <a:cxn ang="0">
                  <a:pos x="576" y="489"/>
                </a:cxn>
                <a:cxn ang="0">
                  <a:pos x="576" y="0"/>
                </a:cxn>
                <a:cxn ang="0">
                  <a:pos x="750" y="0"/>
                </a:cxn>
                <a:cxn ang="0">
                  <a:pos x="750" y="1096"/>
                </a:cxn>
                <a:cxn ang="0">
                  <a:pos x="585" y="1096"/>
                </a:cxn>
                <a:cxn ang="0">
                  <a:pos x="585" y="991"/>
                </a:cxn>
                <a:cxn ang="0">
                  <a:pos x="378" y="956"/>
                </a:cxn>
                <a:cxn ang="0">
                  <a:pos x="582" y="748"/>
                </a:cxn>
                <a:cxn ang="0">
                  <a:pos x="378" y="539"/>
                </a:cxn>
                <a:cxn ang="0">
                  <a:pos x="174" y="748"/>
                </a:cxn>
                <a:cxn ang="0">
                  <a:pos x="378" y="956"/>
                </a:cxn>
              </a:cxnLst>
              <a:rect l="0" t="0" r="r" b="b"/>
              <a:pathLst>
                <a:path w="750" h="1113">
                  <a:moveTo>
                    <a:pt x="585" y="991"/>
                  </a:moveTo>
                  <a:cubicBezTo>
                    <a:pt x="582" y="991"/>
                    <a:pt x="582" y="991"/>
                    <a:pt x="582" y="991"/>
                  </a:cubicBezTo>
                  <a:cubicBezTo>
                    <a:pt x="531" y="1075"/>
                    <a:pt x="440" y="1113"/>
                    <a:pt x="343" y="1113"/>
                  </a:cubicBezTo>
                  <a:cubicBezTo>
                    <a:pt x="129" y="1113"/>
                    <a:pt x="0" y="954"/>
                    <a:pt x="0" y="748"/>
                  </a:cubicBezTo>
                  <a:cubicBezTo>
                    <a:pt x="0" y="542"/>
                    <a:pt x="137" y="383"/>
                    <a:pt x="336" y="383"/>
                  </a:cubicBezTo>
                  <a:cubicBezTo>
                    <a:pt x="466" y="383"/>
                    <a:pt x="536" y="444"/>
                    <a:pt x="572" y="489"/>
                  </a:cubicBezTo>
                  <a:cubicBezTo>
                    <a:pt x="576" y="489"/>
                    <a:pt x="576" y="489"/>
                    <a:pt x="576" y="489"/>
                  </a:cubicBezTo>
                  <a:cubicBezTo>
                    <a:pt x="576" y="0"/>
                    <a:pt x="576" y="0"/>
                    <a:pt x="576" y="0"/>
                  </a:cubicBezTo>
                  <a:cubicBezTo>
                    <a:pt x="750" y="0"/>
                    <a:pt x="750" y="0"/>
                    <a:pt x="750" y="0"/>
                  </a:cubicBezTo>
                  <a:cubicBezTo>
                    <a:pt x="750" y="1096"/>
                    <a:pt x="750" y="1096"/>
                    <a:pt x="750" y="1096"/>
                  </a:cubicBezTo>
                  <a:cubicBezTo>
                    <a:pt x="585" y="1096"/>
                    <a:pt x="585" y="1096"/>
                    <a:pt x="585" y="1096"/>
                  </a:cubicBezTo>
                  <a:lnTo>
                    <a:pt x="585" y="991"/>
                  </a:lnTo>
                  <a:close/>
                  <a:moveTo>
                    <a:pt x="378" y="956"/>
                  </a:moveTo>
                  <a:cubicBezTo>
                    <a:pt x="505" y="956"/>
                    <a:pt x="582" y="857"/>
                    <a:pt x="582" y="748"/>
                  </a:cubicBezTo>
                  <a:cubicBezTo>
                    <a:pt x="582" y="639"/>
                    <a:pt x="505" y="539"/>
                    <a:pt x="378" y="539"/>
                  </a:cubicBezTo>
                  <a:cubicBezTo>
                    <a:pt x="250" y="539"/>
                    <a:pt x="174" y="639"/>
                    <a:pt x="174" y="748"/>
                  </a:cubicBezTo>
                  <a:cubicBezTo>
                    <a:pt x="174" y="857"/>
                    <a:pt x="250" y="956"/>
                    <a:pt x="378" y="956"/>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50" name="Freeform 25"/>
            <p:cNvSpPr>
              <a:spLocks noSelect="1"/>
            </p:cNvSpPr>
            <p:nvPr/>
          </p:nvSpPr>
          <p:spPr bwMode="black">
            <a:xfrm>
              <a:off x="2322513" y="600076"/>
              <a:ext cx="142875" cy="163513"/>
            </a:xfrm>
            <a:custGeom>
              <a:avLst/>
              <a:gdLst/>
              <a:ahLst/>
              <a:cxnLst>
                <a:cxn ang="0">
                  <a:pos x="481" y="617"/>
                </a:cxn>
                <a:cxn ang="0">
                  <a:pos x="477" y="617"/>
                </a:cxn>
                <a:cxn ang="0">
                  <a:pos x="254" y="730"/>
                </a:cxn>
                <a:cxn ang="0">
                  <a:pos x="0" y="521"/>
                </a:cxn>
                <a:cxn ang="0">
                  <a:pos x="437" y="279"/>
                </a:cxn>
                <a:cxn ang="0">
                  <a:pos x="481" y="279"/>
                </a:cxn>
                <a:cxn ang="0">
                  <a:pos x="481" y="261"/>
                </a:cxn>
                <a:cxn ang="0">
                  <a:pos x="322" y="130"/>
                </a:cxn>
                <a:cxn ang="0">
                  <a:pos x="136" y="203"/>
                </a:cxn>
                <a:cxn ang="0">
                  <a:pos x="45" y="111"/>
                </a:cxn>
                <a:cxn ang="0">
                  <a:pos x="340" y="0"/>
                </a:cxn>
                <a:cxn ang="0">
                  <a:pos x="637" y="313"/>
                </a:cxn>
                <a:cxn ang="0">
                  <a:pos x="637" y="713"/>
                </a:cxn>
                <a:cxn ang="0">
                  <a:pos x="481" y="713"/>
                </a:cxn>
                <a:cxn ang="0">
                  <a:pos x="481" y="617"/>
                </a:cxn>
                <a:cxn ang="0">
                  <a:pos x="471" y="401"/>
                </a:cxn>
                <a:cxn ang="0">
                  <a:pos x="435" y="401"/>
                </a:cxn>
                <a:cxn ang="0">
                  <a:pos x="174" y="508"/>
                </a:cxn>
                <a:cxn ang="0">
                  <a:pos x="295" y="600"/>
                </a:cxn>
                <a:cxn ang="0">
                  <a:pos x="471" y="440"/>
                </a:cxn>
                <a:cxn ang="0">
                  <a:pos x="471" y="401"/>
                </a:cxn>
              </a:cxnLst>
              <a:rect l="0" t="0" r="r" b="b"/>
              <a:pathLst>
                <a:path w="637" h="730">
                  <a:moveTo>
                    <a:pt x="481" y="617"/>
                  </a:moveTo>
                  <a:cubicBezTo>
                    <a:pt x="477" y="617"/>
                    <a:pt x="477" y="617"/>
                    <a:pt x="477" y="617"/>
                  </a:cubicBezTo>
                  <a:cubicBezTo>
                    <a:pt x="427" y="695"/>
                    <a:pt x="346" y="730"/>
                    <a:pt x="254" y="730"/>
                  </a:cubicBezTo>
                  <a:cubicBezTo>
                    <a:pt x="125" y="730"/>
                    <a:pt x="0" y="659"/>
                    <a:pt x="0" y="521"/>
                  </a:cubicBezTo>
                  <a:cubicBezTo>
                    <a:pt x="0" y="295"/>
                    <a:pt x="264" y="279"/>
                    <a:pt x="437" y="279"/>
                  </a:cubicBezTo>
                  <a:cubicBezTo>
                    <a:pt x="481" y="279"/>
                    <a:pt x="481" y="279"/>
                    <a:pt x="481" y="279"/>
                  </a:cubicBezTo>
                  <a:cubicBezTo>
                    <a:pt x="481" y="261"/>
                    <a:pt x="481" y="261"/>
                    <a:pt x="481" y="261"/>
                  </a:cubicBezTo>
                  <a:cubicBezTo>
                    <a:pt x="481" y="175"/>
                    <a:pt x="414" y="130"/>
                    <a:pt x="322" y="130"/>
                  </a:cubicBezTo>
                  <a:cubicBezTo>
                    <a:pt x="249" y="130"/>
                    <a:pt x="182" y="159"/>
                    <a:pt x="136" y="203"/>
                  </a:cubicBezTo>
                  <a:cubicBezTo>
                    <a:pt x="45" y="111"/>
                    <a:pt x="45" y="111"/>
                    <a:pt x="45" y="111"/>
                  </a:cubicBezTo>
                  <a:cubicBezTo>
                    <a:pt x="122" y="33"/>
                    <a:pt x="230" y="0"/>
                    <a:pt x="340" y="0"/>
                  </a:cubicBezTo>
                  <a:cubicBezTo>
                    <a:pt x="637" y="0"/>
                    <a:pt x="637" y="214"/>
                    <a:pt x="637" y="313"/>
                  </a:cubicBezTo>
                  <a:cubicBezTo>
                    <a:pt x="637" y="713"/>
                    <a:pt x="637" y="713"/>
                    <a:pt x="637" y="713"/>
                  </a:cubicBezTo>
                  <a:cubicBezTo>
                    <a:pt x="481" y="713"/>
                    <a:pt x="481" y="713"/>
                    <a:pt x="481" y="713"/>
                  </a:cubicBezTo>
                  <a:lnTo>
                    <a:pt x="481" y="617"/>
                  </a:lnTo>
                  <a:close/>
                  <a:moveTo>
                    <a:pt x="471" y="401"/>
                  </a:moveTo>
                  <a:cubicBezTo>
                    <a:pt x="435" y="401"/>
                    <a:pt x="435" y="401"/>
                    <a:pt x="435" y="401"/>
                  </a:cubicBezTo>
                  <a:cubicBezTo>
                    <a:pt x="339" y="401"/>
                    <a:pt x="174" y="408"/>
                    <a:pt x="174" y="508"/>
                  </a:cubicBezTo>
                  <a:cubicBezTo>
                    <a:pt x="174" y="572"/>
                    <a:pt x="239" y="600"/>
                    <a:pt x="295" y="600"/>
                  </a:cubicBezTo>
                  <a:cubicBezTo>
                    <a:pt x="414" y="600"/>
                    <a:pt x="471" y="537"/>
                    <a:pt x="471" y="440"/>
                  </a:cubicBezTo>
                  <a:lnTo>
                    <a:pt x="471" y="40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51" name="Freeform 26"/>
            <p:cNvSpPr>
              <a:spLocks noSelect="1"/>
            </p:cNvSpPr>
            <p:nvPr/>
          </p:nvSpPr>
          <p:spPr bwMode="black">
            <a:xfrm>
              <a:off x="2505075" y="600076"/>
              <a:ext cx="241300" cy="160338"/>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8"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6"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grpSp>
    </p:spTree>
    <p:extLst>
      <p:ext uri="{BB962C8B-B14F-4D97-AF65-F5344CB8AC3E}">
        <p14:creationId xmlns:p14="http://schemas.microsoft.com/office/powerpoint/2010/main" val="122100197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Foto (klein) links, tekst rechts">
    <p:spTree>
      <p:nvGrpSpPr>
        <p:cNvPr id="1" name=""/>
        <p:cNvGrpSpPr/>
        <p:nvPr/>
      </p:nvGrpSpPr>
      <p:grpSpPr>
        <a:xfrm>
          <a:off x="0" y="0"/>
          <a:ext cx="0" cy="0"/>
          <a:chOff x="0" y="0"/>
          <a:chExt cx="0" cy="0"/>
        </a:xfrm>
      </p:grpSpPr>
      <p:sp>
        <p:nvSpPr>
          <p:cNvPr id="3" name="Tijdelijke aanduiding voor inhoud 2"/>
          <p:cNvSpPr>
            <a:spLocks noGrp="1" noSelect="1"/>
          </p:cNvSpPr>
          <p:nvPr>
            <p:ph idx="1"/>
          </p:nvPr>
        </p:nvSpPr>
        <p:spPr bwMode="gray">
          <a:xfrm>
            <a:off x="5783912" y="2053441"/>
            <a:ext cx="5952000" cy="4428000"/>
          </a:xfrm>
        </p:spPr>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6" name="Tijdelijke aanduiding voor afbeelding 5"/>
          <p:cNvSpPr>
            <a:spLocks noGrp="1" noSelect="1"/>
          </p:cNvSpPr>
          <p:nvPr>
            <p:ph type="pic" sz="quarter" idx="10" hasCustomPrompt="1"/>
          </p:nvPr>
        </p:nvSpPr>
        <p:spPr bwMode="gray">
          <a:xfrm>
            <a:off x="1094400" y="2124000"/>
            <a:ext cx="4358400" cy="4248000"/>
          </a:xfrm>
        </p:spPr>
        <p:txBody>
          <a:bodyPr/>
          <a:lstStyle>
            <a:lvl1pPr marL="0" indent="0">
              <a:buNone/>
              <a:defRPr b="0" baseline="0"/>
            </a:lvl1pPr>
          </a:lstStyle>
          <a:p>
            <a:r>
              <a:rPr lang="nl-NL" dirty="0"/>
              <a:t>Afbeelding formaat: 367 x 476 pixels.</a:t>
            </a:r>
          </a:p>
        </p:txBody>
      </p:sp>
      <p:sp>
        <p:nvSpPr>
          <p:cNvPr id="2" name="Tijdelijke aanduiding voor datum 1"/>
          <p:cNvSpPr>
            <a:spLocks noGrp="1" noSelect="1"/>
          </p:cNvSpPr>
          <p:nvPr>
            <p:ph type="dt" sz="half" idx="11"/>
          </p:nvPr>
        </p:nvSpPr>
        <p:spPr bwMode="gray"/>
        <p:txBody>
          <a:bodyPr/>
          <a:lstStyle/>
          <a:p>
            <a:endParaRPr lang="nl-NL" dirty="0"/>
          </a:p>
        </p:txBody>
      </p:sp>
      <p:sp>
        <p:nvSpPr>
          <p:cNvPr id="4" name="Tijdelijke aanduiding voor voettekst 3"/>
          <p:cNvSpPr>
            <a:spLocks noGrp="1" noSelect="1"/>
          </p:cNvSpPr>
          <p:nvPr>
            <p:ph type="ftr" sz="quarter" idx="12"/>
          </p:nvPr>
        </p:nvSpPr>
        <p:spPr bwMode="gray"/>
        <p:txBody>
          <a:bodyPr/>
          <a:lstStyle/>
          <a:p>
            <a:r>
              <a:rPr lang="nl-NL"/>
              <a:t>Informatiebijeenkomst 26 juli 2021 Europese Aanbesteding SVWI</a:t>
            </a:r>
            <a:endParaRPr lang="nl-NL" dirty="0"/>
          </a:p>
        </p:txBody>
      </p:sp>
      <p:sp>
        <p:nvSpPr>
          <p:cNvPr id="5" name="Tijdelijke aanduiding voor dianummer 4"/>
          <p:cNvSpPr>
            <a:spLocks noGrp="1" noSelect="1"/>
          </p:cNvSpPr>
          <p:nvPr>
            <p:ph type="sldNum" sz="quarter" idx="13"/>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7230814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5820519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endParaRPr lang="nl-NL" noProof="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endParaRPr lang="nl-NL" noProof="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endParaRPr lang="nl-NL" noProof="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endParaRPr lang="nl-NL" noProof="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endParaRPr lang="nl-NL" noProof="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endParaRPr lang="nl-NL" noProof="0"/>
          </a:p>
        </p:txBody>
      </p:sp>
    </p:spTree>
    <p:extLst>
      <p:ext uri="{BB962C8B-B14F-4D97-AF65-F5344CB8AC3E}">
        <p14:creationId xmlns:p14="http://schemas.microsoft.com/office/powerpoint/2010/main" val="108842310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Foto (breed) links, tekst rechts">
    <p:spTree>
      <p:nvGrpSpPr>
        <p:cNvPr id="1" name=""/>
        <p:cNvGrpSpPr/>
        <p:nvPr/>
      </p:nvGrpSpPr>
      <p:grpSpPr>
        <a:xfrm>
          <a:off x="0" y="0"/>
          <a:ext cx="0" cy="0"/>
          <a:chOff x="0" y="0"/>
          <a:chExt cx="0" cy="0"/>
        </a:xfrm>
      </p:grpSpPr>
      <p:sp>
        <p:nvSpPr>
          <p:cNvPr id="3" name="Tijdelijke aanduiding voor inhoud 2"/>
          <p:cNvSpPr>
            <a:spLocks noGrp="1" noSelect="1"/>
          </p:cNvSpPr>
          <p:nvPr>
            <p:ph idx="1"/>
          </p:nvPr>
        </p:nvSpPr>
        <p:spPr bwMode="gray">
          <a:xfrm>
            <a:off x="8919868" y="2053441"/>
            <a:ext cx="2784000" cy="4176000"/>
          </a:xfrm>
        </p:spPr>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6" name="Tijdelijke aanduiding voor afbeelding 5"/>
          <p:cNvSpPr>
            <a:spLocks noGrp="1" noSelect="1"/>
          </p:cNvSpPr>
          <p:nvPr>
            <p:ph type="pic" sz="quarter" idx="10" hasCustomPrompt="1"/>
          </p:nvPr>
        </p:nvSpPr>
        <p:spPr bwMode="gray">
          <a:xfrm>
            <a:off x="1022400" y="2124000"/>
            <a:ext cx="7627200" cy="3812400"/>
          </a:xfrm>
        </p:spPr>
        <p:txBody>
          <a:bodyPr/>
          <a:lstStyle>
            <a:lvl1pPr marL="0" indent="0">
              <a:buNone/>
              <a:defRPr b="0" baseline="0"/>
            </a:lvl1pPr>
          </a:lstStyle>
          <a:p>
            <a:r>
              <a:rPr lang="nl-NL" dirty="0"/>
              <a:t>Afbeelding formaat: 641 x 427 pixels.</a:t>
            </a:r>
          </a:p>
        </p:txBody>
      </p:sp>
      <p:sp>
        <p:nvSpPr>
          <p:cNvPr id="2" name="Tijdelijke aanduiding voor datum 1"/>
          <p:cNvSpPr>
            <a:spLocks noGrp="1" noSelect="1"/>
          </p:cNvSpPr>
          <p:nvPr>
            <p:ph type="dt" sz="half" idx="11"/>
          </p:nvPr>
        </p:nvSpPr>
        <p:spPr bwMode="gray"/>
        <p:txBody>
          <a:bodyPr/>
          <a:lstStyle/>
          <a:p>
            <a:endParaRPr lang="nl-NL" dirty="0"/>
          </a:p>
        </p:txBody>
      </p:sp>
      <p:sp>
        <p:nvSpPr>
          <p:cNvPr id="4" name="Tijdelijke aanduiding voor voettekst 3"/>
          <p:cNvSpPr>
            <a:spLocks noGrp="1" noSelect="1"/>
          </p:cNvSpPr>
          <p:nvPr>
            <p:ph type="ftr" sz="quarter" idx="12"/>
          </p:nvPr>
        </p:nvSpPr>
        <p:spPr bwMode="gray"/>
        <p:txBody>
          <a:bodyPr/>
          <a:lstStyle/>
          <a:p>
            <a:r>
              <a:rPr lang="nl-NL"/>
              <a:t>Informatiebijeenkomst 26 juli 2021 Europese Aanbesteding SVWI</a:t>
            </a:r>
            <a:endParaRPr lang="nl-NL" dirty="0"/>
          </a:p>
        </p:txBody>
      </p:sp>
      <p:sp>
        <p:nvSpPr>
          <p:cNvPr id="5" name="Tijdelijke aanduiding voor dianummer 4"/>
          <p:cNvSpPr>
            <a:spLocks noGrp="1" noSelect="1"/>
          </p:cNvSpPr>
          <p:nvPr>
            <p:ph type="sldNum" sz="quarter" idx="13"/>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1790904111"/>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Foto (hoog) links, tekst rechts">
    <p:spTree>
      <p:nvGrpSpPr>
        <p:cNvPr id="1" name=""/>
        <p:cNvGrpSpPr/>
        <p:nvPr/>
      </p:nvGrpSpPr>
      <p:grpSpPr>
        <a:xfrm>
          <a:off x="0" y="0"/>
          <a:ext cx="0" cy="0"/>
          <a:chOff x="0" y="0"/>
          <a:chExt cx="0" cy="0"/>
        </a:xfrm>
      </p:grpSpPr>
      <p:sp>
        <p:nvSpPr>
          <p:cNvPr id="6" name="Tijdelijke aanduiding voor afbeelding 5"/>
          <p:cNvSpPr>
            <a:spLocks noGrp="1" noSelect="1"/>
          </p:cNvSpPr>
          <p:nvPr>
            <p:ph type="pic" sz="quarter" idx="10" hasCustomPrompt="1"/>
          </p:nvPr>
        </p:nvSpPr>
        <p:spPr bwMode="gray">
          <a:xfrm>
            <a:off x="1056000" y="0"/>
            <a:ext cx="6600000" cy="6858000"/>
          </a:xfrm>
        </p:spPr>
        <p:txBody>
          <a:bodyPr/>
          <a:lstStyle>
            <a:lvl1pPr marL="0" indent="0">
              <a:buNone/>
              <a:defRPr b="0" baseline="0"/>
            </a:lvl1pPr>
          </a:lstStyle>
          <a:p>
            <a:r>
              <a:rPr lang="nl-NL" dirty="0"/>
              <a:t>Afbeelding formaat: 367 x 476 pixels.</a:t>
            </a:r>
          </a:p>
        </p:txBody>
      </p:sp>
      <p:sp>
        <p:nvSpPr>
          <p:cNvPr id="3" name="Tijdelijke aanduiding voor inhoud 2"/>
          <p:cNvSpPr>
            <a:spLocks noGrp="1" noSelect="1"/>
          </p:cNvSpPr>
          <p:nvPr>
            <p:ph idx="1"/>
          </p:nvPr>
        </p:nvSpPr>
        <p:spPr bwMode="gray">
          <a:xfrm>
            <a:off x="8054356" y="2053441"/>
            <a:ext cx="3648000" cy="4428000"/>
          </a:xfrm>
        </p:spPr>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2" name="Tijdelijke aanduiding voor datum 1"/>
          <p:cNvSpPr>
            <a:spLocks noGrp="1" noSelect="1"/>
          </p:cNvSpPr>
          <p:nvPr>
            <p:ph type="dt" sz="half" idx="11"/>
          </p:nvPr>
        </p:nvSpPr>
        <p:spPr bwMode="gray"/>
        <p:txBody>
          <a:bodyPr/>
          <a:lstStyle/>
          <a:p>
            <a:endParaRPr lang="nl-NL" dirty="0"/>
          </a:p>
        </p:txBody>
      </p:sp>
      <p:sp>
        <p:nvSpPr>
          <p:cNvPr id="4" name="Tijdelijke aanduiding voor voettekst 3"/>
          <p:cNvSpPr>
            <a:spLocks noGrp="1" noSelect="1"/>
          </p:cNvSpPr>
          <p:nvPr>
            <p:ph type="ftr" sz="quarter" idx="12"/>
          </p:nvPr>
        </p:nvSpPr>
        <p:spPr bwMode="gray"/>
        <p:txBody>
          <a:bodyPr/>
          <a:lstStyle/>
          <a:p>
            <a:r>
              <a:rPr lang="nl-NL"/>
              <a:t>Informatiebijeenkomst 26 juli 2021 Europese Aanbesteding SVWI</a:t>
            </a:r>
            <a:endParaRPr lang="nl-NL" dirty="0"/>
          </a:p>
        </p:txBody>
      </p:sp>
      <p:sp>
        <p:nvSpPr>
          <p:cNvPr id="5" name="Tijdelijke aanduiding voor dianummer 4"/>
          <p:cNvSpPr>
            <a:spLocks noGrp="1" noSelect="1"/>
          </p:cNvSpPr>
          <p:nvPr>
            <p:ph type="sldNum" sz="quarter" idx="13"/>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137079619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el en 2 kaders">
    <p:spTree>
      <p:nvGrpSpPr>
        <p:cNvPr id="1" name=""/>
        <p:cNvGrpSpPr/>
        <p:nvPr/>
      </p:nvGrpSpPr>
      <p:grpSpPr>
        <a:xfrm>
          <a:off x="0" y="0"/>
          <a:ext cx="0" cy="0"/>
          <a:chOff x="0" y="0"/>
          <a:chExt cx="0" cy="0"/>
        </a:xfrm>
      </p:grpSpPr>
      <p:sp>
        <p:nvSpPr>
          <p:cNvPr id="9" name="Tijdelijke aanduiding voor inhoud 8"/>
          <p:cNvSpPr>
            <a:spLocks noGrp="1" noSelect="1"/>
          </p:cNvSpPr>
          <p:nvPr>
            <p:ph sz="quarter" idx="13"/>
          </p:nvPr>
        </p:nvSpPr>
        <p:spPr bwMode="gray">
          <a:xfrm>
            <a:off x="6634628" y="3366000"/>
            <a:ext cx="5088000" cy="2786400"/>
          </a:xfrm>
        </p:spPr>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11" name="Tijdelijke aanduiding voor inhoud 10"/>
          <p:cNvSpPr>
            <a:spLocks noGrp="1" noSelect="1"/>
          </p:cNvSpPr>
          <p:nvPr>
            <p:ph sz="quarter" idx="14"/>
          </p:nvPr>
        </p:nvSpPr>
        <p:spPr bwMode="gray">
          <a:xfrm>
            <a:off x="1042628" y="3366000"/>
            <a:ext cx="5088000" cy="2786400"/>
          </a:xfrm>
        </p:spPr>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2" name="Tijdelijke aanduiding voor datum 1"/>
          <p:cNvSpPr>
            <a:spLocks noGrp="1" noSelect="1"/>
          </p:cNvSpPr>
          <p:nvPr>
            <p:ph type="dt" sz="half" idx="15"/>
          </p:nvPr>
        </p:nvSpPr>
        <p:spPr bwMode="gray"/>
        <p:txBody>
          <a:bodyPr/>
          <a:lstStyle/>
          <a:p>
            <a:endParaRPr lang="nl-NL" dirty="0"/>
          </a:p>
        </p:txBody>
      </p:sp>
      <p:sp>
        <p:nvSpPr>
          <p:cNvPr id="3" name="Tijdelijke aanduiding voor voettekst 2"/>
          <p:cNvSpPr>
            <a:spLocks noGrp="1" noSelect="1"/>
          </p:cNvSpPr>
          <p:nvPr>
            <p:ph type="ftr" sz="quarter" idx="16"/>
          </p:nvPr>
        </p:nvSpPr>
        <p:spPr bwMode="gray"/>
        <p:txBody>
          <a:bodyPr/>
          <a:lstStyle/>
          <a:p>
            <a:r>
              <a:rPr lang="nl-NL"/>
              <a:t>Informatiebijeenkomst 26 juli 2021 Europese Aanbesteding SVWI</a:t>
            </a:r>
            <a:endParaRPr lang="nl-NL" dirty="0"/>
          </a:p>
        </p:txBody>
      </p:sp>
      <p:sp>
        <p:nvSpPr>
          <p:cNvPr id="4" name="Tijdelijke aanduiding voor dianummer 3"/>
          <p:cNvSpPr>
            <a:spLocks noGrp="1" noSelect="1"/>
          </p:cNvSpPr>
          <p:nvPr>
            <p:ph type="sldNum" sz="quarter" idx="17"/>
          </p:nvPr>
        </p:nvSpPr>
        <p:spPr bwMode="gray"/>
        <p:txBody>
          <a:bodyPr/>
          <a:lstStyle/>
          <a:p>
            <a:r>
              <a:rPr lang="nl-NL" dirty="0"/>
              <a:t>| </a:t>
            </a:r>
            <a:fld id="{5A73F218-DCB0-4894-9B51-05C25669D534}" type="slidenum">
              <a:rPr lang="nl-NL" smtClean="0"/>
              <a:pPr/>
              <a:t>‹nr.›</a:t>
            </a:fld>
            <a:endParaRPr lang="nl-NL" dirty="0"/>
          </a:p>
        </p:txBody>
      </p:sp>
      <p:sp>
        <p:nvSpPr>
          <p:cNvPr id="5" name="Title 4"/>
          <p:cNvSpPr>
            <a:spLocks noGrp="1" noSelect="1"/>
          </p:cNvSpPr>
          <p:nvPr>
            <p:ph type="title" hasCustomPrompt="1"/>
          </p:nvPr>
        </p:nvSpPr>
        <p:spPr bwMode="gray">
          <a:xfrm>
            <a:off x="1042628" y="1998333"/>
            <a:ext cx="10680000" cy="1143000"/>
          </a:xfrm>
        </p:spPr>
        <p:txBody>
          <a:bodyPr/>
          <a:lstStyle>
            <a:lvl1pPr>
              <a:defRPr/>
            </a:lvl1pPr>
          </a:lstStyle>
          <a:p>
            <a:r>
              <a:rPr lang="nl-NL" dirty="0"/>
              <a:t>Titel</a:t>
            </a:r>
          </a:p>
        </p:txBody>
      </p:sp>
    </p:spTree>
    <p:extLst>
      <p:ext uri="{BB962C8B-B14F-4D97-AF65-F5344CB8AC3E}">
        <p14:creationId xmlns:p14="http://schemas.microsoft.com/office/powerpoint/2010/main" val="4092329946"/>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Foto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2" name="Afgeronde rechthoek 31"/>
          <p:cNvSpPr>
            <a:spLocks noSelect="1"/>
          </p:cNvSpPr>
          <p:nvPr userDrawn="1"/>
        </p:nvSpPr>
        <p:spPr bwMode="gray">
          <a:xfrm>
            <a:off x="-2308591" y="98556"/>
            <a:ext cx="2146029" cy="4770636"/>
          </a:xfrm>
          <a:prstGeom prst="roundRect">
            <a:avLst>
              <a:gd name="adj" fmla="val 970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r>
              <a:rPr lang="nl-NL" sz="1000" noProof="1">
                <a:solidFill>
                  <a:schemeClr val="tx1"/>
                </a:solidFill>
              </a:rPr>
              <a:t>Deze dia  is zo gemaakt dat je zelf een afbeelding kan invoegen. </a:t>
            </a:r>
          </a:p>
          <a:p>
            <a:pPr algn="l"/>
            <a:endParaRPr lang="nl-NL" sz="1000" noProof="1">
              <a:solidFill>
                <a:schemeClr val="tx1"/>
              </a:solidFill>
            </a:endParaRPr>
          </a:p>
          <a:p>
            <a:pPr algn="l"/>
            <a:r>
              <a:rPr lang="nl-NL" sz="1000" noProof="1">
                <a:solidFill>
                  <a:schemeClr val="tx1"/>
                </a:solidFill>
              </a:rPr>
              <a:t>Klik met de rechtermuisknop in de achtergrond en kies Achtergrond opmaken. Klik op Opvulling met figuur of bitmappatroon en dan op Invoegen uit bestand. Kies de afbeelding en klik op Invoegen en Sluiten.</a:t>
            </a:r>
          </a:p>
          <a:p>
            <a:pPr algn="l"/>
            <a:endParaRPr lang="nl-NL" sz="1000" noProof="1">
              <a:solidFill>
                <a:schemeClr val="tx1"/>
              </a:solidFill>
            </a:endParaRPr>
          </a:p>
          <a:p>
            <a:pPr algn="l"/>
            <a:r>
              <a:rPr lang="nl-NL" sz="1000" noProof="1">
                <a:solidFill>
                  <a:schemeClr val="tx1"/>
                </a:solidFill>
              </a:rPr>
              <a:t>Klik niet op Overal toepassen omdat de afbeelding dan op alle dia’s komt. Met ctrl + z kan je dit ongedaan maken.</a:t>
            </a:r>
          </a:p>
          <a:p>
            <a:pPr algn="l"/>
            <a:endParaRPr lang="nl-NL" sz="1000" noProof="1">
              <a:solidFill>
                <a:schemeClr val="tx1"/>
              </a:solidFill>
            </a:endParaRPr>
          </a:p>
          <a:p>
            <a:pPr algn="l"/>
            <a:r>
              <a:rPr lang="nl-NL" sz="1000" noProof="1">
                <a:solidFill>
                  <a:schemeClr val="tx1"/>
                </a:solidFill>
              </a:rPr>
              <a:t>Voor het mooiste resultaat is de beeldverhouding 1024 x 768 pixels. Het beeld blijft dan scherp en vervormt niet.</a:t>
            </a:r>
          </a:p>
          <a:p>
            <a:pPr algn="l"/>
            <a:endParaRPr lang="nl-NL" sz="1000" noProof="1">
              <a:solidFill>
                <a:schemeClr val="tx1"/>
              </a:solidFill>
            </a:endParaRPr>
          </a:p>
        </p:txBody>
      </p:sp>
      <p:sp>
        <p:nvSpPr>
          <p:cNvPr id="30" name="Rechthoek 29"/>
          <p:cNvSpPr>
            <a:spLocks noSelect="1"/>
          </p:cNvSpPr>
          <p:nvPr userDrawn="1"/>
        </p:nvSpPr>
        <p:spPr bwMode="white">
          <a:xfrm>
            <a:off x="0" y="0"/>
            <a:ext cx="1051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dirty="0"/>
          </a:p>
        </p:txBody>
      </p:sp>
      <p:grpSp>
        <p:nvGrpSpPr>
          <p:cNvPr id="3" name="Groep 30"/>
          <p:cNvGrpSpPr>
            <a:grpSpLocks noSelect="1"/>
          </p:cNvGrpSpPr>
          <p:nvPr userDrawn="1"/>
        </p:nvGrpSpPr>
        <p:grpSpPr bwMode="black">
          <a:xfrm>
            <a:off x="243417" y="163513"/>
            <a:ext cx="567267" cy="1447800"/>
            <a:chOff x="182563" y="163513"/>
            <a:chExt cx="425450" cy="1447800"/>
          </a:xfrm>
          <a:solidFill>
            <a:srgbClr val="FF0000"/>
          </a:solidFill>
        </p:grpSpPr>
        <p:sp>
          <p:nvSpPr>
            <p:cNvPr id="33" name="Freeform 7"/>
            <p:cNvSpPr>
              <a:spLocks noSelect="1"/>
            </p:cNvSpPr>
            <p:nvPr/>
          </p:nvSpPr>
          <p:spPr bwMode="black">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4" name="Freeform 8"/>
            <p:cNvSpPr>
              <a:spLocks noSelect="1"/>
            </p:cNvSpPr>
            <p:nvPr/>
          </p:nvSpPr>
          <p:spPr bwMode="black">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5" name="Freeform 9"/>
            <p:cNvSpPr>
              <a:spLocks noSelect="1"/>
            </p:cNvSpPr>
            <p:nvPr/>
          </p:nvSpPr>
          <p:spPr bwMode="black">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grpSp>
      <p:sp>
        <p:nvSpPr>
          <p:cNvPr id="4" name="Tijdelijke aanduiding voor datum 3"/>
          <p:cNvSpPr>
            <a:spLocks noGrp="1" noSelect="1"/>
          </p:cNvSpPr>
          <p:nvPr userDrawn="1">
            <p:ph type="dt" sz="half" idx="10"/>
          </p:nvPr>
        </p:nvSpPr>
        <p:spPr bwMode="gray"/>
        <p:txBody>
          <a:bodyPr/>
          <a:lstStyle/>
          <a:p>
            <a:endParaRPr lang="nl-NL" dirty="0"/>
          </a:p>
        </p:txBody>
      </p:sp>
      <p:sp>
        <p:nvSpPr>
          <p:cNvPr id="5" name="Tijdelijke aanduiding voor voettekst 4"/>
          <p:cNvSpPr>
            <a:spLocks noGrp="1" noSelect="1"/>
          </p:cNvSpPr>
          <p:nvPr userDrawn="1">
            <p:ph type="ftr" sz="quarter" idx="11"/>
          </p:nvPr>
        </p:nvSpPr>
        <p:spPr bwMode="gray"/>
        <p:txBody>
          <a:bodyPr/>
          <a:lstStyle/>
          <a:p>
            <a:r>
              <a:rPr lang="nl-NL"/>
              <a:t>Informatiebijeenkomst 26 juli 2021 Europese Aanbesteding SVWI</a:t>
            </a:r>
            <a:endParaRPr lang="nl-NL" dirty="0"/>
          </a:p>
        </p:txBody>
      </p:sp>
      <p:sp>
        <p:nvSpPr>
          <p:cNvPr id="6" name="Tijdelijke aanduiding voor dianummer 5"/>
          <p:cNvSpPr>
            <a:spLocks noGrp="1" noSelect="1"/>
          </p:cNvSpPr>
          <p:nvPr userDrawn="1">
            <p:ph type="sldNum" sz="quarter" idx="12"/>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226492264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lvl1pPr>
              <a:defRPr/>
            </a:lvl1pPr>
          </a:lstStyle>
          <a:p>
            <a:r>
              <a:rPr lang="nl-NL" noProof="1"/>
              <a:t>Titel</a:t>
            </a:r>
          </a:p>
        </p:txBody>
      </p:sp>
      <p:sp>
        <p:nvSpPr>
          <p:cNvPr id="3" name="Tijdelijke aanduiding voor datum 2"/>
          <p:cNvSpPr>
            <a:spLocks noGrp="1" noSelect="1"/>
          </p:cNvSpPr>
          <p:nvPr>
            <p:ph type="dt" sz="half" idx="10"/>
          </p:nvPr>
        </p:nvSpPr>
        <p:spPr bwMode="gray"/>
        <p:txBody>
          <a:bodyPr/>
          <a:lstStyle/>
          <a:p>
            <a:endParaRPr lang="nl-NL" dirty="0"/>
          </a:p>
        </p:txBody>
      </p:sp>
      <p:sp>
        <p:nvSpPr>
          <p:cNvPr id="4" name="Tijdelijke aanduiding voor voettekst 3"/>
          <p:cNvSpPr>
            <a:spLocks noGrp="1" noSelect="1"/>
          </p:cNvSpPr>
          <p:nvPr>
            <p:ph type="ftr" sz="quarter" idx="11"/>
          </p:nvPr>
        </p:nvSpPr>
        <p:spPr bwMode="gray"/>
        <p:txBody>
          <a:bodyPr/>
          <a:lstStyle/>
          <a:p>
            <a:r>
              <a:rPr lang="nl-NL"/>
              <a:t>Informatiebijeenkomst 26 juli 2021 Europese Aanbesteding SVWI</a:t>
            </a:r>
            <a:endParaRPr lang="nl-NL" dirty="0"/>
          </a:p>
        </p:txBody>
      </p:sp>
      <p:sp>
        <p:nvSpPr>
          <p:cNvPr id="5" name="Tijdelijke aanduiding voor dianummer 4"/>
          <p:cNvSpPr>
            <a:spLocks noGrp="1" noSelect="1"/>
          </p:cNvSpPr>
          <p:nvPr>
            <p:ph type="sldNum" sz="quarter" idx="12"/>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166951865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blank" preserve="1">
  <p:cSld name="Leeg met logo">
    <p:spTree>
      <p:nvGrpSpPr>
        <p:cNvPr id="1" name=""/>
        <p:cNvGrpSpPr/>
        <p:nvPr/>
      </p:nvGrpSpPr>
      <p:grpSpPr>
        <a:xfrm>
          <a:off x="0" y="0"/>
          <a:ext cx="0" cy="0"/>
          <a:chOff x="0" y="0"/>
          <a:chExt cx="0" cy="0"/>
        </a:xfrm>
      </p:grpSpPr>
      <p:sp>
        <p:nvSpPr>
          <p:cNvPr id="2" name="Tijdelijke aanduiding voor datum 1"/>
          <p:cNvSpPr>
            <a:spLocks noGrp="1" noSelect="1"/>
          </p:cNvSpPr>
          <p:nvPr>
            <p:ph type="dt" sz="half" idx="10"/>
          </p:nvPr>
        </p:nvSpPr>
        <p:spPr bwMode="gray"/>
        <p:txBody>
          <a:bodyPr/>
          <a:lstStyle/>
          <a:p>
            <a:endParaRPr lang="nl-NL" dirty="0"/>
          </a:p>
        </p:txBody>
      </p:sp>
      <p:sp>
        <p:nvSpPr>
          <p:cNvPr id="3" name="Tijdelijke aanduiding voor voettekst 2"/>
          <p:cNvSpPr>
            <a:spLocks noGrp="1" noSelect="1"/>
          </p:cNvSpPr>
          <p:nvPr>
            <p:ph type="ftr" sz="quarter" idx="11"/>
          </p:nvPr>
        </p:nvSpPr>
        <p:spPr bwMode="gray"/>
        <p:txBody>
          <a:bodyPr/>
          <a:lstStyle/>
          <a:p>
            <a:r>
              <a:rPr lang="nl-NL"/>
              <a:t>Informatiebijeenkomst 26 juli 2021 Europese Aanbesteding SVWI</a:t>
            </a:r>
            <a:endParaRPr lang="nl-NL" dirty="0"/>
          </a:p>
        </p:txBody>
      </p:sp>
      <p:sp>
        <p:nvSpPr>
          <p:cNvPr id="4" name="Tijdelijke aanduiding voor dianummer 3"/>
          <p:cNvSpPr>
            <a:spLocks noGrp="1" noSelect="1"/>
          </p:cNvSpPr>
          <p:nvPr>
            <p:ph type="sldNum" sz="quarter" idx="12"/>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251248688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type="blank" preserve="1">
  <p:cSld name="Leeg">
    <p:spTree>
      <p:nvGrpSpPr>
        <p:cNvPr id="1" name=""/>
        <p:cNvGrpSpPr/>
        <p:nvPr/>
      </p:nvGrpSpPr>
      <p:grpSpPr>
        <a:xfrm>
          <a:off x="0" y="0"/>
          <a:ext cx="0" cy="0"/>
          <a:chOff x="0" y="0"/>
          <a:chExt cx="0" cy="0"/>
        </a:xfrm>
      </p:grpSpPr>
      <p:sp>
        <p:nvSpPr>
          <p:cNvPr id="2" name="Tijdelijke aanduiding voor datum 1"/>
          <p:cNvSpPr>
            <a:spLocks noGrp="1" noSelect="1"/>
          </p:cNvSpPr>
          <p:nvPr>
            <p:ph type="dt" sz="half" idx="10"/>
          </p:nvPr>
        </p:nvSpPr>
        <p:spPr bwMode="gray"/>
        <p:txBody>
          <a:bodyPr/>
          <a:lstStyle/>
          <a:p>
            <a:endParaRPr lang="nl-NL" dirty="0"/>
          </a:p>
        </p:txBody>
      </p:sp>
      <p:sp>
        <p:nvSpPr>
          <p:cNvPr id="3" name="Tijdelijke aanduiding voor voettekst 2"/>
          <p:cNvSpPr>
            <a:spLocks noGrp="1" noSelect="1"/>
          </p:cNvSpPr>
          <p:nvPr>
            <p:ph type="ftr" sz="quarter" idx="11"/>
          </p:nvPr>
        </p:nvSpPr>
        <p:spPr bwMode="gray"/>
        <p:txBody>
          <a:bodyPr/>
          <a:lstStyle/>
          <a:p>
            <a:r>
              <a:rPr lang="nl-NL"/>
              <a:t>Informatiebijeenkomst 26 juli 2021 Europese Aanbesteding SVWI</a:t>
            </a:r>
            <a:endParaRPr lang="nl-NL" dirty="0"/>
          </a:p>
        </p:txBody>
      </p:sp>
      <p:sp>
        <p:nvSpPr>
          <p:cNvPr id="4" name="Tijdelijke aanduiding voor dianummer 3"/>
          <p:cNvSpPr>
            <a:spLocks noGrp="1" noSelect="1"/>
          </p:cNvSpPr>
          <p:nvPr>
            <p:ph type="sldNum" sz="quarter" idx="12"/>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170477062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Aangepaste indeling">
    <p:spTree>
      <p:nvGrpSpPr>
        <p:cNvPr id="1" name=""/>
        <p:cNvGrpSpPr/>
        <p:nvPr/>
      </p:nvGrpSpPr>
      <p:grpSpPr>
        <a:xfrm>
          <a:off x="0" y="0"/>
          <a:ext cx="0" cy="0"/>
          <a:chOff x="0" y="0"/>
          <a:chExt cx="0" cy="0"/>
        </a:xfrm>
      </p:grpSpPr>
      <p:sp>
        <p:nvSpPr>
          <p:cNvPr id="5" name="Tijdelijke aanduiding voor inhoud 2"/>
          <p:cNvSpPr>
            <a:spLocks noGrp="1"/>
          </p:cNvSpPr>
          <p:nvPr>
            <p:ph idx="1"/>
          </p:nvPr>
        </p:nvSpPr>
        <p:spPr>
          <a:xfrm>
            <a:off x="1007539" y="2060577"/>
            <a:ext cx="10657417" cy="4084637"/>
          </a:xfrm>
        </p:spPr>
        <p:txBody>
          <a:bodyPr/>
          <a:lstStyle>
            <a:lvl3pPr marL="471476" indent="-135728">
              <a:defRPr/>
            </a:lvl3pPr>
            <a:lvl4pPr marL="471476" indent="0">
              <a:defRPr sz="1200" b="0"/>
            </a:lvl4pPr>
            <a:lvl5pPr marL="471476" indent="0">
              <a:defRPr sz="1050"/>
            </a:lvl5pPr>
          </a:lstStyle>
          <a:p>
            <a:pPr lvl="0"/>
            <a:r>
              <a:rPr lang="nl-NL" noProof="1"/>
              <a:t>Klik om de modelstijlen te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6" name="Titel 5"/>
          <p:cNvSpPr>
            <a:spLocks noGrp="1"/>
          </p:cNvSpPr>
          <p:nvPr>
            <p:ph type="title" hasCustomPrompt="1"/>
          </p:nvPr>
        </p:nvSpPr>
        <p:spPr>
          <a:xfrm>
            <a:off x="1007539" y="158757"/>
            <a:ext cx="10657417" cy="1470025"/>
          </a:xfrm>
        </p:spPr>
        <p:txBody>
          <a:bodyPr anchor="ctr"/>
          <a:lstStyle>
            <a:lvl1pPr>
              <a:defRPr/>
            </a:lvl1pPr>
          </a:lstStyle>
          <a:p>
            <a:r>
              <a:rPr lang="nl-NL"/>
              <a:t>Kop</a:t>
            </a:r>
          </a:p>
        </p:txBody>
      </p:sp>
      <p:sp>
        <p:nvSpPr>
          <p:cNvPr id="4" name="Tekstvak 3">
            <a:extLst>
              <a:ext uri="{FF2B5EF4-FFF2-40B4-BE49-F238E27FC236}">
                <a16:creationId xmlns:a16="http://schemas.microsoft.com/office/drawing/2014/main" id="{E2FCFCD1-3D04-B84A-AEC3-8E0AF11C161F}"/>
              </a:ext>
            </a:extLst>
          </p:cNvPr>
          <p:cNvSpPr txBox="1"/>
          <p:nvPr userDrawn="1"/>
        </p:nvSpPr>
        <p:spPr>
          <a:xfrm>
            <a:off x="11487838" y="6627168"/>
            <a:ext cx="729071" cy="196208"/>
          </a:xfrm>
          <a:prstGeom prst="rect">
            <a:avLst/>
          </a:prstGeom>
          <a:noFill/>
        </p:spPr>
        <p:txBody>
          <a:bodyPr wrap="square" rtlCol="0">
            <a:spAutoFit/>
          </a:bodyPr>
          <a:lstStyle/>
          <a:p>
            <a:pPr algn="ctr"/>
            <a:fld id="{A9180189-B802-467E-8FBA-406262D99975}" type="slidenum">
              <a:rPr lang="en-US" sz="675" smtClean="0">
                <a:solidFill>
                  <a:srgbClr val="6E6C66"/>
                </a:solidFill>
                <a:latin typeface="Roboto Light" panose="02000000000000000000" pitchFamily="2" charset="0"/>
                <a:ea typeface="Roboto Light" panose="02000000000000000000" pitchFamily="2" charset="0"/>
              </a:rPr>
              <a:pPr algn="ctr"/>
              <a:t>‹nr.›</a:t>
            </a:fld>
            <a:endParaRPr lang="en-GB" sz="675">
              <a:solidFill>
                <a:schemeClr val="bg1"/>
              </a:solidFill>
              <a:latin typeface="Roboto Light" panose="02000000000000000000" pitchFamily="2" charset="0"/>
              <a:ea typeface="Roboto Light" panose="02000000000000000000" pitchFamily="2" charset="0"/>
            </a:endParaRPr>
          </a:p>
        </p:txBody>
      </p:sp>
    </p:spTree>
    <p:extLst>
      <p:ext uri="{BB962C8B-B14F-4D97-AF65-F5344CB8AC3E}">
        <p14:creationId xmlns:p14="http://schemas.microsoft.com/office/powerpoint/2010/main" val="193732500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Box (3) Charts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2"/>
            <a:ext cx="3516683"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2"/>
            <a:ext cx="3516683"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5" y="1943102"/>
            <a:ext cx="3516683"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9"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hasCustomPrompt="1"/>
          </p:nvPr>
        </p:nvSpPr>
        <p:spPr>
          <a:xfrm>
            <a:off x="666751" y="1611881"/>
            <a:ext cx="3516680"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hasCustomPrompt="1"/>
          </p:nvPr>
        </p:nvSpPr>
        <p:spPr>
          <a:xfrm>
            <a:off x="4337660" y="1611881"/>
            <a:ext cx="3516680" cy="247650"/>
          </a:xfrm>
        </p:spPr>
        <p:txBody>
          <a:bodyPr/>
          <a:lstStyle>
            <a:lvl1pPr>
              <a:defRPr b="1"/>
            </a:lvl1pPr>
          </a:lstStyle>
          <a:p>
            <a:pPr lvl="0"/>
            <a:r>
              <a:rPr lang="nl-NL" noProof="0"/>
              <a:t>Klik om kop toe te voegen</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hasCustomPrompt="1"/>
          </p:nvPr>
        </p:nvSpPr>
        <p:spPr>
          <a:xfrm>
            <a:off x="8022067" y="1611881"/>
            <a:ext cx="3516680" cy="247650"/>
          </a:xfrm>
        </p:spPr>
        <p:txBody>
          <a:bodyPr/>
          <a:lstStyle>
            <a:lvl1pPr>
              <a:defRPr b="1"/>
            </a:lvl1pPr>
          </a:lstStyle>
          <a:p>
            <a:pPr lvl="0"/>
            <a:r>
              <a:rPr lang="nl-NL" noProof="0"/>
              <a:t>Klik om kop toe te voegen</a:t>
            </a:r>
          </a:p>
        </p:txBody>
      </p:sp>
      <p:sp>
        <p:nvSpPr>
          <p:cNvPr id="11" name="Text Placeholder 8">
            <a:extLst>
              <a:ext uri="{FF2B5EF4-FFF2-40B4-BE49-F238E27FC236}">
                <a16:creationId xmlns:a16="http://schemas.microsoft.com/office/drawing/2014/main" id="{56D51069-A0EF-4ED9-AFB6-7C5FA0BAD0A7}"/>
              </a:ext>
            </a:extLst>
          </p:cNvPr>
          <p:cNvSpPr>
            <a:spLocks noGrp="1"/>
          </p:cNvSpPr>
          <p:nvPr>
            <p:ph type="body" sz="quarter" idx="14" hasCustomPrompt="1"/>
          </p:nvPr>
        </p:nvSpPr>
        <p:spPr>
          <a:xfrm>
            <a:off x="666751" y="1228725"/>
            <a:ext cx="10872000" cy="247650"/>
          </a:xfrm>
        </p:spPr>
        <p:txBody>
          <a:bodyPr/>
          <a:lstStyle>
            <a:lvl1pPr>
              <a:defRPr/>
            </a:lvl1pPr>
          </a:lstStyle>
          <a:p>
            <a:pPr lvl="0"/>
            <a:r>
              <a:rPr lang="nl-NL" noProof="0"/>
              <a:t>Klik om subtitel in te voegen</a:t>
            </a:r>
          </a:p>
        </p:txBody>
      </p:sp>
    </p:spTree>
    <p:extLst>
      <p:ext uri="{BB962C8B-B14F-4D97-AF65-F5344CB8AC3E}">
        <p14:creationId xmlns:p14="http://schemas.microsoft.com/office/powerpoint/2010/main" val="68472794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Box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9" y="1592263"/>
            <a:ext cx="5332401" cy="4716462"/>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9" y="1592263"/>
            <a:ext cx="5332401" cy="4716462"/>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hasCustomPrompt="1"/>
          </p:nvPr>
        </p:nvSpPr>
        <p:spPr>
          <a:xfrm>
            <a:off x="666749" y="266699"/>
            <a:ext cx="10866441" cy="930276"/>
          </a:xfrm>
          <a:prstGeom prst="rect">
            <a:avLst/>
          </a:prstGeom>
        </p:spPr>
        <p:txBody>
          <a:bodyPr vert="horz" lIns="91440" tIns="45720" rIns="91440" bIns="45720" rtlCol="0" anchor="b">
            <a:noAutofit/>
          </a:bodyPr>
          <a:lstStyle>
            <a:lvl1pPr>
              <a:defRPr/>
            </a:lvl1pPr>
          </a:lstStyle>
          <a:p>
            <a:r>
              <a:rPr lang="nl-NL" noProof="0" dirty="0"/>
              <a:t>Klik om titel in te voegen</a:t>
            </a:r>
          </a:p>
        </p:txBody>
      </p:sp>
    </p:spTree>
    <p:extLst>
      <p:ext uri="{BB962C8B-B14F-4D97-AF65-F5344CB8AC3E}">
        <p14:creationId xmlns:p14="http://schemas.microsoft.com/office/powerpoint/2010/main" val="40080412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 (6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endParaRPr lang="nl-NL" noProof="0"/>
          </a:p>
        </p:txBody>
      </p:sp>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endParaRPr lang="nl-NL" noProof="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endParaRPr lang="nl-NL" noProof="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endParaRPr lang="nl-NL" noProof="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endParaRPr lang="nl-NL" noProof="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endParaRPr lang="nl-NL" noProof="0"/>
          </a:p>
        </p:txBody>
      </p:sp>
    </p:spTree>
    <p:extLst>
      <p:ext uri="{BB962C8B-B14F-4D97-AF65-F5344CB8AC3E}">
        <p14:creationId xmlns:p14="http://schemas.microsoft.com/office/powerpoint/2010/main" val="2131367482"/>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Box (1)">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hasCustomPrompt="1"/>
          </p:nvPr>
        </p:nvSpPr>
        <p:spPr>
          <a:xfrm>
            <a:off x="666751" y="1228725"/>
            <a:ext cx="10872000" cy="247650"/>
          </a:xfrm>
        </p:spPr>
        <p:txBody>
          <a:bodyPr/>
          <a:lstStyle>
            <a:lvl1pPr>
              <a:defRPr/>
            </a:lvl1pPr>
          </a:lstStyle>
          <a:p>
            <a:pPr lvl="0"/>
            <a:r>
              <a:rPr lang="nl-NL" noProof="0" dirty="0"/>
              <a:t>Klik om subtitel in te voegen</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8" y="1592263"/>
            <a:ext cx="10866440" cy="4716461"/>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hasCustomPrompt="1"/>
          </p:nvPr>
        </p:nvSpPr>
        <p:spPr>
          <a:xfrm>
            <a:off x="666749" y="266699"/>
            <a:ext cx="10866441" cy="930276"/>
          </a:xfrm>
          <a:prstGeom prst="rect">
            <a:avLst/>
          </a:prstGeom>
        </p:spPr>
        <p:txBody>
          <a:bodyPr vert="horz" lIns="91440" tIns="45720" rIns="91440" bIns="45720" rtlCol="0" anchor="b">
            <a:noAutofit/>
          </a:bodyPr>
          <a:lstStyle>
            <a:lvl1pPr>
              <a:defRPr/>
            </a:lvl1pPr>
          </a:lstStyle>
          <a:p>
            <a:r>
              <a:rPr lang="nl-NL" noProof="0" dirty="0"/>
              <a:t>Klik om titel in te voegen</a:t>
            </a:r>
          </a:p>
        </p:txBody>
      </p:sp>
    </p:spTree>
    <p:extLst>
      <p:ext uri="{BB962C8B-B14F-4D97-AF65-F5344CB8AC3E}">
        <p14:creationId xmlns:p14="http://schemas.microsoft.com/office/powerpoint/2010/main" val="271078391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Box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8"/>
            <a:ext cx="3516683"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8"/>
            <a:ext cx="3516683"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5" y="1610438"/>
            <a:ext cx="3516683"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9"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67820045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27911181"/>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EA23475-9EC2-4C0C-BE62-D93FA15DA2B5}"/>
              </a:ext>
            </a:extLst>
          </p:cNvPr>
          <p:cNvSpPr/>
          <p:nvPr userDrawn="1">
            <p:custDataLst>
              <p:tags r:id="rId2"/>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nl-NL" sz="5510"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45" name="Rectangle 44">
            <a:extLst>
              <a:ext uri="{FF2B5EF4-FFF2-40B4-BE49-F238E27FC236}">
                <a16:creationId xmlns:a16="http://schemas.microsoft.com/office/drawing/2014/main" id="{E81A223E-4F63-48C8-B290-576BBFF2BC0E}"/>
              </a:ext>
            </a:extLst>
          </p:cNvPr>
          <p:cNvSpPr>
            <a:spLocks/>
          </p:cNvSpPr>
          <p:nvPr userDrawn="1"/>
        </p:nvSpPr>
        <p:spPr bwMode="ltGray">
          <a:xfrm>
            <a:off x="1" y="1"/>
            <a:ext cx="892515"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rtl="0"/>
            <a:endParaRPr lang="nl-NL" sz="1837" dirty="0">
              <a:solidFill>
                <a:schemeClr val="tx1"/>
              </a:solidFill>
            </a:endParaRPr>
          </a:p>
        </p:txBody>
      </p:sp>
      <p:sp>
        <p:nvSpPr>
          <p:cNvPr id="9" name="Document type" hidden="1"/>
          <p:cNvSpPr txBox="1">
            <a:spLocks noChangeArrowheads="1"/>
          </p:cNvSpPr>
          <p:nvPr/>
        </p:nvSpPr>
        <p:spPr bwMode="ltGray">
          <a:xfrm>
            <a:off x="1018834" y="5844155"/>
            <a:ext cx="10080491"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rtl="0" eaLnBrk="1" hangingPunct="1">
              <a:defRPr/>
            </a:pPr>
            <a:r>
              <a:rPr lang="nl-NL" sz="1428" baseline="0" noProof="0" dirty="0">
                <a:solidFill>
                  <a:schemeClr val="bg1"/>
                </a:solidFill>
                <a:latin typeface="+mn-lt"/>
              </a:rPr>
              <a:t>Documenttype</a:t>
            </a:r>
          </a:p>
        </p:txBody>
      </p:sp>
      <p:sp>
        <p:nvSpPr>
          <p:cNvPr id="10" name="Date" hidden="1"/>
          <p:cNvSpPr txBox="1">
            <a:spLocks noChangeArrowheads="1"/>
          </p:cNvSpPr>
          <p:nvPr/>
        </p:nvSpPr>
        <p:spPr bwMode="ltGray">
          <a:xfrm>
            <a:off x="1018834" y="6117893"/>
            <a:ext cx="10080491"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rtl="0" eaLnBrk="1" hangingPunct="1">
              <a:defRPr/>
            </a:pPr>
            <a:r>
              <a:rPr lang="nl-NL" sz="1428" baseline="0" noProof="0" dirty="0">
                <a:solidFill>
                  <a:schemeClr val="bg1"/>
                </a:solidFill>
                <a:latin typeface="+mn-lt"/>
              </a:rPr>
              <a:t>Datum</a:t>
            </a:r>
          </a:p>
        </p:txBody>
      </p:sp>
      <p:sp>
        <p:nvSpPr>
          <p:cNvPr id="13314" name="Rectangle 1026"/>
          <p:cNvSpPr>
            <a:spLocks noGrp="1" noChangeArrowheads="1"/>
          </p:cNvSpPr>
          <p:nvPr>
            <p:ph type="ctrTitle"/>
          </p:nvPr>
        </p:nvSpPr>
        <p:spPr bwMode="ltGray">
          <a:xfrm>
            <a:off x="1018834" y="2605299"/>
            <a:ext cx="10080491" cy="847876"/>
          </a:xfrm>
          <a:prstGeom prst="rect">
            <a:avLst/>
          </a:prstGeom>
        </p:spPr>
        <p:txBody>
          <a:bodyPr vert="horz" wrap="square" anchor="b">
            <a:spAutoFit/>
          </a:bodyPr>
          <a:lstStyle>
            <a:lvl1pPr rtl="0">
              <a:defRPr sz="5510" b="1" kern="1200" baseline="0">
                <a:solidFill>
                  <a:schemeClr val="bg1"/>
                </a:solidFill>
                <a:latin typeface="+mj-lt"/>
                <a:ea typeface="+mj-ea"/>
              </a:defRPr>
            </a:lvl1pPr>
          </a:lstStyle>
          <a:p>
            <a:pPr lvl="0"/>
            <a:r>
              <a:rPr lang="nl-NL" noProof="0" dirty="0"/>
              <a:t>Click to edit Master title style</a:t>
            </a:r>
          </a:p>
        </p:txBody>
      </p:sp>
      <p:sp>
        <p:nvSpPr>
          <p:cNvPr id="13315" name="Rectangle 1027"/>
          <p:cNvSpPr>
            <a:spLocks noGrp="1" noChangeArrowheads="1"/>
          </p:cNvSpPr>
          <p:nvPr>
            <p:ph type="subTitle" idx="1"/>
          </p:nvPr>
        </p:nvSpPr>
        <p:spPr bwMode="ltGray">
          <a:xfrm>
            <a:off x="1018834" y="3600693"/>
            <a:ext cx="10080491" cy="533848"/>
          </a:xfrm>
        </p:spPr>
        <p:txBody>
          <a:bodyPr wrap="square">
            <a:noAutofit/>
          </a:bodyPr>
          <a:lstStyle>
            <a:lvl1pPr rtl="0">
              <a:defRPr sz="3469" baseline="0">
                <a:solidFill>
                  <a:schemeClr val="bg1"/>
                </a:solidFill>
                <a:latin typeface="+mj-lt"/>
                <a:ea typeface="+mj-ea"/>
              </a:defRPr>
            </a:lvl1pPr>
          </a:lstStyle>
          <a:p>
            <a:pPr lvl="0"/>
            <a:r>
              <a:rPr lang="nl-NL" noProof="0" dirty="0"/>
              <a:t>Click to edit Master subtitle style</a:t>
            </a:r>
          </a:p>
        </p:txBody>
      </p:sp>
      <p:grpSp>
        <p:nvGrpSpPr>
          <p:cNvPr id="43" name="Group 42">
            <a:extLst>
              <a:ext uri="{FF2B5EF4-FFF2-40B4-BE49-F238E27FC236}">
                <a16:creationId xmlns:a16="http://schemas.microsoft.com/office/drawing/2014/main" id="{3DA9FF67-0D51-4D87-B84D-DE1262962156}"/>
              </a:ext>
            </a:extLst>
          </p:cNvPr>
          <p:cNvGrpSpPr/>
          <p:nvPr userDrawn="1"/>
        </p:nvGrpSpPr>
        <p:grpSpPr bwMode="ltGray">
          <a:xfrm>
            <a:off x="1018835" y="127961"/>
            <a:ext cx="1731533" cy="579869"/>
            <a:chOff x="998538" y="125413"/>
            <a:chExt cx="1697038" cy="568325"/>
          </a:xfrm>
        </p:grpSpPr>
        <p:sp>
          <p:nvSpPr>
            <p:cNvPr id="19" name="Freeform 45">
              <a:extLst>
                <a:ext uri="{FF2B5EF4-FFF2-40B4-BE49-F238E27FC236}">
                  <a16:creationId xmlns:a16="http://schemas.microsoft.com/office/drawing/2014/main" id="{3594579E-4C97-4E6E-B5D9-2035222C075C}"/>
                </a:ext>
              </a:extLst>
            </p:cNvPr>
            <p:cNvSpPr>
              <a:spLocks/>
            </p:cNvSpPr>
            <p:nvPr userDrawn="1"/>
          </p:nvSpPr>
          <p:spPr bwMode="ltGray">
            <a:xfrm>
              <a:off x="1011238" y="125413"/>
              <a:ext cx="211138" cy="236538"/>
            </a:xfrm>
            <a:custGeom>
              <a:avLst/>
              <a:gdLst>
                <a:gd name="T0" fmla="*/ 1125 w 1125"/>
                <a:gd name="T1" fmla="*/ 1148 h 1267"/>
                <a:gd name="T2" fmla="*/ 631 w 1125"/>
                <a:gd name="T3" fmla="*/ 1267 h 1267"/>
                <a:gd name="T4" fmla="*/ 0 w 1125"/>
                <a:gd name="T5" fmla="*/ 639 h 1267"/>
                <a:gd name="T6" fmla="*/ 631 w 1125"/>
                <a:gd name="T7" fmla="*/ 0 h 1267"/>
                <a:gd name="T8" fmla="*/ 1102 w 1125"/>
                <a:gd name="T9" fmla="*/ 152 h 1267"/>
                <a:gd name="T10" fmla="*/ 945 w 1125"/>
                <a:gd name="T11" fmla="*/ 312 h 1267"/>
                <a:gd name="T12" fmla="*/ 633 w 1125"/>
                <a:gd name="T13" fmla="*/ 194 h 1267"/>
                <a:gd name="T14" fmla="*/ 223 w 1125"/>
                <a:gd name="T15" fmla="*/ 625 h 1267"/>
                <a:gd name="T16" fmla="*/ 633 w 1125"/>
                <a:gd name="T17" fmla="*/ 1073 h 1267"/>
                <a:gd name="T18" fmla="*/ 913 w 1125"/>
                <a:gd name="T19" fmla="*/ 1010 h 1267"/>
                <a:gd name="T20" fmla="*/ 913 w 1125"/>
                <a:gd name="T21" fmla="*/ 726 h 1267"/>
                <a:gd name="T22" fmla="*/ 669 w 1125"/>
                <a:gd name="T23" fmla="*/ 726 h 1267"/>
                <a:gd name="T24" fmla="*/ 669 w 1125"/>
                <a:gd name="T25" fmla="*/ 532 h 1267"/>
                <a:gd name="T26" fmla="*/ 1125 w 1125"/>
                <a:gd name="T27" fmla="*/ 532 h 1267"/>
                <a:gd name="T28" fmla="*/ 1125 w 1125"/>
                <a:gd name="T29" fmla="*/ 1148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5" h="1267">
                  <a:moveTo>
                    <a:pt x="1125" y="1148"/>
                  </a:moveTo>
                  <a:cubicBezTo>
                    <a:pt x="981" y="1227"/>
                    <a:pt x="815" y="1267"/>
                    <a:pt x="631" y="1267"/>
                  </a:cubicBezTo>
                  <a:cubicBezTo>
                    <a:pt x="263" y="1267"/>
                    <a:pt x="0" y="1015"/>
                    <a:pt x="0" y="639"/>
                  </a:cubicBezTo>
                  <a:cubicBezTo>
                    <a:pt x="0" y="252"/>
                    <a:pt x="263" y="0"/>
                    <a:pt x="631" y="0"/>
                  </a:cubicBezTo>
                  <a:cubicBezTo>
                    <a:pt x="813" y="0"/>
                    <a:pt x="977" y="39"/>
                    <a:pt x="1102" y="152"/>
                  </a:cubicBezTo>
                  <a:cubicBezTo>
                    <a:pt x="945" y="312"/>
                    <a:pt x="945" y="312"/>
                    <a:pt x="945" y="312"/>
                  </a:cubicBezTo>
                  <a:cubicBezTo>
                    <a:pt x="869" y="237"/>
                    <a:pt x="752" y="194"/>
                    <a:pt x="633" y="194"/>
                  </a:cubicBezTo>
                  <a:cubicBezTo>
                    <a:pt x="387" y="194"/>
                    <a:pt x="223" y="385"/>
                    <a:pt x="223" y="625"/>
                  </a:cubicBezTo>
                  <a:cubicBezTo>
                    <a:pt x="223" y="882"/>
                    <a:pt x="387" y="1073"/>
                    <a:pt x="633" y="1073"/>
                  </a:cubicBezTo>
                  <a:cubicBezTo>
                    <a:pt x="741" y="1073"/>
                    <a:pt x="839" y="1053"/>
                    <a:pt x="913" y="1010"/>
                  </a:cubicBezTo>
                  <a:cubicBezTo>
                    <a:pt x="913" y="726"/>
                    <a:pt x="913" y="726"/>
                    <a:pt x="913" y="726"/>
                  </a:cubicBezTo>
                  <a:cubicBezTo>
                    <a:pt x="669" y="726"/>
                    <a:pt x="669" y="726"/>
                    <a:pt x="669" y="726"/>
                  </a:cubicBezTo>
                  <a:cubicBezTo>
                    <a:pt x="669" y="532"/>
                    <a:pt x="669" y="532"/>
                    <a:pt x="669" y="532"/>
                  </a:cubicBezTo>
                  <a:cubicBezTo>
                    <a:pt x="1125" y="532"/>
                    <a:pt x="1125" y="532"/>
                    <a:pt x="1125" y="532"/>
                  </a:cubicBezTo>
                  <a:lnTo>
                    <a:pt x="1125" y="114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sp>
          <p:nvSpPr>
            <p:cNvPr id="20" name="Freeform 46">
              <a:extLst>
                <a:ext uri="{FF2B5EF4-FFF2-40B4-BE49-F238E27FC236}">
                  <a16:creationId xmlns:a16="http://schemas.microsoft.com/office/drawing/2014/main" id="{F032D30D-15CF-4E12-8402-F1C574D25FE7}"/>
                </a:ext>
              </a:extLst>
            </p:cNvPr>
            <p:cNvSpPr>
              <a:spLocks noEditPoints="1"/>
            </p:cNvSpPr>
            <p:nvPr userDrawn="1"/>
          </p:nvSpPr>
          <p:spPr bwMode="ltGray">
            <a:xfrm>
              <a:off x="1258888" y="200025"/>
              <a:ext cx="155575" cy="160338"/>
            </a:xfrm>
            <a:custGeom>
              <a:avLst/>
              <a:gdLst>
                <a:gd name="T0" fmla="*/ 204 w 825"/>
                <a:gd name="T1" fmla="*/ 501 h 858"/>
                <a:gd name="T2" fmla="*/ 423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4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08" y="695"/>
                    <a:pt x="423"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8"/>
                    <a:pt x="542" y="153"/>
                    <a:pt x="414" y="153"/>
                  </a:cubicBezTo>
                  <a:cubicBezTo>
                    <a:pt x="293"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sp>
          <p:nvSpPr>
            <p:cNvPr id="21" name="Freeform 47">
              <a:extLst>
                <a:ext uri="{FF2B5EF4-FFF2-40B4-BE49-F238E27FC236}">
                  <a16:creationId xmlns:a16="http://schemas.microsoft.com/office/drawing/2014/main" id="{62181A78-9679-473A-A970-452B7964DC86}"/>
                </a:ext>
              </a:extLst>
            </p:cNvPr>
            <p:cNvSpPr>
              <a:spLocks/>
            </p:cNvSpPr>
            <p:nvPr userDrawn="1"/>
          </p:nvSpPr>
          <p:spPr bwMode="ltGray">
            <a:xfrm>
              <a:off x="1447800" y="200025"/>
              <a:ext cx="236538" cy="155575"/>
            </a:xfrm>
            <a:custGeom>
              <a:avLst/>
              <a:gdLst>
                <a:gd name="T0" fmla="*/ 0 w 1259"/>
                <a:gd name="T1" fmla="*/ 20 h 833"/>
                <a:gd name="T2" fmla="*/ 193 w 1259"/>
                <a:gd name="T3" fmla="*/ 20 h 833"/>
                <a:gd name="T4" fmla="*/ 193 w 1259"/>
                <a:gd name="T5" fmla="*/ 148 h 833"/>
                <a:gd name="T6" fmla="*/ 197 w 1259"/>
                <a:gd name="T7" fmla="*/ 148 h 833"/>
                <a:gd name="T8" fmla="*/ 445 w 1259"/>
                <a:gd name="T9" fmla="*/ 0 h 833"/>
                <a:gd name="T10" fmla="*/ 699 w 1259"/>
                <a:gd name="T11" fmla="*/ 151 h 833"/>
                <a:gd name="T12" fmla="*/ 966 w 1259"/>
                <a:gd name="T13" fmla="*/ 0 h 833"/>
                <a:gd name="T14" fmla="*/ 1259 w 1259"/>
                <a:gd name="T15" fmla="*/ 349 h 833"/>
                <a:gd name="T16" fmla="*/ 1259 w 1259"/>
                <a:gd name="T17" fmla="*/ 833 h 833"/>
                <a:gd name="T18" fmla="*/ 1056 w 1259"/>
                <a:gd name="T19" fmla="*/ 833 h 833"/>
                <a:gd name="T20" fmla="*/ 1056 w 1259"/>
                <a:gd name="T21" fmla="*/ 372 h 833"/>
                <a:gd name="T22" fmla="*/ 905 w 1259"/>
                <a:gd name="T23" fmla="*/ 183 h 833"/>
                <a:gd name="T24" fmla="*/ 731 w 1259"/>
                <a:gd name="T25" fmla="*/ 393 h 833"/>
                <a:gd name="T26" fmla="*/ 731 w 1259"/>
                <a:gd name="T27" fmla="*/ 833 h 833"/>
                <a:gd name="T28" fmla="*/ 528 w 1259"/>
                <a:gd name="T29" fmla="*/ 833 h 833"/>
                <a:gd name="T30" fmla="*/ 528 w 1259"/>
                <a:gd name="T31" fmla="*/ 349 h 833"/>
                <a:gd name="T32" fmla="*/ 389 w 1259"/>
                <a:gd name="T33" fmla="*/ 183 h 833"/>
                <a:gd name="T34" fmla="*/ 204 w 1259"/>
                <a:gd name="T35" fmla="*/ 390 h 833"/>
                <a:gd name="T36" fmla="*/ 204 w 1259"/>
                <a:gd name="T37" fmla="*/ 833 h 833"/>
                <a:gd name="T38" fmla="*/ 0 w 1259"/>
                <a:gd name="T39" fmla="*/ 833 h 833"/>
                <a:gd name="T40" fmla="*/ 0 w 1259"/>
                <a:gd name="T41" fmla="*/ 2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9" h="833">
                  <a:moveTo>
                    <a:pt x="0" y="20"/>
                  </a:moveTo>
                  <a:cubicBezTo>
                    <a:pt x="193" y="20"/>
                    <a:pt x="193" y="20"/>
                    <a:pt x="193" y="20"/>
                  </a:cubicBezTo>
                  <a:cubicBezTo>
                    <a:pt x="193" y="148"/>
                    <a:pt x="193" y="148"/>
                    <a:pt x="193" y="148"/>
                  </a:cubicBezTo>
                  <a:cubicBezTo>
                    <a:pt x="197" y="148"/>
                    <a:pt x="197" y="148"/>
                    <a:pt x="197" y="148"/>
                  </a:cubicBezTo>
                  <a:cubicBezTo>
                    <a:pt x="232" y="72"/>
                    <a:pt x="310" y="0"/>
                    <a:pt x="445" y="0"/>
                  </a:cubicBezTo>
                  <a:cubicBezTo>
                    <a:pt x="570" y="0"/>
                    <a:pt x="656" y="49"/>
                    <a:pt x="699" y="151"/>
                  </a:cubicBezTo>
                  <a:cubicBezTo>
                    <a:pt x="758" y="47"/>
                    <a:pt x="844" y="0"/>
                    <a:pt x="966" y="0"/>
                  </a:cubicBezTo>
                  <a:cubicBezTo>
                    <a:pt x="1183" y="0"/>
                    <a:pt x="1259" y="155"/>
                    <a:pt x="1259" y="349"/>
                  </a:cubicBezTo>
                  <a:cubicBezTo>
                    <a:pt x="1259" y="833"/>
                    <a:pt x="1259" y="833"/>
                    <a:pt x="1259" y="833"/>
                  </a:cubicBezTo>
                  <a:cubicBezTo>
                    <a:pt x="1056" y="833"/>
                    <a:pt x="1056" y="833"/>
                    <a:pt x="1056" y="833"/>
                  </a:cubicBezTo>
                  <a:cubicBezTo>
                    <a:pt x="1056" y="372"/>
                    <a:pt x="1056" y="372"/>
                    <a:pt x="1056" y="372"/>
                  </a:cubicBezTo>
                  <a:cubicBezTo>
                    <a:pt x="1056" y="271"/>
                    <a:pt x="1025" y="183"/>
                    <a:pt x="905" y="183"/>
                  </a:cubicBezTo>
                  <a:cubicBezTo>
                    <a:pt x="778" y="183"/>
                    <a:pt x="731" y="288"/>
                    <a:pt x="731" y="393"/>
                  </a:cubicBezTo>
                  <a:cubicBezTo>
                    <a:pt x="731" y="833"/>
                    <a:pt x="731" y="833"/>
                    <a:pt x="731" y="833"/>
                  </a:cubicBezTo>
                  <a:cubicBezTo>
                    <a:pt x="528" y="833"/>
                    <a:pt x="528" y="833"/>
                    <a:pt x="528" y="833"/>
                  </a:cubicBezTo>
                  <a:cubicBezTo>
                    <a:pt x="528" y="349"/>
                    <a:pt x="528" y="349"/>
                    <a:pt x="528" y="349"/>
                  </a:cubicBezTo>
                  <a:cubicBezTo>
                    <a:pt x="528" y="249"/>
                    <a:pt x="487" y="183"/>
                    <a:pt x="389" y="183"/>
                  </a:cubicBezTo>
                  <a:cubicBezTo>
                    <a:pt x="256" y="183"/>
                    <a:pt x="204" y="281"/>
                    <a:pt x="204" y="390"/>
                  </a:cubicBezTo>
                  <a:cubicBezTo>
                    <a:pt x="204" y="833"/>
                    <a:pt x="204" y="833"/>
                    <a:pt x="204" y="833"/>
                  </a:cubicBezTo>
                  <a:cubicBezTo>
                    <a:pt x="0" y="833"/>
                    <a:pt x="0" y="833"/>
                    <a:pt x="0" y="833"/>
                  </a:cubicBezTo>
                  <a:lnTo>
                    <a:pt x="0" y="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sp>
          <p:nvSpPr>
            <p:cNvPr id="22" name="Freeform 48">
              <a:extLst>
                <a:ext uri="{FF2B5EF4-FFF2-40B4-BE49-F238E27FC236}">
                  <a16:creationId xmlns:a16="http://schemas.microsoft.com/office/drawing/2014/main" id="{0C7F4442-2C2D-4A55-8C64-21A57A1756DF}"/>
                </a:ext>
              </a:extLst>
            </p:cNvPr>
            <p:cNvSpPr>
              <a:spLocks noEditPoints="1"/>
            </p:cNvSpPr>
            <p:nvPr userDrawn="1"/>
          </p:nvSpPr>
          <p:spPr bwMode="ltGray">
            <a:xfrm>
              <a:off x="1717675" y="200025"/>
              <a:ext cx="153988" cy="160338"/>
            </a:xfrm>
            <a:custGeom>
              <a:avLst/>
              <a:gdLst>
                <a:gd name="T0" fmla="*/ 204 w 825"/>
                <a:gd name="T1" fmla="*/ 501 h 858"/>
                <a:gd name="T2" fmla="*/ 423 w 825"/>
                <a:gd name="T3" fmla="*/ 695 h 858"/>
                <a:gd name="T4" fmla="*/ 642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5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10" y="695"/>
                    <a:pt x="423" y="695"/>
                  </a:cubicBezTo>
                  <a:cubicBezTo>
                    <a:pt x="525" y="695"/>
                    <a:pt x="591" y="647"/>
                    <a:pt x="642"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8"/>
                    <a:pt x="542" y="153"/>
                    <a:pt x="415" y="153"/>
                  </a:cubicBezTo>
                  <a:cubicBezTo>
                    <a:pt x="294"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sp>
          <p:nvSpPr>
            <p:cNvPr id="23" name="Freeform 49">
              <a:extLst>
                <a:ext uri="{FF2B5EF4-FFF2-40B4-BE49-F238E27FC236}">
                  <a16:creationId xmlns:a16="http://schemas.microsoft.com/office/drawing/2014/main" id="{E708E535-9F33-4B32-AF3A-89677DD5E41B}"/>
                </a:ext>
              </a:extLst>
            </p:cNvPr>
            <p:cNvSpPr>
              <a:spLocks noEditPoints="1"/>
            </p:cNvSpPr>
            <p:nvPr userDrawn="1"/>
          </p:nvSpPr>
          <p:spPr bwMode="ltGray">
            <a:xfrm>
              <a:off x="1900238" y="200025"/>
              <a:ext cx="153988" cy="160338"/>
            </a:xfrm>
            <a:custGeom>
              <a:avLst/>
              <a:gdLst>
                <a:gd name="T0" fmla="*/ 204 w 825"/>
                <a:gd name="T1" fmla="*/ 501 h 858"/>
                <a:gd name="T2" fmla="*/ 422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4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08" y="695"/>
                    <a:pt x="422"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19" y="228"/>
                    <a:pt x="542" y="153"/>
                    <a:pt x="414" y="153"/>
                  </a:cubicBezTo>
                  <a:cubicBezTo>
                    <a:pt x="293"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sp>
          <p:nvSpPr>
            <p:cNvPr id="24" name="Freeform 50">
              <a:extLst>
                <a:ext uri="{FF2B5EF4-FFF2-40B4-BE49-F238E27FC236}">
                  <a16:creationId xmlns:a16="http://schemas.microsoft.com/office/drawing/2014/main" id="{8850C9E0-7F66-4B6F-A5E3-B030EA899A8C}"/>
                </a:ext>
              </a:extLst>
            </p:cNvPr>
            <p:cNvSpPr>
              <a:spLocks/>
            </p:cNvSpPr>
            <p:nvPr userDrawn="1"/>
          </p:nvSpPr>
          <p:spPr bwMode="ltGray">
            <a:xfrm>
              <a:off x="2089150" y="200025"/>
              <a:ext cx="139700" cy="155575"/>
            </a:xfrm>
            <a:custGeom>
              <a:avLst/>
              <a:gdLst>
                <a:gd name="T0" fmla="*/ 0 w 750"/>
                <a:gd name="T1" fmla="*/ 20 h 833"/>
                <a:gd name="T2" fmla="*/ 195 w 750"/>
                <a:gd name="T3" fmla="*/ 20 h 833"/>
                <a:gd name="T4" fmla="*/ 195 w 750"/>
                <a:gd name="T5" fmla="*/ 151 h 833"/>
                <a:gd name="T6" fmla="*/ 199 w 750"/>
                <a:gd name="T7" fmla="*/ 151 h 833"/>
                <a:gd name="T8" fmla="*/ 450 w 750"/>
                <a:gd name="T9" fmla="*/ 0 h 833"/>
                <a:gd name="T10" fmla="*/ 750 w 750"/>
                <a:gd name="T11" fmla="*/ 320 h 833"/>
                <a:gd name="T12" fmla="*/ 750 w 750"/>
                <a:gd name="T13" fmla="*/ 833 h 833"/>
                <a:gd name="T14" fmla="*/ 545 w 750"/>
                <a:gd name="T15" fmla="*/ 833 h 833"/>
                <a:gd name="T16" fmla="*/ 545 w 750"/>
                <a:gd name="T17" fmla="*/ 421 h 833"/>
                <a:gd name="T18" fmla="*/ 394 w 750"/>
                <a:gd name="T19" fmla="*/ 183 h 833"/>
                <a:gd name="T20" fmla="*/ 206 w 750"/>
                <a:gd name="T21" fmla="*/ 390 h 833"/>
                <a:gd name="T22" fmla="*/ 206 w 750"/>
                <a:gd name="T23" fmla="*/ 833 h 833"/>
                <a:gd name="T24" fmla="*/ 0 w 750"/>
                <a:gd name="T25" fmla="*/ 833 h 833"/>
                <a:gd name="T26" fmla="*/ 0 w 750"/>
                <a:gd name="T27" fmla="*/ 2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0" h="833">
                  <a:moveTo>
                    <a:pt x="0" y="20"/>
                  </a:moveTo>
                  <a:cubicBezTo>
                    <a:pt x="195" y="20"/>
                    <a:pt x="195" y="20"/>
                    <a:pt x="195" y="20"/>
                  </a:cubicBezTo>
                  <a:cubicBezTo>
                    <a:pt x="195" y="151"/>
                    <a:pt x="195" y="151"/>
                    <a:pt x="195" y="151"/>
                  </a:cubicBezTo>
                  <a:cubicBezTo>
                    <a:pt x="199" y="151"/>
                    <a:pt x="199" y="151"/>
                    <a:pt x="199" y="151"/>
                  </a:cubicBezTo>
                  <a:cubicBezTo>
                    <a:pt x="237" y="69"/>
                    <a:pt x="313" y="0"/>
                    <a:pt x="450" y="0"/>
                  </a:cubicBezTo>
                  <a:cubicBezTo>
                    <a:pt x="671" y="0"/>
                    <a:pt x="750" y="155"/>
                    <a:pt x="750" y="320"/>
                  </a:cubicBezTo>
                  <a:cubicBezTo>
                    <a:pt x="750" y="833"/>
                    <a:pt x="750" y="833"/>
                    <a:pt x="750" y="833"/>
                  </a:cubicBezTo>
                  <a:cubicBezTo>
                    <a:pt x="545" y="833"/>
                    <a:pt x="545" y="833"/>
                    <a:pt x="545" y="833"/>
                  </a:cubicBezTo>
                  <a:cubicBezTo>
                    <a:pt x="545" y="421"/>
                    <a:pt x="545" y="421"/>
                    <a:pt x="545" y="421"/>
                  </a:cubicBezTo>
                  <a:cubicBezTo>
                    <a:pt x="545" y="333"/>
                    <a:pt x="538" y="183"/>
                    <a:pt x="394" y="183"/>
                  </a:cubicBezTo>
                  <a:cubicBezTo>
                    <a:pt x="259" y="183"/>
                    <a:pt x="206" y="281"/>
                    <a:pt x="206" y="390"/>
                  </a:cubicBezTo>
                  <a:cubicBezTo>
                    <a:pt x="206" y="833"/>
                    <a:pt x="206" y="833"/>
                    <a:pt x="206" y="833"/>
                  </a:cubicBezTo>
                  <a:cubicBezTo>
                    <a:pt x="0" y="833"/>
                    <a:pt x="0" y="833"/>
                    <a:pt x="0" y="833"/>
                  </a:cubicBezTo>
                  <a:lnTo>
                    <a:pt x="0" y="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sp>
          <p:nvSpPr>
            <p:cNvPr id="25" name="Freeform 51">
              <a:extLst>
                <a:ext uri="{FF2B5EF4-FFF2-40B4-BE49-F238E27FC236}">
                  <a16:creationId xmlns:a16="http://schemas.microsoft.com/office/drawing/2014/main" id="{5E7243FB-D22C-4780-A2BD-2B0FE0EBDE84}"/>
                </a:ext>
              </a:extLst>
            </p:cNvPr>
            <p:cNvSpPr>
              <a:spLocks/>
            </p:cNvSpPr>
            <p:nvPr userDrawn="1"/>
          </p:nvSpPr>
          <p:spPr bwMode="ltGray">
            <a:xfrm>
              <a:off x="2254250" y="158750"/>
              <a:ext cx="111125" cy="201613"/>
            </a:xfrm>
            <a:custGeom>
              <a:avLst/>
              <a:gdLst>
                <a:gd name="T0" fmla="*/ 0 w 591"/>
                <a:gd name="T1" fmla="*/ 411 h 1075"/>
                <a:gd name="T2" fmla="*/ 0 w 591"/>
                <a:gd name="T3" fmla="*/ 237 h 1075"/>
                <a:gd name="T4" fmla="*/ 166 w 591"/>
                <a:gd name="T5" fmla="*/ 237 h 1075"/>
                <a:gd name="T6" fmla="*/ 166 w 591"/>
                <a:gd name="T7" fmla="*/ 0 h 1075"/>
                <a:gd name="T8" fmla="*/ 369 w 591"/>
                <a:gd name="T9" fmla="*/ 0 h 1075"/>
                <a:gd name="T10" fmla="*/ 369 w 591"/>
                <a:gd name="T11" fmla="*/ 237 h 1075"/>
                <a:gd name="T12" fmla="*/ 591 w 591"/>
                <a:gd name="T13" fmla="*/ 237 h 1075"/>
                <a:gd name="T14" fmla="*/ 591 w 591"/>
                <a:gd name="T15" fmla="*/ 411 h 1075"/>
                <a:gd name="T16" fmla="*/ 369 w 591"/>
                <a:gd name="T17" fmla="*/ 411 h 1075"/>
                <a:gd name="T18" fmla="*/ 369 w 591"/>
                <a:gd name="T19" fmla="*/ 769 h 1075"/>
                <a:gd name="T20" fmla="*/ 482 w 591"/>
                <a:gd name="T21" fmla="*/ 901 h 1075"/>
                <a:gd name="T22" fmla="*/ 591 w 591"/>
                <a:gd name="T23" fmla="*/ 876 h 1075"/>
                <a:gd name="T24" fmla="*/ 591 w 591"/>
                <a:gd name="T25" fmla="*/ 1048 h 1075"/>
                <a:gd name="T26" fmla="*/ 432 w 591"/>
                <a:gd name="T27" fmla="*/ 1075 h 1075"/>
                <a:gd name="T28" fmla="*/ 166 w 591"/>
                <a:gd name="T29" fmla="*/ 786 h 1075"/>
                <a:gd name="T30" fmla="*/ 166 w 591"/>
                <a:gd name="T31" fmla="*/ 411 h 1075"/>
                <a:gd name="T32" fmla="*/ 0 w 591"/>
                <a:gd name="T33" fmla="*/ 411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1" h="1075">
                  <a:moveTo>
                    <a:pt x="0" y="411"/>
                  </a:moveTo>
                  <a:cubicBezTo>
                    <a:pt x="0" y="237"/>
                    <a:pt x="0" y="237"/>
                    <a:pt x="0" y="237"/>
                  </a:cubicBezTo>
                  <a:cubicBezTo>
                    <a:pt x="166" y="237"/>
                    <a:pt x="166" y="237"/>
                    <a:pt x="166" y="237"/>
                  </a:cubicBezTo>
                  <a:cubicBezTo>
                    <a:pt x="166" y="0"/>
                    <a:pt x="166" y="0"/>
                    <a:pt x="166" y="0"/>
                  </a:cubicBezTo>
                  <a:cubicBezTo>
                    <a:pt x="369" y="0"/>
                    <a:pt x="369" y="0"/>
                    <a:pt x="369" y="0"/>
                  </a:cubicBezTo>
                  <a:cubicBezTo>
                    <a:pt x="369" y="237"/>
                    <a:pt x="369" y="237"/>
                    <a:pt x="369" y="237"/>
                  </a:cubicBezTo>
                  <a:cubicBezTo>
                    <a:pt x="591" y="237"/>
                    <a:pt x="591" y="237"/>
                    <a:pt x="591" y="237"/>
                  </a:cubicBezTo>
                  <a:cubicBezTo>
                    <a:pt x="591" y="411"/>
                    <a:pt x="591" y="411"/>
                    <a:pt x="591" y="411"/>
                  </a:cubicBezTo>
                  <a:cubicBezTo>
                    <a:pt x="369" y="411"/>
                    <a:pt x="369" y="411"/>
                    <a:pt x="369" y="411"/>
                  </a:cubicBezTo>
                  <a:cubicBezTo>
                    <a:pt x="369" y="769"/>
                    <a:pt x="369" y="769"/>
                    <a:pt x="369" y="769"/>
                  </a:cubicBezTo>
                  <a:cubicBezTo>
                    <a:pt x="369" y="851"/>
                    <a:pt x="392" y="901"/>
                    <a:pt x="482" y="901"/>
                  </a:cubicBezTo>
                  <a:cubicBezTo>
                    <a:pt x="517" y="901"/>
                    <a:pt x="566" y="894"/>
                    <a:pt x="591" y="876"/>
                  </a:cubicBezTo>
                  <a:cubicBezTo>
                    <a:pt x="591" y="1048"/>
                    <a:pt x="591" y="1048"/>
                    <a:pt x="591" y="1048"/>
                  </a:cubicBezTo>
                  <a:cubicBezTo>
                    <a:pt x="550" y="1068"/>
                    <a:pt x="478" y="1075"/>
                    <a:pt x="432" y="1075"/>
                  </a:cubicBezTo>
                  <a:cubicBezTo>
                    <a:pt x="216" y="1075"/>
                    <a:pt x="166" y="978"/>
                    <a:pt x="166" y="786"/>
                  </a:cubicBezTo>
                  <a:cubicBezTo>
                    <a:pt x="166" y="411"/>
                    <a:pt x="166" y="411"/>
                    <a:pt x="166" y="411"/>
                  </a:cubicBezTo>
                  <a:lnTo>
                    <a:pt x="0" y="41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sp>
          <p:nvSpPr>
            <p:cNvPr id="26" name="Freeform 52">
              <a:extLst>
                <a:ext uri="{FF2B5EF4-FFF2-40B4-BE49-F238E27FC236}">
                  <a16:creationId xmlns:a16="http://schemas.microsoft.com/office/drawing/2014/main" id="{6E9E2EC8-D504-4CF1-B77E-DDBDE4017BF5}"/>
                </a:ext>
              </a:extLst>
            </p:cNvPr>
            <p:cNvSpPr>
              <a:spLocks noEditPoints="1"/>
            </p:cNvSpPr>
            <p:nvPr userDrawn="1"/>
          </p:nvSpPr>
          <p:spPr bwMode="ltGray">
            <a:xfrm>
              <a:off x="2387600" y="200025"/>
              <a:ext cx="155575" cy="160338"/>
            </a:xfrm>
            <a:custGeom>
              <a:avLst/>
              <a:gdLst>
                <a:gd name="T0" fmla="*/ 203 w 825"/>
                <a:gd name="T1" fmla="*/ 501 h 858"/>
                <a:gd name="T2" fmla="*/ 422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3 w 825"/>
                <a:gd name="T19" fmla="*/ 501 h 858"/>
                <a:gd name="T20" fmla="*/ 622 w 825"/>
                <a:gd name="T21" fmla="*/ 347 h 858"/>
                <a:gd name="T22" fmla="*/ 414 w 825"/>
                <a:gd name="T23" fmla="*/ 153 h 858"/>
                <a:gd name="T24" fmla="*/ 203 w 825"/>
                <a:gd name="T25" fmla="*/ 347 h 858"/>
                <a:gd name="T26" fmla="*/ 622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3" y="501"/>
                  </a:moveTo>
                  <a:cubicBezTo>
                    <a:pt x="217" y="621"/>
                    <a:pt x="309" y="695"/>
                    <a:pt x="422"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1" y="0"/>
                    <a:pt x="825" y="160"/>
                    <a:pt x="825" y="445"/>
                  </a:cubicBezTo>
                  <a:cubicBezTo>
                    <a:pt x="825" y="501"/>
                    <a:pt x="825" y="501"/>
                    <a:pt x="825" y="501"/>
                  </a:cubicBezTo>
                  <a:lnTo>
                    <a:pt x="203" y="501"/>
                  </a:lnTo>
                  <a:close/>
                  <a:moveTo>
                    <a:pt x="622" y="347"/>
                  </a:moveTo>
                  <a:cubicBezTo>
                    <a:pt x="619" y="228"/>
                    <a:pt x="542" y="153"/>
                    <a:pt x="414" y="153"/>
                  </a:cubicBezTo>
                  <a:cubicBezTo>
                    <a:pt x="293" y="153"/>
                    <a:pt x="218" y="229"/>
                    <a:pt x="203" y="347"/>
                  </a:cubicBezTo>
                  <a:lnTo>
                    <a:pt x="622"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sp>
          <p:nvSpPr>
            <p:cNvPr id="27" name="Freeform 53">
              <a:extLst>
                <a:ext uri="{FF2B5EF4-FFF2-40B4-BE49-F238E27FC236}">
                  <a16:creationId xmlns:a16="http://schemas.microsoft.com/office/drawing/2014/main" id="{8A66AFFE-C1AF-4BF3-961F-5537D56D006C}"/>
                </a:ext>
              </a:extLst>
            </p:cNvPr>
            <p:cNvSpPr>
              <a:spLocks noEditPoints="1"/>
            </p:cNvSpPr>
            <p:nvPr userDrawn="1"/>
          </p:nvSpPr>
          <p:spPr bwMode="ltGray">
            <a:xfrm>
              <a:off x="998538" y="465138"/>
              <a:ext cx="228600" cy="225425"/>
            </a:xfrm>
            <a:custGeom>
              <a:avLst/>
              <a:gdLst>
                <a:gd name="T0" fmla="*/ 61 w 144"/>
                <a:gd name="T1" fmla="*/ 0 h 142"/>
                <a:gd name="T2" fmla="*/ 83 w 144"/>
                <a:gd name="T3" fmla="*/ 0 h 142"/>
                <a:gd name="T4" fmla="*/ 144 w 144"/>
                <a:gd name="T5" fmla="*/ 142 h 142"/>
                <a:gd name="T6" fmla="*/ 115 w 144"/>
                <a:gd name="T7" fmla="*/ 142 h 142"/>
                <a:gd name="T8" fmla="*/ 103 w 144"/>
                <a:gd name="T9" fmla="*/ 109 h 142"/>
                <a:gd name="T10" fmla="*/ 41 w 144"/>
                <a:gd name="T11" fmla="*/ 109 h 142"/>
                <a:gd name="T12" fmla="*/ 28 w 144"/>
                <a:gd name="T13" fmla="*/ 142 h 142"/>
                <a:gd name="T14" fmla="*/ 0 w 144"/>
                <a:gd name="T15" fmla="*/ 142 h 142"/>
                <a:gd name="T16" fmla="*/ 61 w 144"/>
                <a:gd name="T17" fmla="*/ 0 h 142"/>
                <a:gd name="T18" fmla="*/ 94 w 144"/>
                <a:gd name="T19" fmla="*/ 88 h 142"/>
                <a:gd name="T20" fmla="*/ 72 w 144"/>
                <a:gd name="T21" fmla="*/ 30 h 142"/>
                <a:gd name="T22" fmla="*/ 50 w 144"/>
                <a:gd name="T23" fmla="*/ 88 h 142"/>
                <a:gd name="T24" fmla="*/ 94 w 144"/>
                <a:gd name="T25" fmla="*/ 8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42">
                  <a:moveTo>
                    <a:pt x="61" y="0"/>
                  </a:moveTo>
                  <a:lnTo>
                    <a:pt x="83" y="0"/>
                  </a:lnTo>
                  <a:lnTo>
                    <a:pt x="144" y="142"/>
                  </a:lnTo>
                  <a:lnTo>
                    <a:pt x="115" y="142"/>
                  </a:lnTo>
                  <a:lnTo>
                    <a:pt x="103" y="109"/>
                  </a:lnTo>
                  <a:lnTo>
                    <a:pt x="41" y="109"/>
                  </a:lnTo>
                  <a:lnTo>
                    <a:pt x="28" y="142"/>
                  </a:lnTo>
                  <a:lnTo>
                    <a:pt x="0" y="142"/>
                  </a:lnTo>
                  <a:lnTo>
                    <a:pt x="61" y="0"/>
                  </a:lnTo>
                  <a:close/>
                  <a:moveTo>
                    <a:pt x="94" y="88"/>
                  </a:moveTo>
                  <a:lnTo>
                    <a:pt x="72" y="30"/>
                  </a:lnTo>
                  <a:lnTo>
                    <a:pt x="50" y="88"/>
                  </a:lnTo>
                  <a:lnTo>
                    <a:pt x="94" y="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sp>
          <p:nvSpPr>
            <p:cNvPr id="28" name="Freeform 54">
              <a:extLst>
                <a:ext uri="{FF2B5EF4-FFF2-40B4-BE49-F238E27FC236}">
                  <a16:creationId xmlns:a16="http://schemas.microsoft.com/office/drawing/2014/main" id="{EC606987-D892-4CD1-9A72-6B9C2DC29614}"/>
                </a:ext>
              </a:extLst>
            </p:cNvPr>
            <p:cNvSpPr>
              <a:spLocks/>
            </p:cNvSpPr>
            <p:nvPr userDrawn="1"/>
          </p:nvSpPr>
          <p:spPr bwMode="ltGray">
            <a:xfrm>
              <a:off x="1247775" y="533400"/>
              <a:ext cx="236538" cy="157163"/>
            </a:xfrm>
            <a:custGeom>
              <a:avLst/>
              <a:gdLst>
                <a:gd name="T0" fmla="*/ 0 w 1267"/>
                <a:gd name="T1" fmla="*/ 21 h 842"/>
                <a:gd name="T2" fmla="*/ 194 w 1267"/>
                <a:gd name="T3" fmla="*/ 21 h 842"/>
                <a:gd name="T4" fmla="*/ 194 w 1267"/>
                <a:gd name="T5" fmla="*/ 149 h 842"/>
                <a:gd name="T6" fmla="*/ 198 w 1267"/>
                <a:gd name="T7" fmla="*/ 149 h 842"/>
                <a:gd name="T8" fmla="*/ 448 w 1267"/>
                <a:gd name="T9" fmla="*/ 0 h 842"/>
                <a:gd name="T10" fmla="*/ 704 w 1267"/>
                <a:gd name="T11" fmla="*/ 153 h 842"/>
                <a:gd name="T12" fmla="*/ 972 w 1267"/>
                <a:gd name="T13" fmla="*/ 0 h 842"/>
                <a:gd name="T14" fmla="*/ 1267 w 1267"/>
                <a:gd name="T15" fmla="*/ 352 h 842"/>
                <a:gd name="T16" fmla="*/ 1267 w 1267"/>
                <a:gd name="T17" fmla="*/ 842 h 842"/>
                <a:gd name="T18" fmla="*/ 1063 w 1267"/>
                <a:gd name="T19" fmla="*/ 842 h 842"/>
                <a:gd name="T20" fmla="*/ 1063 w 1267"/>
                <a:gd name="T21" fmla="*/ 377 h 842"/>
                <a:gd name="T22" fmla="*/ 911 w 1267"/>
                <a:gd name="T23" fmla="*/ 185 h 842"/>
                <a:gd name="T24" fmla="*/ 736 w 1267"/>
                <a:gd name="T25" fmla="*/ 397 h 842"/>
                <a:gd name="T26" fmla="*/ 736 w 1267"/>
                <a:gd name="T27" fmla="*/ 842 h 842"/>
                <a:gd name="T28" fmla="*/ 532 w 1267"/>
                <a:gd name="T29" fmla="*/ 842 h 842"/>
                <a:gd name="T30" fmla="*/ 532 w 1267"/>
                <a:gd name="T31" fmla="*/ 352 h 842"/>
                <a:gd name="T32" fmla="*/ 392 w 1267"/>
                <a:gd name="T33" fmla="*/ 185 h 842"/>
                <a:gd name="T34" fmla="*/ 205 w 1267"/>
                <a:gd name="T35" fmla="*/ 394 h 842"/>
                <a:gd name="T36" fmla="*/ 205 w 1267"/>
                <a:gd name="T37" fmla="*/ 842 h 842"/>
                <a:gd name="T38" fmla="*/ 0 w 1267"/>
                <a:gd name="T39" fmla="*/ 842 h 842"/>
                <a:gd name="T40" fmla="*/ 0 w 1267"/>
                <a:gd name="T41"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7" h="842">
                  <a:moveTo>
                    <a:pt x="0" y="21"/>
                  </a:moveTo>
                  <a:cubicBezTo>
                    <a:pt x="194" y="21"/>
                    <a:pt x="194" y="21"/>
                    <a:pt x="194" y="21"/>
                  </a:cubicBezTo>
                  <a:cubicBezTo>
                    <a:pt x="194" y="149"/>
                    <a:pt x="194" y="149"/>
                    <a:pt x="194" y="149"/>
                  </a:cubicBezTo>
                  <a:cubicBezTo>
                    <a:pt x="198" y="149"/>
                    <a:pt x="198" y="149"/>
                    <a:pt x="198" y="149"/>
                  </a:cubicBezTo>
                  <a:cubicBezTo>
                    <a:pt x="234" y="72"/>
                    <a:pt x="312" y="0"/>
                    <a:pt x="448" y="0"/>
                  </a:cubicBezTo>
                  <a:cubicBezTo>
                    <a:pt x="574" y="0"/>
                    <a:pt x="661" y="50"/>
                    <a:pt x="704" y="153"/>
                  </a:cubicBezTo>
                  <a:cubicBezTo>
                    <a:pt x="763" y="48"/>
                    <a:pt x="850" y="0"/>
                    <a:pt x="972" y="0"/>
                  </a:cubicBezTo>
                  <a:cubicBezTo>
                    <a:pt x="1191" y="0"/>
                    <a:pt x="1267" y="156"/>
                    <a:pt x="1267" y="352"/>
                  </a:cubicBezTo>
                  <a:cubicBezTo>
                    <a:pt x="1267" y="842"/>
                    <a:pt x="1267" y="842"/>
                    <a:pt x="1267" y="842"/>
                  </a:cubicBezTo>
                  <a:cubicBezTo>
                    <a:pt x="1063" y="842"/>
                    <a:pt x="1063" y="842"/>
                    <a:pt x="1063" y="842"/>
                  </a:cubicBezTo>
                  <a:cubicBezTo>
                    <a:pt x="1063" y="377"/>
                    <a:pt x="1063" y="377"/>
                    <a:pt x="1063" y="377"/>
                  </a:cubicBezTo>
                  <a:cubicBezTo>
                    <a:pt x="1063" y="274"/>
                    <a:pt x="1032" y="185"/>
                    <a:pt x="911" y="185"/>
                  </a:cubicBezTo>
                  <a:cubicBezTo>
                    <a:pt x="784" y="185"/>
                    <a:pt x="736" y="291"/>
                    <a:pt x="736" y="397"/>
                  </a:cubicBezTo>
                  <a:cubicBezTo>
                    <a:pt x="736" y="842"/>
                    <a:pt x="736" y="842"/>
                    <a:pt x="736" y="842"/>
                  </a:cubicBezTo>
                  <a:cubicBezTo>
                    <a:pt x="532" y="842"/>
                    <a:pt x="532" y="842"/>
                    <a:pt x="532" y="842"/>
                  </a:cubicBezTo>
                  <a:cubicBezTo>
                    <a:pt x="532" y="352"/>
                    <a:pt x="532" y="352"/>
                    <a:pt x="532" y="352"/>
                  </a:cubicBezTo>
                  <a:cubicBezTo>
                    <a:pt x="532" y="252"/>
                    <a:pt x="490" y="185"/>
                    <a:pt x="392" y="185"/>
                  </a:cubicBezTo>
                  <a:cubicBezTo>
                    <a:pt x="258" y="185"/>
                    <a:pt x="205" y="284"/>
                    <a:pt x="205" y="394"/>
                  </a:cubicBezTo>
                  <a:cubicBezTo>
                    <a:pt x="205" y="842"/>
                    <a:pt x="205" y="842"/>
                    <a:pt x="205"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sp>
          <p:nvSpPr>
            <p:cNvPr id="29" name="Freeform 55">
              <a:extLst>
                <a:ext uri="{FF2B5EF4-FFF2-40B4-BE49-F238E27FC236}">
                  <a16:creationId xmlns:a16="http://schemas.microsoft.com/office/drawing/2014/main" id="{938EECDB-9B08-44D8-9CAE-92D9483255BB}"/>
                </a:ext>
              </a:extLst>
            </p:cNvPr>
            <p:cNvSpPr>
              <a:spLocks/>
            </p:cNvSpPr>
            <p:nvPr userDrawn="1"/>
          </p:nvSpPr>
          <p:spPr bwMode="ltGray">
            <a:xfrm>
              <a:off x="1512888" y="533400"/>
              <a:ext cx="123825" cy="160338"/>
            </a:xfrm>
            <a:custGeom>
              <a:avLst/>
              <a:gdLst>
                <a:gd name="T0" fmla="*/ 507 w 667"/>
                <a:gd name="T1" fmla="*/ 247 h 859"/>
                <a:gd name="T2" fmla="*/ 348 w 667"/>
                <a:gd name="T3" fmla="*/ 164 h 859"/>
                <a:gd name="T4" fmla="*/ 228 w 667"/>
                <a:gd name="T5" fmla="*/ 251 h 859"/>
                <a:gd name="T6" fmla="*/ 667 w 667"/>
                <a:gd name="T7" fmla="*/ 597 h 859"/>
                <a:gd name="T8" fmla="*/ 317 w 667"/>
                <a:gd name="T9" fmla="*/ 859 h 859"/>
                <a:gd name="T10" fmla="*/ 0 w 667"/>
                <a:gd name="T11" fmla="*/ 733 h 859"/>
                <a:gd name="T12" fmla="*/ 136 w 667"/>
                <a:gd name="T13" fmla="*/ 605 h 859"/>
                <a:gd name="T14" fmla="*/ 329 w 667"/>
                <a:gd name="T15" fmla="*/ 706 h 859"/>
                <a:gd name="T16" fmla="*/ 464 w 667"/>
                <a:gd name="T17" fmla="*/ 612 h 859"/>
                <a:gd name="T18" fmla="*/ 25 w 667"/>
                <a:gd name="T19" fmla="*/ 264 h 859"/>
                <a:gd name="T20" fmla="*/ 352 w 667"/>
                <a:gd name="T21" fmla="*/ 0 h 859"/>
                <a:gd name="T22" fmla="*/ 642 w 667"/>
                <a:gd name="T23" fmla="*/ 125 h 859"/>
                <a:gd name="T24" fmla="*/ 507 w 667"/>
                <a:gd name="T25" fmla="*/ 2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7" h="859">
                  <a:moveTo>
                    <a:pt x="507" y="247"/>
                  </a:moveTo>
                  <a:cubicBezTo>
                    <a:pt x="467" y="193"/>
                    <a:pt x="417" y="164"/>
                    <a:pt x="348" y="164"/>
                  </a:cubicBezTo>
                  <a:cubicBezTo>
                    <a:pt x="293" y="164"/>
                    <a:pt x="228" y="190"/>
                    <a:pt x="228" y="251"/>
                  </a:cubicBezTo>
                  <a:cubicBezTo>
                    <a:pt x="228" y="397"/>
                    <a:pt x="667" y="278"/>
                    <a:pt x="667" y="597"/>
                  </a:cubicBezTo>
                  <a:cubicBezTo>
                    <a:pt x="667" y="791"/>
                    <a:pt x="483" y="859"/>
                    <a:pt x="317" y="859"/>
                  </a:cubicBezTo>
                  <a:cubicBezTo>
                    <a:pt x="191" y="859"/>
                    <a:pt x="83" y="826"/>
                    <a:pt x="0" y="733"/>
                  </a:cubicBezTo>
                  <a:cubicBezTo>
                    <a:pt x="136" y="605"/>
                    <a:pt x="136" y="605"/>
                    <a:pt x="136" y="605"/>
                  </a:cubicBezTo>
                  <a:cubicBezTo>
                    <a:pt x="188" y="662"/>
                    <a:pt x="242" y="706"/>
                    <a:pt x="329" y="706"/>
                  </a:cubicBezTo>
                  <a:cubicBezTo>
                    <a:pt x="387" y="706"/>
                    <a:pt x="464" y="677"/>
                    <a:pt x="464" y="612"/>
                  </a:cubicBezTo>
                  <a:cubicBezTo>
                    <a:pt x="464" y="443"/>
                    <a:pt x="25" y="575"/>
                    <a:pt x="25" y="264"/>
                  </a:cubicBezTo>
                  <a:cubicBezTo>
                    <a:pt x="25" y="82"/>
                    <a:pt x="188" y="0"/>
                    <a:pt x="352" y="0"/>
                  </a:cubicBezTo>
                  <a:cubicBezTo>
                    <a:pt x="461" y="0"/>
                    <a:pt x="576" y="35"/>
                    <a:pt x="642" y="125"/>
                  </a:cubicBezTo>
                  <a:lnTo>
                    <a:pt x="507" y="2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sp>
          <p:nvSpPr>
            <p:cNvPr id="30" name="Freeform 56">
              <a:extLst>
                <a:ext uri="{FF2B5EF4-FFF2-40B4-BE49-F238E27FC236}">
                  <a16:creationId xmlns:a16="http://schemas.microsoft.com/office/drawing/2014/main" id="{201C2FD4-4458-4C08-B319-3082B6BC5FFC}"/>
                </a:ext>
              </a:extLst>
            </p:cNvPr>
            <p:cNvSpPr>
              <a:spLocks/>
            </p:cNvSpPr>
            <p:nvPr userDrawn="1"/>
          </p:nvSpPr>
          <p:spPr bwMode="ltGray">
            <a:xfrm>
              <a:off x="1647825" y="493713"/>
              <a:ext cx="112713" cy="200025"/>
            </a:xfrm>
            <a:custGeom>
              <a:avLst/>
              <a:gdLst>
                <a:gd name="T0" fmla="*/ 0 w 600"/>
                <a:gd name="T1" fmla="*/ 407 h 1067"/>
                <a:gd name="T2" fmla="*/ 0 w 600"/>
                <a:gd name="T3" fmla="*/ 235 h 1067"/>
                <a:gd name="T4" fmla="*/ 169 w 600"/>
                <a:gd name="T5" fmla="*/ 235 h 1067"/>
                <a:gd name="T6" fmla="*/ 169 w 600"/>
                <a:gd name="T7" fmla="*/ 0 h 1067"/>
                <a:gd name="T8" fmla="*/ 374 w 600"/>
                <a:gd name="T9" fmla="*/ 0 h 1067"/>
                <a:gd name="T10" fmla="*/ 374 w 600"/>
                <a:gd name="T11" fmla="*/ 235 h 1067"/>
                <a:gd name="T12" fmla="*/ 600 w 600"/>
                <a:gd name="T13" fmla="*/ 235 h 1067"/>
                <a:gd name="T14" fmla="*/ 600 w 600"/>
                <a:gd name="T15" fmla="*/ 407 h 1067"/>
                <a:gd name="T16" fmla="*/ 374 w 600"/>
                <a:gd name="T17" fmla="*/ 407 h 1067"/>
                <a:gd name="T18" fmla="*/ 374 w 600"/>
                <a:gd name="T19" fmla="*/ 762 h 1067"/>
                <a:gd name="T20" fmla="*/ 488 w 600"/>
                <a:gd name="T21" fmla="*/ 894 h 1067"/>
                <a:gd name="T22" fmla="*/ 600 w 600"/>
                <a:gd name="T23" fmla="*/ 868 h 1067"/>
                <a:gd name="T24" fmla="*/ 600 w 600"/>
                <a:gd name="T25" fmla="*/ 1040 h 1067"/>
                <a:gd name="T26" fmla="*/ 437 w 600"/>
                <a:gd name="T27" fmla="*/ 1067 h 1067"/>
                <a:gd name="T28" fmla="*/ 169 w 600"/>
                <a:gd name="T29" fmla="*/ 780 h 1067"/>
                <a:gd name="T30" fmla="*/ 169 w 600"/>
                <a:gd name="T31" fmla="*/ 407 h 1067"/>
                <a:gd name="T32" fmla="*/ 0 w 600"/>
                <a:gd name="T33" fmla="*/ 40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0" h="1067">
                  <a:moveTo>
                    <a:pt x="0" y="407"/>
                  </a:moveTo>
                  <a:cubicBezTo>
                    <a:pt x="0" y="235"/>
                    <a:pt x="0" y="235"/>
                    <a:pt x="0" y="235"/>
                  </a:cubicBezTo>
                  <a:cubicBezTo>
                    <a:pt x="169" y="235"/>
                    <a:pt x="169" y="235"/>
                    <a:pt x="169" y="235"/>
                  </a:cubicBezTo>
                  <a:cubicBezTo>
                    <a:pt x="169" y="0"/>
                    <a:pt x="169" y="0"/>
                    <a:pt x="169" y="0"/>
                  </a:cubicBezTo>
                  <a:cubicBezTo>
                    <a:pt x="374" y="0"/>
                    <a:pt x="374" y="0"/>
                    <a:pt x="374" y="0"/>
                  </a:cubicBezTo>
                  <a:cubicBezTo>
                    <a:pt x="374" y="235"/>
                    <a:pt x="374" y="235"/>
                    <a:pt x="374" y="235"/>
                  </a:cubicBezTo>
                  <a:cubicBezTo>
                    <a:pt x="600" y="235"/>
                    <a:pt x="600" y="235"/>
                    <a:pt x="600" y="235"/>
                  </a:cubicBezTo>
                  <a:cubicBezTo>
                    <a:pt x="600" y="407"/>
                    <a:pt x="600" y="407"/>
                    <a:pt x="600" y="407"/>
                  </a:cubicBezTo>
                  <a:cubicBezTo>
                    <a:pt x="374" y="407"/>
                    <a:pt x="374" y="407"/>
                    <a:pt x="374" y="407"/>
                  </a:cubicBezTo>
                  <a:cubicBezTo>
                    <a:pt x="374" y="762"/>
                    <a:pt x="374" y="762"/>
                    <a:pt x="374" y="762"/>
                  </a:cubicBezTo>
                  <a:cubicBezTo>
                    <a:pt x="374" y="844"/>
                    <a:pt x="399" y="894"/>
                    <a:pt x="488" y="894"/>
                  </a:cubicBezTo>
                  <a:cubicBezTo>
                    <a:pt x="525" y="894"/>
                    <a:pt x="574" y="887"/>
                    <a:pt x="600" y="868"/>
                  </a:cubicBezTo>
                  <a:cubicBezTo>
                    <a:pt x="600" y="1040"/>
                    <a:pt x="600" y="1040"/>
                    <a:pt x="600" y="1040"/>
                  </a:cubicBezTo>
                  <a:cubicBezTo>
                    <a:pt x="557" y="1060"/>
                    <a:pt x="486" y="1067"/>
                    <a:pt x="437" y="1067"/>
                  </a:cubicBezTo>
                  <a:cubicBezTo>
                    <a:pt x="221" y="1067"/>
                    <a:pt x="169" y="970"/>
                    <a:pt x="169" y="780"/>
                  </a:cubicBezTo>
                  <a:cubicBezTo>
                    <a:pt x="169" y="407"/>
                    <a:pt x="169" y="407"/>
                    <a:pt x="169" y="407"/>
                  </a:cubicBezTo>
                  <a:lnTo>
                    <a:pt x="0" y="40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sp>
          <p:nvSpPr>
            <p:cNvPr id="31" name="Freeform 57">
              <a:extLst>
                <a:ext uri="{FF2B5EF4-FFF2-40B4-BE49-F238E27FC236}">
                  <a16:creationId xmlns:a16="http://schemas.microsoft.com/office/drawing/2014/main" id="{5A3F9447-F0E2-44F7-8372-1CAA2787262A}"/>
                </a:ext>
              </a:extLst>
            </p:cNvPr>
            <p:cNvSpPr>
              <a:spLocks noEditPoints="1"/>
            </p:cNvSpPr>
            <p:nvPr userDrawn="1"/>
          </p:nvSpPr>
          <p:spPr bwMode="ltGray">
            <a:xfrm>
              <a:off x="1781175" y="533400"/>
              <a:ext cx="155575" cy="160338"/>
            </a:xfrm>
            <a:custGeom>
              <a:avLst/>
              <a:gdLst>
                <a:gd name="T0" fmla="*/ 204 w 825"/>
                <a:gd name="T1" fmla="*/ 501 h 859"/>
                <a:gd name="T2" fmla="*/ 423 w 825"/>
                <a:gd name="T3" fmla="*/ 695 h 859"/>
                <a:gd name="T4" fmla="*/ 642 w 825"/>
                <a:gd name="T5" fmla="*/ 585 h 859"/>
                <a:gd name="T6" fmla="*/ 787 w 825"/>
                <a:gd name="T7" fmla="*/ 695 h 859"/>
                <a:gd name="T8" fmla="*/ 443 w 825"/>
                <a:gd name="T9" fmla="*/ 859 h 859"/>
                <a:gd name="T10" fmla="*/ 0 w 825"/>
                <a:gd name="T11" fmla="*/ 430 h 859"/>
                <a:gd name="T12" fmla="*/ 443 w 825"/>
                <a:gd name="T13" fmla="*/ 0 h 859"/>
                <a:gd name="T14" fmla="*/ 825 w 825"/>
                <a:gd name="T15" fmla="*/ 445 h 859"/>
                <a:gd name="T16" fmla="*/ 825 w 825"/>
                <a:gd name="T17" fmla="*/ 501 h 859"/>
                <a:gd name="T18" fmla="*/ 204 w 825"/>
                <a:gd name="T19" fmla="*/ 501 h 859"/>
                <a:gd name="T20" fmla="*/ 621 w 825"/>
                <a:gd name="T21" fmla="*/ 347 h 859"/>
                <a:gd name="T22" fmla="*/ 415 w 825"/>
                <a:gd name="T23" fmla="*/ 153 h 859"/>
                <a:gd name="T24" fmla="*/ 204 w 825"/>
                <a:gd name="T25" fmla="*/ 347 h 859"/>
                <a:gd name="T26" fmla="*/ 621 w 825"/>
                <a:gd name="T27" fmla="*/ 3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9">
                  <a:moveTo>
                    <a:pt x="204" y="501"/>
                  </a:moveTo>
                  <a:cubicBezTo>
                    <a:pt x="218" y="622"/>
                    <a:pt x="309" y="695"/>
                    <a:pt x="423" y="695"/>
                  </a:cubicBezTo>
                  <a:cubicBezTo>
                    <a:pt x="525" y="695"/>
                    <a:pt x="590" y="647"/>
                    <a:pt x="642" y="585"/>
                  </a:cubicBezTo>
                  <a:cubicBezTo>
                    <a:pt x="787" y="695"/>
                    <a:pt x="787" y="695"/>
                    <a:pt x="787" y="695"/>
                  </a:cubicBezTo>
                  <a:cubicBezTo>
                    <a:pt x="692" y="813"/>
                    <a:pt x="572" y="859"/>
                    <a:pt x="443" y="859"/>
                  </a:cubicBezTo>
                  <a:cubicBezTo>
                    <a:pt x="197" y="859"/>
                    <a:pt x="0" y="687"/>
                    <a:pt x="0" y="430"/>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9"/>
                    <a:pt x="541" y="153"/>
                    <a:pt x="415" y="153"/>
                  </a:cubicBezTo>
                  <a:cubicBezTo>
                    <a:pt x="294" y="153"/>
                    <a:pt x="219" y="230"/>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sp>
          <p:nvSpPr>
            <p:cNvPr id="32" name="Freeform 58">
              <a:extLst>
                <a:ext uri="{FF2B5EF4-FFF2-40B4-BE49-F238E27FC236}">
                  <a16:creationId xmlns:a16="http://schemas.microsoft.com/office/drawing/2014/main" id="{09ED63FC-E10D-4A0E-BC83-4FE0D72454AD}"/>
                </a:ext>
              </a:extLst>
            </p:cNvPr>
            <p:cNvSpPr>
              <a:spLocks/>
            </p:cNvSpPr>
            <p:nvPr userDrawn="1"/>
          </p:nvSpPr>
          <p:spPr bwMode="ltGray">
            <a:xfrm>
              <a:off x="1971675" y="533400"/>
              <a:ext cx="96838" cy="157163"/>
            </a:xfrm>
            <a:custGeom>
              <a:avLst/>
              <a:gdLst>
                <a:gd name="T0" fmla="*/ 0 w 517"/>
                <a:gd name="T1" fmla="*/ 21 h 842"/>
                <a:gd name="T2" fmla="*/ 202 w 517"/>
                <a:gd name="T3" fmla="*/ 21 h 842"/>
                <a:gd name="T4" fmla="*/ 202 w 517"/>
                <a:gd name="T5" fmla="*/ 150 h 842"/>
                <a:gd name="T6" fmla="*/ 206 w 517"/>
                <a:gd name="T7" fmla="*/ 150 h 842"/>
                <a:gd name="T8" fmla="*/ 445 w 517"/>
                <a:gd name="T9" fmla="*/ 0 h 842"/>
                <a:gd name="T10" fmla="*/ 517 w 517"/>
                <a:gd name="T11" fmla="*/ 12 h 842"/>
                <a:gd name="T12" fmla="*/ 517 w 517"/>
                <a:gd name="T13" fmla="*/ 211 h 842"/>
                <a:gd name="T14" fmla="*/ 420 w 517"/>
                <a:gd name="T15" fmla="*/ 195 h 842"/>
                <a:gd name="T16" fmla="*/ 202 w 517"/>
                <a:gd name="T17" fmla="*/ 402 h 842"/>
                <a:gd name="T18" fmla="*/ 202 w 517"/>
                <a:gd name="T19" fmla="*/ 842 h 842"/>
                <a:gd name="T20" fmla="*/ 0 w 517"/>
                <a:gd name="T21" fmla="*/ 842 h 842"/>
                <a:gd name="T22" fmla="*/ 0 w 517"/>
                <a:gd name="T23"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7" h="842">
                  <a:moveTo>
                    <a:pt x="0" y="21"/>
                  </a:moveTo>
                  <a:cubicBezTo>
                    <a:pt x="202" y="21"/>
                    <a:pt x="202" y="21"/>
                    <a:pt x="202" y="21"/>
                  </a:cubicBezTo>
                  <a:cubicBezTo>
                    <a:pt x="202" y="150"/>
                    <a:pt x="202" y="150"/>
                    <a:pt x="202" y="150"/>
                  </a:cubicBezTo>
                  <a:cubicBezTo>
                    <a:pt x="206" y="150"/>
                    <a:pt x="206" y="150"/>
                    <a:pt x="206" y="150"/>
                  </a:cubicBezTo>
                  <a:cubicBezTo>
                    <a:pt x="250" y="57"/>
                    <a:pt x="339" y="0"/>
                    <a:pt x="445" y="0"/>
                  </a:cubicBezTo>
                  <a:cubicBezTo>
                    <a:pt x="471" y="0"/>
                    <a:pt x="494" y="5"/>
                    <a:pt x="517" y="12"/>
                  </a:cubicBezTo>
                  <a:cubicBezTo>
                    <a:pt x="517" y="211"/>
                    <a:pt x="517" y="211"/>
                    <a:pt x="517" y="211"/>
                  </a:cubicBezTo>
                  <a:cubicBezTo>
                    <a:pt x="483" y="202"/>
                    <a:pt x="452" y="195"/>
                    <a:pt x="420" y="195"/>
                  </a:cubicBezTo>
                  <a:cubicBezTo>
                    <a:pt x="230" y="195"/>
                    <a:pt x="202" y="358"/>
                    <a:pt x="202" y="402"/>
                  </a:cubicBezTo>
                  <a:cubicBezTo>
                    <a:pt x="202" y="842"/>
                    <a:pt x="202" y="842"/>
                    <a:pt x="202"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sp>
          <p:nvSpPr>
            <p:cNvPr id="33" name="Freeform 59">
              <a:extLst>
                <a:ext uri="{FF2B5EF4-FFF2-40B4-BE49-F238E27FC236}">
                  <a16:creationId xmlns:a16="http://schemas.microsoft.com/office/drawing/2014/main" id="{D631A289-79D1-4DEE-A37E-F23443011D02}"/>
                </a:ext>
              </a:extLst>
            </p:cNvPr>
            <p:cNvSpPr>
              <a:spLocks noEditPoints="1"/>
            </p:cNvSpPr>
            <p:nvPr userDrawn="1"/>
          </p:nvSpPr>
          <p:spPr bwMode="ltGray">
            <a:xfrm>
              <a:off x="2082800" y="450850"/>
              <a:ext cx="163513" cy="242888"/>
            </a:xfrm>
            <a:custGeom>
              <a:avLst/>
              <a:gdLst>
                <a:gd name="T0" fmla="*/ 683 w 875"/>
                <a:gd name="T1" fmla="*/ 1157 h 1300"/>
                <a:gd name="T2" fmla="*/ 679 w 875"/>
                <a:gd name="T3" fmla="*/ 1157 h 1300"/>
                <a:gd name="T4" fmla="*/ 400 w 875"/>
                <a:gd name="T5" fmla="*/ 1300 h 1300"/>
                <a:gd name="T6" fmla="*/ 0 w 875"/>
                <a:gd name="T7" fmla="*/ 873 h 1300"/>
                <a:gd name="T8" fmla="*/ 392 w 875"/>
                <a:gd name="T9" fmla="*/ 447 h 1300"/>
                <a:gd name="T10" fmla="*/ 667 w 875"/>
                <a:gd name="T11" fmla="*/ 571 h 1300"/>
                <a:gd name="T12" fmla="*/ 672 w 875"/>
                <a:gd name="T13" fmla="*/ 571 h 1300"/>
                <a:gd name="T14" fmla="*/ 672 w 875"/>
                <a:gd name="T15" fmla="*/ 0 h 1300"/>
                <a:gd name="T16" fmla="*/ 875 w 875"/>
                <a:gd name="T17" fmla="*/ 0 h 1300"/>
                <a:gd name="T18" fmla="*/ 875 w 875"/>
                <a:gd name="T19" fmla="*/ 1280 h 1300"/>
                <a:gd name="T20" fmla="*/ 683 w 875"/>
                <a:gd name="T21" fmla="*/ 1280 h 1300"/>
                <a:gd name="T22" fmla="*/ 683 w 875"/>
                <a:gd name="T23" fmla="*/ 1157 h 1300"/>
                <a:gd name="T24" fmla="*/ 441 w 875"/>
                <a:gd name="T25" fmla="*/ 1116 h 1300"/>
                <a:gd name="T26" fmla="*/ 679 w 875"/>
                <a:gd name="T27" fmla="*/ 873 h 1300"/>
                <a:gd name="T28" fmla="*/ 441 w 875"/>
                <a:gd name="T29" fmla="*/ 629 h 1300"/>
                <a:gd name="T30" fmla="*/ 203 w 875"/>
                <a:gd name="T31" fmla="*/ 873 h 1300"/>
                <a:gd name="T32" fmla="*/ 441 w 875"/>
                <a:gd name="T33" fmla="*/ 11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5" h="1300">
                  <a:moveTo>
                    <a:pt x="683" y="1157"/>
                  </a:moveTo>
                  <a:cubicBezTo>
                    <a:pt x="679" y="1157"/>
                    <a:pt x="679" y="1157"/>
                    <a:pt x="679" y="1157"/>
                  </a:cubicBezTo>
                  <a:cubicBezTo>
                    <a:pt x="620" y="1255"/>
                    <a:pt x="513" y="1300"/>
                    <a:pt x="400" y="1300"/>
                  </a:cubicBezTo>
                  <a:cubicBezTo>
                    <a:pt x="151" y="1300"/>
                    <a:pt x="0" y="1114"/>
                    <a:pt x="0" y="873"/>
                  </a:cubicBezTo>
                  <a:cubicBezTo>
                    <a:pt x="0" y="633"/>
                    <a:pt x="160" y="447"/>
                    <a:pt x="392" y="447"/>
                  </a:cubicBezTo>
                  <a:cubicBezTo>
                    <a:pt x="544" y="447"/>
                    <a:pt x="625" y="518"/>
                    <a:pt x="667" y="571"/>
                  </a:cubicBezTo>
                  <a:cubicBezTo>
                    <a:pt x="672" y="571"/>
                    <a:pt x="672" y="571"/>
                    <a:pt x="672" y="571"/>
                  </a:cubicBezTo>
                  <a:cubicBezTo>
                    <a:pt x="672" y="0"/>
                    <a:pt x="672" y="0"/>
                    <a:pt x="672" y="0"/>
                  </a:cubicBezTo>
                  <a:cubicBezTo>
                    <a:pt x="875" y="0"/>
                    <a:pt x="875" y="0"/>
                    <a:pt x="875" y="0"/>
                  </a:cubicBezTo>
                  <a:cubicBezTo>
                    <a:pt x="875" y="1280"/>
                    <a:pt x="875" y="1280"/>
                    <a:pt x="875" y="1280"/>
                  </a:cubicBezTo>
                  <a:cubicBezTo>
                    <a:pt x="683" y="1280"/>
                    <a:pt x="683" y="1280"/>
                    <a:pt x="683" y="1280"/>
                  </a:cubicBezTo>
                  <a:lnTo>
                    <a:pt x="683" y="1157"/>
                  </a:lnTo>
                  <a:close/>
                  <a:moveTo>
                    <a:pt x="441" y="1116"/>
                  </a:moveTo>
                  <a:cubicBezTo>
                    <a:pt x="589" y="1116"/>
                    <a:pt x="679" y="1001"/>
                    <a:pt x="679" y="873"/>
                  </a:cubicBezTo>
                  <a:cubicBezTo>
                    <a:pt x="679" y="746"/>
                    <a:pt x="589" y="629"/>
                    <a:pt x="441" y="629"/>
                  </a:cubicBezTo>
                  <a:cubicBezTo>
                    <a:pt x="292" y="629"/>
                    <a:pt x="203" y="746"/>
                    <a:pt x="203" y="873"/>
                  </a:cubicBezTo>
                  <a:cubicBezTo>
                    <a:pt x="203" y="1001"/>
                    <a:pt x="292" y="1116"/>
                    <a:pt x="441" y="1116"/>
                  </a:cubicBez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sp>
          <p:nvSpPr>
            <p:cNvPr id="34" name="Freeform 60">
              <a:extLst>
                <a:ext uri="{FF2B5EF4-FFF2-40B4-BE49-F238E27FC236}">
                  <a16:creationId xmlns:a16="http://schemas.microsoft.com/office/drawing/2014/main" id="{3DD2871F-37DF-4206-87CE-46715E9EFAB6}"/>
                </a:ext>
              </a:extLst>
            </p:cNvPr>
            <p:cNvSpPr>
              <a:spLocks noEditPoints="1"/>
            </p:cNvSpPr>
            <p:nvPr userDrawn="1"/>
          </p:nvSpPr>
          <p:spPr bwMode="ltGray">
            <a:xfrm>
              <a:off x="2279650" y="533400"/>
              <a:ext cx="139700" cy="160338"/>
            </a:xfrm>
            <a:custGeom>
              <a:avLst/>
              <a:gdLst>
                <a:gd name="T0" fmla="*/ 566 w 750"/>
                <a:gd name="T1" fmla="*/ 726 h 859"/>
                <a:gd name="T2" fmla="*/ 562 w 750"/>
                <a:gd name="T3" fmla="*/ 726 h 859"/>
                <a:gd name="T4" fmla="*/ 299 w 750"/>
                <a:gd name="T5" fmla="*/ 859 h 859"/>
                <a:gd name="T6" fmla="*/ 0 w 750"/>
                <a:gd name="T7" fmla="*/ 613 h 859"/>
                <a:gd name="T8" fmla="*/ 515 w 750"/>
                <a:gd name="T9" fmla="*/ 329 h 859"/>
                <a:gd name="T10" fmla="*/ 566 w 750"/>
                <a:gd name="T11" fmla="*/ 329 h 859"/>
                <a:gd name="T12" fmla="*/ 566 w 750"/>
                <a:gd name="T13" fmla="*/ 307 h 859"/>
                <a:gd name="T14" fmla="*/ 379 w 750"/>
                <a:gd name="T15" fmla="*/ 153 h 859"/>
                <a:gd name="T16" fmla="*/ 160 w 750"/>
                <a:gd name="T17" fmla="*/ 239 h 859"/>
                <a:gd name="T18" fmla="*/ 53 w 750"/>
                <a:gd name="T19" fmla="*/ 131 h 859"/>
                <a:gd name="T20" fmla="*/ 400 w 750"/>
                <a:gd name="T21" fmla="*/ 0 h 859"/>
                <a:gd name="T22" fmla="*/ 750 w 750"/>
                <a:gd name="T23" fmla="*/ 369 h 859"/>
                <a:gd name="T24" fmla="*/ 750 w 750"/>
                <a:gd name="T25" fmla="*/ 839 h 859"/>
                <a:gd name="T26" fmla="*/ 566 w 750"/>
                <a:gd name="T27" fmla="*/ 839 h 859"/>
                <a:gd name="T28" fmla="*/ 566 w 750"/>
                <a:gd name="T29" fmla="*/ 726 h 859"/>
                <a:gd name="T30" fmla="*/ 555 w 750"/>
                <a:gd name="T31" fmla="*/ 472 h 859"/>
                <a:gd name="T32" fmla="*/ 512 w 750"/>
                <a:gd name="T33" fmla="*/ 472 h 859"/>
                <a:gd name="T34" fmla="*/ 205 w 750"/>
                <a:gd name="T35" fmla="*/ 598 h 859"/>
                <a:gd name="T36" fmla="*/ 347 w 750"/>
                <a:gd name="T37" fmla="*/ 706 h 859"/>
                <a:gd name="T38" fmla="*/ 555 w 750"/>
                <a:gd name="T39" fmla="*/ 518 h 859"/>
                <a:gd name="T40" fmla="*/ 555 w 750"/>
                <a:gd name="T41" fmla="*/ 472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0" h="859">
                  <a:moveTo>
                    <a:pt x="566" y="726"/>
                  </a:moveTo>
                  <a:cubicBezTo>
                    <a:pt x="562" y="726"/>
                    <a:pt x="562" y="726"/>
                    <a:pt x="562" y="726"/>
                  </a:cubicBezTo>
                  <a:cubicBezTo>
                    <a:pt x="503" y="818"/>
                    <a:pt x="408" y="859"/>
                    <a:pt x="299" y="859"/>
                  </a:cubicBezTo>
                  <a:cubicBezTo>
                    <a:pt x="147" y="859"/>
                    <a:pt x="0" y="775"/>
                    <a:pt x="0" y="613"/>
                  </a:cubicBezTo>
                  <a:cubicBezTo>
                    <a:pt x="0" y="347"/>
                    <a:pt x="311" y="329"/>
                    <a:pt x="515" y="329"/>
                  </a:cubicBezTo>
                  <a:cubicBezTo>
                    <a:pt x="566" y="329"/>
                    <a:pt x="566" y="329"/>
                    <a:pt x="566" y="329"/>
                  </a:cubicBezTo>
                  <a:cubicBezTo>
                    <a:pt x="566" y="307"/>
                    <a:pt x="566" y="307"/>
                    <a:pt x="566" y="307"/>
                  </a:cubicBezTo>
                  <a:cubicBezTo>
                    <a:pt x="566" y="206"/>
                    <a:pt x="488" y="153"/>
                    <a:pt x="379" y="153"/>
                  </a:cubicBezTo>
                  <a:cubicBezTo>
                    <a:pt x="293" y="153"/>
                    <a:pt x="214" y="187"/>
                    <a:pt x="160" y="239"/>
                  </a:cubicBezTo>
                  <a:cubicBezTo>
                    <a:pt x="53" y="131"/>
                    <a:pt x="53" y="131"/>
                    <a:pt x="53" y="131"/>
                  </a:cubicBezTo>
                  <a:cubicBezTo>
                    <a:pt x="144" y="39"/>
                    <a:pt x="271" y="0"/>
                    <a:pt x="400" y="0"/>
                  </a:cubicBezTo>
                  <a:cubicBezTo>
                    <a:pt x="750" y="0"/>
                    <a:pt x="750" y="252"/>
                    <a:pt x="750" y="369"/>
                  </a:cubicBezTo>
                  <a:cubicBezTo>
                    <a:pt x="750" y="839"/>
                    <a:pt x="750" y="839"/>
                    <a:pt x="750" y="839"/>
                  </a:cubicBezTo>
                  <a:cubicBezTo>
                    <a:pt x="566" y="839"/>
                    <a:pt x="566" y="839"/>
                    <a:pt x="566" y="839"/>
                  </a:cubicBezTo>
                  <a:lnTo>
                    <a:pt x="566" y="726"/>
                  </a:lnTo>
                  <a:close/>
                  <a:moveTo>
                    <a:pt x="555" y="472"/>
                  </a:moveTo>
                  <a:cubicBezTo>
                    <a:pt x="512" y="472"/>
                    <a:pt x="512" y="472"/>
                    <a:pt x="512" y="472"/>
                  </a:cubicBezTo>
                  <a:cubicBezTo>
                    <a:pt x="399" y="472"/>
                    <a:pt x="205" y="480"/>
                    <a:pt x="205" y="598"/>
                  </a:cubicBezTo>
                  <a:cubicBezTo>
                    <a:pt x="205" y="673"/>
                    <a:pt x="282" y="706"/>
                    <a:pt x="347" y="706"/>
                  </a:cubicBezTo>
                  <a:cubicBezTo>
                    <a:pt x="488" y="706"/>
                    <a:pt x="555" y="632"/>
                    <a:pt x="555" y="518"/>
                  </a:cubicBezTo>
                  <a:lnTo>
                    <a:pt x="555" y="472"/>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sp>
          <p:nvSpPr>
            <p:cNvPr id="35" name="Freeform 61">
              <a:extLst>
                <a:ext uri="{FF2B5EF4-FFF2-40B4-BE49-F238E27FC236}">
                  <a16:creationId xmlns:a16="http://schemas.microsoft.com/office/drawing/2014/main" id="{28C5B83D-471B-4E36-AF30-F8E4A4B12E42}"/>
                </a:ext>
              </a:extLst>
            </p:cNvPr>
            <p:cNvSpPr>
              <a:spLocks/>
            </p:cNvSpPr>
            <p:nvPr userDrawn="1"/>
          </p:nvSpPr>
          <p:spPr bwMode="ltGray">
            <a:xfrm>
              <a:off x="2459038" y="533400"/>
              <a:ext cx="236538" cy="157163"/>
            </a:xfrm>
            <a:custGeom>
              <a:avLst/>
              <a:gdLst>
                <a:gd name="T0" fmla="*/ 0 w 1267"/>
                <a:gd name="T1" fmla="*/ 21 h 842"/>
                <a:gd name="T2" fmla="*/ 194 w 1267"/>
                <a:gd name="T3" fmla="*/ 21 h 842"/>
                <a:gd name="T4" fmla="*/ 194 w 1267"/>
                <a:gd name="T5" fmla="*/ 149 h 842"/>
                <a:gd name="T6" fmla="*/ 198 w 1267"/>
                <a:gd name="T7" fmla="*/ 149 h 842"/>
                <a:gd name="T8" fmla="*/ 448 w 1267"/>
                <a:gd name="T9" fmla="*/ 0 h 842"/>
                <a:gd name="T10" fmla="*/ 703 w 1267"/>
                <a:gd name="T11" fmla="*/ 153 h 842"/>
                <a:gd name="T12" fmla="*/ 972 w 1267"/>
                <a:gd name="T13" fmla="*/ 0 h 842"/>
                <a:gd name="T14" fmla="*/ 1267 w 1267"/>
                <a:gd name="T15" fmla="*/ 352 h 842"/>
                <a:gd name="T16" fmla="*/ 1267 w 1267"/>
                <a:gd name="T17" fmla="*/ 842 h 842"/>
                <a:gd name="T18" fmla="*/ 1063 w 1267"/>
                <a:gd name="T19" fmla="*/ 842 h 842"/>
                <a:gd name="T20" fmla="*/ 1063 w 1267"/>
                <a:gd name="T21" fmla="*/ 377 h 842"/>
                <a:gd name="T22" fmla="*/ 911 w 1267"/>
                <a:gd name="T23" fmla="*/ 185 h 842"/>
                <a:gd name="T24" fmla="*/ 736 w 1267"/>
                <a:gd name="T25" fmla="*/ 397 h 842"/>
                <a:gd name="T26" fmla="*/ 736 w 1267"/>
                <a:gd name="T27" fmla="*/ 842 h 842"/>
                <a:gd name="T28" fmla="*/ 532 w 1267"/>
                <a:gd name="T29" fmla="*/ 842 h 842"/>
                <a:gd name="T30" fmla="*/ 532 w 1267"/>
                <a:gd name="T31" fmla="*/ 352 h 842"/>
                <a:gd name="T32" fmla="*/ 392 w 1267"/>
                <a:gd name="T33" fmla="*/ 185 h 842"/>
                <a:gd name="T34" fmla="*/ 205 w 1267"/>
                <a:gd name="T35" fmla="*/ 394 h 842"/>
                <a:gd name="T36" fmla="*/ 205 w 1267"/>
                <a:gd name="T37" fmla="*/ 842 h 842"/>
                <a:gd name="T38" fmla="*/ 0 w 1267"/>
                <a:gd name="T39" fmla="*/ 842 h 842"/>
                <a:gd name="T40" fmla="*/ 0 w 1267"/>
                <a:gd name="T41"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7" h="842">
                  <a:moveTo>
                    <a:pt x="0" y="21"/>
                  </a:moveTo>
                  <a:cubicBezTo>
                    <a:pt x="194" y="21"/>
                    <a:pt x="194" y="21"/>
                    <a:pt x="194" y="21"/>
                  </a:cubicBezTo>
                  <a:cubicBezTo>
                    <a:pt x="194" y="149"/>
                    <a:pt x="194" y="149"/>
                    <a:pt x="194" y="149"/>
                  </a:cubicBezTo>
                  <a:cubicBezTo>
                    <a:pt x="198" y="149"/>
                    <a:pt x="198" y="149"/>
                    <a:pt x="198" y="149"/>
                  </a:cubicBezTo>
                  <a:cubicBezTo>
                    <a:pt x="234" y="72"/>
                    <a:pt x="312" y="0"/>
                    <a:pt x="448" y="0"/>
                  </a:cubicBezTo>
                  <a:cubicBezTo>
                    <a:pt x="574" y="0"/>
                    <a:pt x="661" y="50"/>
                    <a:pt x="703" y="153"/>
                  </a:cubicBezTo>
                  <a:cubicBezTo>
                    <a:pt x="763" y="48"/>
                    <a:pt x="850" y="0"/>
                    <a:pt x="972" y="0"/>
                  </a:cubicBezTo>
                  <a:cubicBezTo>
                    <a:pt x="1191" y="0"/>
                    <a:pt x="1267" y="156"/>
                    <a:pt x="1267" y="352"/>
                  </a:cubicBezTo>
                  <a:cubicBezTo>
                    <a:pt x="1267" y="842"/>
                    <a:pt x="1267" y="842"/>
                    <a:pt x="1267" y="842"/>
                  </a:cubicBezTo>
                  <a:cubicBezTo>
                    <a:pt x="1063" y="842"/>
                    <a:pt x="1063" y="842"/>
                    <a:pt x="1063" y="842"/>
                  </a:cubicBezTo>
                  <a:cubicBezTo>
                    <a:pt x="1063" y="377"/>
                    <a:pt x="1063" y="377"/>
                    <a:pt x="1063" y="377"/>
                  </a:cubicBezTo>
                  <a:cubicBezTo>
                    <a:pt x="1063" y="274"/>
                    <a:pt x="1032" y="185"/>
                    <a:pt x="911" y="185"/>
                  </a:cubicBezTo>
                  <a:cubicBezTo>
                    <a:pt x="783" y="185"/>
                    <a:pt x="736" y="291"/>
                    <a:pt x="736" y="397"/>
                  </a:cubicBezTo>
                  <a:cubicBezTo>
                    <a:pt x="736" y="842"/>
                    <a:pt x="736" y="842"/>
                    <a:pt x="736" y="842"/>
                  </a:cubicBezTo>
                  <a:cubicBezTo>
                    <a:pt x="532" y="842"/>
                    <a:pt x="532" y="842"/>
                    <a:pt x="532" y="842"/>
                  </a:cubicBezTo>
                  <a:cubicBezTo>
                    <a:pt x="532" y="352"/>
                    <a:pt x="532" y="352"/>
                    <a:pt x="532" y="352"/>
                  </a:cubicBezTo>
                  <a:cubicBezTo>
                    <a:pt x="532" y="252"/>
                    <a:pt x="490" y="185"/>
                    <a:pt x="392" y="185"/>
                  </a:cubicBezTo>
                  <a:cubicBezTo>
                    <a:pt x="258" y="185"/>
                    <a:pt x="205" y="284"/>
                    <a:pt x="205" y="394"/>
                  </a:cubicBezTo>
                  <a:cubicBezTo>
                    <a:pt x="205" y="842"/>
                    <a:pt x="205" y="842"/>
                    <a:pt x="205"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nl-NL" sz="1837" dirty="0"/>
            </a:p>
          </p:txBody>
        </p:sp>
      </p:grpSp>
      <p:grpSp>
        <p:nvGrpSpPr>
          <p:cNvPr id="47" name="Group 46">
            <a:extLst>
              <a:ext uri="{FF2B5EF4-FFF2-40B4-BE49-F238E27FC236}">
                <a16:creationId xmlns:a16="http://schemas.microsoft.com/office/drawing/2014/main" id="{1F962ECB-3A1A-44FE-818D-CB9B4A34412E}"/>
              </a:ext>
            </a:extLst>
          </p:cNvPr>
          <p:cNvGrpSpPr>
            <a:grpSpLocks/>
          </p:cNvGrpSpPr>
          <p:nvPr userDrawn="1"/>
        </p:nvGrpSpPr>
        <p:grpSpPr bwMode="ltGray">
          <a:xfrm>
            <a:off x="233258" y="106904"/>
            <a:ext cx="426000" cy="1448052"/>
            <a:chOff x="177800" y="104775"/>
            <a:chExt cx="417513" cy="1419225"/>
          </a:xfrm>
          <a:solidFill>
            <a:schemeClr val="tx2"/>
          </a:solidFill>
        </p:grpSpPr>
        <p:sp>
          <p:nvSpPr>
            <p:cNvPr id="48" name="Freeform 42">
              <a:extLst>
                <a:ext uri="{FF2B5EF4-FFF2-40B4-BE49-F238E27FC236}">
                  <a16:creationId xmlns:a16="http://schemas.microsoft.com/office/drawing/2014/main" id="{133798F6-4EEC-435A-9713-7BFDDC5FFB74}"/>
                </a:ext>
              </a:extLst>
            </p:cNvPr>
            <p:cNvSpPr>
              <a:spLocks/>
            </p:cNvSpPr>
            <p:nvPr userDrawn="1"/>
          </p:nvSpPr>
          <p:spPr bwMode="ltGray">
            <a:xfrm>
              <a:off x="177800" y="1108075"/>
              <a:ext cx="417513" cy="415925"/>
            </a:xfrm>
            <a:custGeom>
              <a:avLst/>
              <a:gdLst>
                <a:gd name="T0" fmla="*/ 0 w 263"/>
                <a:gd name="T1" fmla="*/ 209 h 262"/>
                <a:gd name="T2" fmla="*/ 80 w 263"/>
                <a:gd name="T3" fmla="*/ 131 h 262"/>
                <a:gd name="T4" fmla="*/ 0 w 263"/>
                <a:gd name="T5" fmla="*/ 52 h 262"/>
                <a:gd name="T6" fmla="*/ 53 w 263"/>
                <a:gd name="T7" fmla="*/ 0 h 262"/>
                <a:gd name="T8" fmla="*/ 132 w 263"/>
                <a:gd name="T9" fmla="*/ 78 h 262"/>
                <a:gd name="T10" fmla="*/ 210 w 263"/>
                <a:gd name="T11" fmla="*/ 0 h 262"/>
                <a:gd name="T12" fmla="*/ 263 w 263"/>
                <a:gd name="T13" fmla="*/ 52 h 262"/>
                <a:gd name="T14" fmla="*/ 185 w 263"/>
                <a:gd name="T15" fmla="*/ 131 h 262"/>
                <a:gd name="T16" fmla="*/ 263 w 263"/>
                <a:gd name="T17" fmla="*/ 209 h 262"/>
                <a:gd name="T18" fmla="*/ 210 w 263"/>
                <a:gd name="T19" fmla="*/ 262 h 262"/>
                <a:gd name="T20" fmla="*/ 132 w 263"/>
                <a:gd name="T21" fmla="*/ 183 h 262"/>
                <a:gd name="T22" fmla="*/ 53 w 263"/>
                <a:gd name="T23" fmla="*/ 262 h 262"/>
                <a:gd name="T24" fmla="*/ 0 w 263"/>
                <a:gd name="T25" fmla="*/ 20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2">
                  <a:moveTo>
                    <a:pt x="0" y="209"/>
                  </a:moveTo>
                  <a:lnTo>
                    <a:pt x="80" y="131"/>
                  </a:lnTo>
                  <a:lnTo>
                    <a:pt x="0" y="52"/>
                  </a:lnTo>
                  <a:lnTo>
                    <a:pt x="53" y="0"/>
                  </a:lnTo>
                  <a:lnTo>
                    <a:pt x="132" y="78"/>
                  </a:lnTo>
                  <a:lnTo>
                    <a:pt x="210" y="0"/>
                  </a:lnTo>
                  <a:lnTo>
                    <a:pt x="263" y="52"/>
                  </a:lnTo>
                  <a:lnTo>
                    <a:pt x="185" y="131"/>
                  </a:lnTo>
                  <a:lnTo>
                    <a:pt x="263" y="209"/>
                  </a:lnTo>
                  <a:lnTo>
                    <a:pt x="210" y="262"/>
                  </a:lnTo>
                  <a:lnTo>
                    <a:pt x="132" y="183"/>
                  </a:lnTo>
                  <a:lnTo>
                    <a:pt x="53" y="262"/>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nl-NL" sz="1837" dirty="0"/>
            </a:p>
          </p:txBody>
        </p:sp>
        <p:sp>
          <p:nvSpPr>
            <p:cNvPr id="49" name="Freeform 43">
              <a:extLst>
                <a:ext uri="{FF2B5EF4-FFF2-40B4-BE49-F238E27FC236}">
                  <a16:creationId xmlns:a16="http://schemas.microsoft.com/office/drawing/2014/main" id="{8E16C36D-5041-4E7E-A415-3F2271D253D9}"/>
                </a:ext>
              </a:extLst>
            </p:cNvPr>
            <p:cNvSpPr>
              <a:spLocks/>
            </p:cNvSpPr>
            <p:nvPr userDrawn="1"/>
          </p:nvSpPr>
          <p:spPr bwMode="ltGray">
            <a:xfrm>
              <a:off x="177800" y="104775"/>
              <a:ext cx="417513" cy="417513"/>
            </a:xfrm>
            <a:custGeom>
              <a:avLst/>
              <a:gdLst>
                <a:gd name="T0" fmla="*/ 0 w 263"/>
                <a:gd name="T1" fmla="*/ 211 h 263"/>
                <a:gd name="T2" fmla="*/ 80 w 263"/>
                <a:gd name="T3" fmla="*/ 132 h 263"/>
                <a:gd name="T4" fmla="*/ 0 w 263"/>
                <a:gd name="T5" fmla="*/ 53 h 263"/>
                <a:gd name="T6" fmla="*/ 53 w 263"/>
                <a:gd name="T7" fmla="*/ 0 h 263"/>
                <a:gd name="T8" fmla="*/ 132 w 263"/>
                <a:gd name="T9" fmla="*/ 80 h 263"/>
                <a:gd name="T10" fmla="*/ 210 w 263"/>
                <a:gd name="T11" fmla="*/ 0 h 263"/>
                <a:gd name="T12" fmla="*/ 263 w 263"/>
                <a:gd name="T13" fmla="*/ 53 h 263"/>
                <a:gd name="T14" fmla="*/ 185 w 263"/>
                <a:gd name="T15" fmla="*/ 132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2"/>
                  </a:lnTo>
                  <a:lnTo>
                    <a:pt x="0" y="53"/>
                  </a:lnTo>
                  <a:lnTo>
                    <a:pt x="53" y="0"/>
                  </a:lnTo>
                  <a:lnTo>
                    <a:pt x="132" y="80"/>
                  </a:lnTo>
                  <a:lnTo>
                    <a:pt x="210" y="0"/>
                  </a:lnTo>
                  <a:lnTo>
                    <a:pt x="263" y="53"/>
                  </a:lnTo>
                  <a:lnTo>
                    <a:pt x="185" y="132"/>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nl-NL" sz="1837" dirty="0"/>
            </a:p>
          </p:txBody>
        </p:sp>
        <p:sp>
          <p:nvSpPr>
            <p:cNvPr id="50" name="Freeform 44">
              <a:extLst>
                <a:ext uri="{FF2B5EF4-FFF2-40B4-BE49-F238E27FC236}">
                  <a16:creationId xmlns:a16="http://schemas.microsoft.com/office/drawing/2014/main" id="{F926A661-97B8-4B43-9A12-C9C8083A5839}"/>
                </a:ext>
              </a:extLst>
            </p:cNvPr>
            <p:cNvSpPr>
              <a:spLocks/>
            </p:cNvSpPr>
            <p:nvPr userDrawn="1"/>
          </p:nvSpPr>
          <p:spPr bwMode="ltGray">
            <a:xfrm>
              <a:off x="177800" y="606425"/>
              <a:ext cx="417513" cy="417513"/>
            </a:xfrm>
            <a:custGeom>
              <a:avLst/>
              <a:gdLst>
                <a:gd name="T0" fmla="*/ 0 w 263"/>
                <a:gd name="T1" fmla="*/ 211 h 263"/>
                <a:gd name="T2" fmla="*/ 80 w 263"/>
                <a:gd name="T3" fmla="*/ 131 h 263"/>
                <a:gd name="T4" fmla="*/ 0 w 263"/>
                <a:gd name="T5" fmla="*/ 53 h 263"/>
                <a:gd name="T6" fmla="*/ 53 w 263"/>
                <a:gd name="T7" fmla="*/ 0 h 263"/>
                <a:gd name="T8" fmla="*/ 132 w 263"/>
                <a:gd name="T9" fmla="*/ 79 h 263"/>
                <a:gd name="T10" fmla="*/ 210 w 263"/>
                <a:gd name="T11" fmla="*/ 0 h 263"/>
                <a:gd name="T12" fmla="*/ 263 w 263"/>
                <a:gd name="T13" fmla="*/ 53 h 263"/>
                <a:gd name="T14" fmla="*/ 185 w 263"/>
                <a:gd name="T15" fmla="*/ 131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1"/>
                  </a:lnTo>
                  <a:lnTo>
                    <a:pt x="0" y="53"/>
                  </a:lnTo>
                  <a:lnTo>
                    <a:pt x="53" y="0"/>
                  </a:lnTo>
                  <a:lnTo>
                    <a:pt x="132" y="79"/>
                  </a:lnTo>
                  <a:lnTo>
                    <a:pt x="210" y="0"/>
                  </a:lnTo>
                  <a:lnTo>
                    <a:pt x="263" y="53"/>
                  </a:lnTo>
                  <a:lnTo>
                    <a:pt x="185" y="131"/>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nl-NL" sz="1837" dirty="0"/>
            </a:p>
          </p:txBody>
        </p:sp>
      </p:grpSp>
    </p:spTree>
    <p:extLst>
      <p:ext uri="{BB962C8B-B14F-4D97-AF65-F5344CB8AC3E}">
        <p14:creationId xmlns:p14="http://schemas.microsoft.com/office/powerpoint/2010/main" val="3109545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60858597"/>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F24D61-5313-4F14-A557-902DE0AAEE23}"/>
              </a:ext>
            </a:extLst>
          </p:cNvPr>
          <p:cNvSpPr/>
          <p:nvPr userDrawn="1">
            <p:custDataLst>
              <p:tags r:id="rId2"/>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5" name="Title Placeholder 2">
            <a:extLst>
              <a:ext uri="{FF2B5EF4-FFF2-40B4-BE49-F238E27FC236}">
                <a16:creationId xmlns:a16="http://schemas.microsoft.com/office/drawing/2014/main" id="{1CF00FC1-77FF-48FD-8945-D432EB9754D9}"/>
              </a:ext>
            </a:extLst>
          </p:cNvPr>
          <p:cNvSpPr>
            <a:spLocks noGrp="1" noChangeArrowheads="1"/>
          </p:cNvSpPr>
          <p:nvPr>
            <p:ph type="title"/>
          </p:nvPr>
        </p:nvSpPr>
        <p:spPr bwMode="gray">
          <a:xfrm>
            <a:off x="839041" y="283037"/>
            <a:ext cx="1111970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rtl="0">
              <a:tabLst>
                <a:tab pos="549088" algn="l"/>
              </a:tabLst>
              <a:defRPr/>
            </a:lvl1pPr>
          </a:lstStyle>
          <a:p>
            <a:pPr lvl="0"/>
            <a:r>
              <a:rPr lang="nl-NL" noProof="0" dirty="0"/>
              <a:t>Click to edit Master title style</a:t>
            </a:r>
          </a:p>
        </p:txBody>
      </p:sp>
    </p:spTree>
    <p:extLst>
      <p:ext uri="{BB962C8B-B14F-4D97-AF65-F5344CB8AC3E}">
        <p14:creationId xmlns:p14="http://schemas.microsoft.com/office/powerpoint/2010/main" val="284144420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5BE47-2A2B-43B2-A85F-74DF39EFD07D}"/>
              </a:ext>
            </a:extLst>
          </p:cNvPr>
          <p:cNvGraphicFramePr>
            <a:graphicFrameLocks noChangeAspect="1"/>
          </p:cNvGraphicFramePr>
          <p:nvPr userDrawn="1">
            <p:custDataLst>
              <p:tags r:id="rId1"/>
            </p:custDataLst>
            <p:extLst>
              <p:ext uri="{D42A27DB-BD31-4B8C-83A1-F6EECF244321}">
                <p14:modId xmlns:p14="http://schemas.microsoft.com/office/powerpoint/2010/main" val="1146461597"/>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4" name="Object 3" hidden="1">
                        <a:extLst>
                          <a:ext uri="{FF2B5EF4-FFF2-40B4-BE49-F238E27FC236}">
                            <a16:creationId xmlns:a16="http://schemas.microsoft.com/office/drawing/2014/main" id="{E055BE47-2A2B-43B2-A85F-74DF39EFD07D}"/>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90D1DBB-A7F0-4A4F-96ED-21071423E3AB}"/>
              </a:ext>
            </a:extLst>
          </p:cNvPr>
          <p:cNvSpPr/>
          <p:nvPr userDrawn="1">
            <p:custDataLst>
              <p:tags r:id="rId2"/>
            </p:custDataLst>
          </p:nvPr>
        </p:nvSpPr>
        <p:spPr>
          <a:xfrm>
            <a:off x="0" y="0"/>
            <a:ext cx="161977" cy="16197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2" name="Title 1">
            <a:extLst>
              <a:ext uri="{FF2B5EF4-FFF2-40B4-BE49-F238E27FC236}">
                <a16:creationId xmlns:a16="http://schemas.microsoft.com/office/drawing/2014/main" id="{9734B9BF-C3B0-4969-8EE3-D3897CB3D972}"/>
              </a:ext>
            </a:extLst>
          </p:cNvPr>
          <p:cNvSpPr>
            <a:spLocks noGrp="1"/>
          </p:cNvSpPr>
          <p:nvPr>
            <p:ph type="title"/>
          </p:nvPr>
        </p:nvSpPr>
        <p:spPr/>
        <p:txBody>
          <a:bodyPr vert="horz"/>
          <a:lstStyle>
            <a:lvl1pPr rtl="0">
              <a:defRPr/>
            </a:lvl1pPr>
          </a:lstStyle>
          <a:p>
            <a:r>
              <a:rPr lang="nl-NL" dirty="0"/>
              <a:t>Click to edit Master title style</a:t>
            </a:r>
          </a:p>
        </p:txBody>
      </p:sp>
    </p:spTree>
    <p:extLst>
      <p:ext uri="{BB962C8B-B14F-4D97-AF65-F5344CB8AC3E}">
        <p14:creationId xmlns:p14="http://schemas.microsoft.com/office/powerpoint/2010/main" val="24110671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873F16-A93F-4171-81F3-887F22738F74}"/>
              </a:ext>
            </a:extLst>
          </p:cNvPr>
          <p:cNvGraphicFramePr>
            <a:graphicFrameLocks noChangeAspect="1"/>
          </p:cNvGraphicFramePr>
          <p:nvPr userDrawn="1">
            <p:custDataLst>
              <p:tags r:id="rId1"/>
            </p:custDataLst>
            <p:extLst>
              <p:ext uri="{D42A27DB-BD31-4B8C-83A1-F6EECF244321}">
                <p14:modId xmlns:p14="http://schemas.microsoft.com/office/powerpoint/2010/main" val="3960241389"/>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3" imgW="351" imgH="350" progId="TCLayout.ActiveDocument.1">
                  <p:embed/>
                </p:oleObj>
              </mc:Choice>
              <mc:Fallback>
                <p:oleObj name="think-cell Slide" r:id="rId3" imgW="351" imgH="350" progId="TCLayout.ActiveDocument.1">
                  <p:embed/>
                  <p:pic>
                    <p:nvPicPr>
                      <p:cNvPr id="3" name="Object 2" hidden="1">
                        <a:extLst>
                          <a:ext uri="{FF2B5EF4-FFF2-40B4-BE49-F238E27FC236}">
                            <a16:creationId xmlns:a16="http://schemas.microsoft.com/office/drawing/2014/main" id="{D0873F16-A93F-4171-81F3-887F22738F74}"/>
                          </a:ext>
                        </a:extLst>
                      </p:cNvPr>
                      <p:cNvPicPr/>
                      <p:nvPr/>
                    </p:nvPicPr>
                    <p:blipFill>
                      <a:blip r:embed="rId4"/>
                      <a:stretch>
                        <a:fillRect/>
                      </a:stretch>
                    </p:blipFill>
                    <p:spPr>
                      <a:xfrm>
                        <a:off x="1620" y="1620"/>
                        <a:ext cx="1620" cy="1620"/>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992CD0B2-8AB2-4C6C-8876-E15753662C9B}" type="slidenum">
              <a:rPr lang="nl-NL" smtClean="0"/>
              <a:pPr/>
              <a:t>‹nr.›</a:t>
            </a:fld>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9" y="1592263"/>
            <a:ext cx="5332401" cy="1004890"/>
          </a:xfrm>
        </p:spPr>
        <p:txBody>
          <a:bodyPr/>
          <a:lstStyle>
            <a:lvl1pPr>
              <a:defRPr/>
            </a:lvl1pPr>
            <a:lvl2pPr rtl="0">
              <a:defRPr/>
            </a:lvl2pPr>
            <a:lvl3pPr rtl="0">
              <a:defRPr/>
            </a:lvl3pPr>
            <a:lvl4pPr rtl="0">
              <a:defRPr/>
            </a:lvl4pPr>
            <a:lvl5pPr rtl="0">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1004890"/>
          </a:xfrm>
        </p:spPr>
        <p:txBody>
          <a:bodyPr/>
          <a:lstStyle>
            <a:lvl1pPr>
              <a:defRPr/>
            </a:lvl1pPr>
            <a:lvl2pPr rtl="0">
              <a:defRPr/>
            </a:lvl2pPr>
            <a:lvl3pPr rtl="0">
              <a:defRPr/>
            </a:lvl3pPr>
            <a:lvl4pPr rtl="0">
              <a:defRPr/>
            </a:lvl4pPr>
            <a:lvl5pPr rtl="0">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hasCustomPrompt="1"/>
          </p:nvPr>
        </p:nvSpPr>
        <p:spPr>
          <a:xfrm>
            <a:off x="666747" y="266700"/>
            <a:ext cx="10866441" cy="930276"/>
          </a:xfrm>
          <a:prstGeom prst="rect">
            <a:avLst/>
          </a:prstGeom>
        </p:spPr>
        <p:txBody>
          <a:bodyPr vert="horz" lIns="91440" tIns="45720" rIns="91440" bIns="45720" rtlCol="0" anchor="b">
            <a:noAutofit/>
          </a:bodyPr>
          <a:lstStyle>
            <a:lvl1pPr rtl="0">
              <a:defRPr/>
            </a:lvl1pPr>
          </a:lstStyle>
          <a:p>
            <a:r>
              <a:rPr lang="nl-NL" noProof="0" dirty="0"/>
              <a:t>Klik om titel in te voegen</a:t>
            </a:r>
          </a:p>
        </p:txBody>
      </p:sp>
    </p:spTree>
    <p:extLst>
      <p:ext uri="{BB962C8B-B14F-4D97-AF65-F5344CB8AC3E}">
        <p14:creationId xmlns:p14="http://schemas.microsoft.com/office/powerpoint/2010/main" val="410828797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C1BC2C-79CD-43C9-B074-B60E6FAF9045}"/>
              </a:ext>
            </a:extLst>
          </p:cNvPr>
          <p:cNvGraphicFramePr>
            <a:graphicFrameLocks noChangeAspect="1"/>
          </p:cNvGraphicFramePr>
          <p:nvPr userDrawn="1">
            <p:custDataLst>
              <p:tags r:id="rId1"/>
            </p:custDataLst>
            <p:extLst>
              <p:ext uri="{D42A27DB-BD31-4B8C-83A1-F6EECF244321}">
                <p14:modId xmlns:p14="http://schemas.microsoft.com/office/powerpoint/2010/main" val="319350857"/>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3" imgW="351" imgH="350" progId="TCLayout.ActiveDocument.1">
                  <p:embed/>
                </p:oleObj>
              </mc:Choice>
              <mc:Fallback>
                <p:oleObj name="think-cell Slide" r:id="rId3" imgW="351" imgH="350" progId="TCLayout.ActiveDocument.1">
                  <p:embed/>
                  <p:pic>
                    <p:nvPicPr>
                      <p:cNvPr id="3" name="Object 2" hidden="1">
                        <a:extLst>
                          <a:ext uri="{FF2B5EF4-FFF2-40B4-BE49-F238E27FC236}">
                            <a16:creationId xmlns:a16="http://schemas.microsoft.com/office/drawing/2014/main" id="{D3C1BC2C-79CD-43C9-B074-B60E6FAF9045}"/>
                          </a:ext>
                        </a:extLst>
                      </p:cNvPr>
                      <p:cNvPicPr/>
                      <p:nvPr/>
                    </p:nvPicPr>
                    <p:blipFill>
                      <a:blip r:embed="rId4"/>
                      <a:stretch>
                        <a:fillRect/>
                      </a:stretch>
                    </p:blipFill>
                    <p:spPr>
                      <a:xfrm>
                        <a:off x="1620" y="1620"/>
                        <a:ext cx="1620" cy="1620"/>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992CD0B2-8AB2-4C6C-8876-E15753662C9B}" type="slidenum">
              <a:rPr lang="nl-NL" smtClean="0"/>
              <a:pPr/>
              <a:t>‹nr.›</a:t>
            </a:fld>
            <a:endParaRPr lang="nl-NL" dirty="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004890"/>
          </a:xfrm>
        </p:spPr>
        <p:txBody>
          <a:bodyPr/>
          <a:lstStyle>
            <a:lvl1pPr>
              <a:defRPr/>
            </a:lvl1pPr>
            <a:lvl2pPr rtl="0">
              <a:defRPr/>
            </a:lvl2pPr>
            <a:lvl3pPr rtl="0">
              <a:defRPr/>
            </a:lvl3pPr>
            <a:lvl4pPr rtl="0">
              <a:defRPr/>
            </a:lvl4pPr>
            <a:lvl5pPr rtl="0">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004890"/>
          </a:xfrm>
        </p:spPr>
        <p:txBody>
          <a:bodyPr/>
          <a:lstStyle>
            <a:lvl1pPr>
              <a:defRPr/>
            </a:lvl1pPr>
            <a:lvl2pPr rtl="0">
              <a:defRPr/>
            </a:lvl2pPr>
            <a:lvl3pPr rtl="0">
              <a:defRPr/>
            </a:lvl3pPr>
            <a:lvl4pPr rtl="0">
              <a:defRPr/>
            </a:lvl4pPr>
            <a:lvl5pPr rtl="0">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8" y="1909823"/>
            <a:ext cx="3517200" cy="1004890"/>
          </a:xfrm>
        </p:spPr>
        <p:txBody>
          <a:bodyPr/>
          <a:lstStyle>
            <a:lvl1pPr>
              <a:defRPr/>
            </a:lvl1pPr>
            <a:lvl2pPr rtl="0">
              <a:defRPr/>
            </a:lvl2pPr>
            <a:lvl3pPr rtl="0">
              <a:defRPr/>
            </a:lvl3pPr>
            <a:lvl4pPr rtl="0">
              <a:defRPr/>
            </a:lvl4pPr>
            <a:lvl5pPr rtl="0">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004890"/>
          </a:xfrm>
        </p:spPr>
        <p:txBody>
          <a:bodyPr/>
          <a:lstStyle>
            <a:lvl1pPr>
              <a:defRPr/>
            </a:lvl1pPr>
            <a:lvl2pPr rtl="0">
              <a:defRPr/>
            </a:lvl2pPr>
            <a:lvl3pPr rtl="0">
              <a:defRPr/>
            </a:lvl3pPr>
            <a:lvl4pPr rtl="0">
              <a:defRPr/>
            </a:lvl4pPr>
            <a:lvl5pPr rtl="0">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004890"/>
          </a:xfrm>
        </p:spPr>
        <p:txBody>
          <a:bodyPr/>
          <a:lstStyle>
            <a:lvl1pPr>
              <a:defRPr/>
            </a:lvl1pPr>
            <a:lvl2pPr rtl="0">
              <a:defRPr/>
            </a:lvl2pPr>
            <a:lvl3pPr rtl="0">
              <a:defRPr/>
            </a:lvl3pPr>
            <a:lvl4pPr rtl="0">
              <a:defRPr/>
            </a:lvl4pPr>
            <a:lvl5pPr rtl="0">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8" y="4373880"/>
            <a:ext cx="3517200" cy="1004890"/>
          </a:xfrm>
        </p:spPr>
        <p:txBody>
          <a:bodyPr/>
          <a:lstStyle>
            <a:lvl1pPr>
              <a:defRPr/>
            </a:lvl1pPr>
            <a:lvl2pPr rtl="0">
              <a:defRPr/>
            </a:lvl2pPr>
            <a:lvl3pPr rtl="0">
              <a:defRPr/>
            </a:lvl3pPr>
            <a:lvl4pPr rtl="0">
              <a:defRPr/>
            </a:lvl4pPr>
            <a:lvl5pPr rtl="0">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51222"/>
          </a:xfrm>
        </p:spPr>
        <p:txBody>
          <a:bodyPr/>
          <a:lstStyle>
            <a:lvl1pPr rtl="0">
              <a:defRPr/>
            </a:lvl1pPr>
          </a:lstStyle>
          <a:p>
            <a:pPr lvl="0"/>
            <a:r>
              <a:rPr lang="nl-NL" noProof="0" dirty="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701"/>
            <a:ext cx="10866441" cy="930276"/>
          </a:xfrm>
          <a:prstGeom prst="rect">
            <a:avLst/>
          </a:prstGeom>
        </p:spPr>
        <p:txBody>
          <a:bodyPr vert="horz" lIns="91440" tIns="45720" rIns="91440" bIns="45720" rtlCol="0" anchor="b">
            <a:noAutofit/>
          </a:bodyPr>
          <a:lstStyle>
            <a:lvl1pPr rtl="0">
              <a:defRPr/>
            </a:lvl1pPr>
          </a:lstStyle>
          <a:p>
            <a:r>
              <a:rPr lang="nl-NL" noProof="0" dirty="0"/>
              <a:t>Klik om titel in te voegen</a:t>
            </a:r>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hasCustomPrompt="1"/>
          </p:nvPr>
        </p:nvSpPr>
        <p:spPr>
          <a:xfrm>
            <a:off x="666750" y="1611882"/>
            <a:ext cx="3516680" cy="251222"/>
          </a:xfrm>
        </p:spPr>
        <p:txBody>
          <a:bodyPr/>
          <a:lstStyle>
            <a:lvl1pPr rtl="0">
              <a:defRPr b="1"/>
            </a:lvl1pPr>
          </a:lstStyle>
          <a:p>
            <a:pPr lvl="0"/>
            <a:r>
              <a:rPr lang="nl-NL" noProof="0" dirty="0"/>
              <a:t>Klik om kop toe te voegen</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hasCustomPrompt="1"/>
          </p:nvPr>
        </p:nvSpPr>
        <p:spPr>
          <a:xfrm>
            <a:off x="4337662" y="1611882"/>
            <a:ext cx="3516680" cy="251222"/>
          </a:xfrm>
        </p:spPr>
        <p:txBody>
          <a:bodyPr/>
          <a:lstStyle>
            <a:lvl1pPr rtl="0">
              <a:defRPr b="1"/>
            </a:lvl1pPr>
          </a:lstStyle>
          <a:p>
            <a:pPr lvl="0"/>
            <a:r>
              <a:rPr lang="nl-NL" noProof="0" dirty="0"/>
              <a:t>Klik om kop toe te voegen</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hasCustomPrompt="1"/>
          </p:nvPr>
        </p:nvSpPr>
        <p:spPr>
          <a:xfrm>
            <a:off x="8022069" y="1611882"/>
            <a:ext cx="3516680" cy="251222"/>
          </a:xfrm>
        </p:spPr>
        <p:txBody>
          <a:bodyPr/>
          <a:lstStyle>
            <a:lvl1pPr rtl="0">
              <a:defRPr b="1"/>
            </a:lvl1pPr>
          </a:lstStyle>
          <a:p>
            <a:pPr lvl="0"/>
            <a:r>
              <a:rPr lang="nl-NL" noProof="0" dirty="0"/>
              <a:t>Klik om kop toe te voegen</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hasCustomPrompt="1"/>
          </p:nvPr>
        </p:nvSpPr>
        <p:spPr>
          <a:xfrm>
            <a:off x="666750" y="4065752"/>
            <a:ext cx="3516680" cy="251222"/>
          </a:xfrm>
        </p:spPr>
        <p:txBody>
          <a:bodyPr/>
          <a:lstStyle>
            <a:lvl1pPr rtl="0">
              <a:defRPr b="1"/>
            </a:lvl1pPr>
          </a:lstStyle>
          <a:p>
            <a:pPr lvl="0"/>
            <a:r>
              <a:rPr lang="nl-NL" noProof="0" dirty="0"/>
              <a:t>Klik om kop toe te voegen</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hasCustomPrompt="1"/>
          </p:nvPr>
        </p:nvSpPr>
        <p:spPr>
          <a:xfrm>
            <a:off x="4337662" y="4065752"/>
            <a:ext cx="3516680" cy="251222"/>
          </a:xfrm>
        </p:spPr>
        <p:txBody>
          <a:bodyPr/>
          <a:lstStyle>
            <a:lvl1pPr rtl="0">
              <a:defRPr b="1"/>
            </a:lvl1pPr>
          </a:lstStyle>
          <a:p>
            <a:pPr lvl="0"/>
            <a:r>
              <a:rPr lang="nl-NL" noProof="0" dirty="0"/>
              <a:t>Klik om kop toe te voegen</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hasCustomPrompt="1"/>
          </p:nvPr>
        </p:nvSpPr>
        <p:spPr>
          <a:xfrm>
            <a:off x="8022069" y="4065752"/>
            <a:ext cx="3516680" cy="251222"/>
          </a:xfrm>
        </p:spPr>
        <p:txBody>
          <a:bodyPr/>
          <a:lstStyle>
            <a:lvl1pPr rtl="0">
              <a:defRPr b="1"/>
            </a:lvl1pPr>
          </a:lstStyle>
          <a:p>
            <a:pPr lvl="0"/>
            <a:r>
              <a:rPr lang="nl-NL" noProof="0" dirty="0"/>
              <a:t>Klik om kop toe te voegen</a:t>
            </a:r>
          </a:p>
        </p:txBody>
      </p:sp>
    </p:spTree>
    <p:extLst>
      <p:ext uri="{BB962C8B-B14F-4D97-AF65-F5344CB8AC3E}">
        <p14:creationId xmlns:p14="http://schemas.microsoft.com/office/powerpoint/2010/main" val="72567851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cSld name="Titel en kader">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lvl1pPr>
              <a:defRPr/>
            </a:lvl1pPr>
          </a:lstStyle>
          <a:p>
            <a:r>
              <a:rPr lang="nl-NL" noProof="1"/>
              <a:t>Titel</a:t>
            </a:r>
          </a:p>
        </p:txBody>
      </p:sp>
      <p:sp>
        <p:nvSpPr>
          <p:cNvPr id="3" name="Tijdelijke aanduiding voor inhoud 2"/>
          <p:cNvSpPr>
            <a:spLocks noGrp="1" noSelect="1"/>
          </p:cNvSpPr>
          <p:nvPr>
            <p:ph idx="1"/>
          </p:nvPr>
        </p:nvSpPr>
        <p:spPr bwMode="gray"/>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4" name="Tijdelijke aanduiding voor datum 3"/>
          <p:cNvSpPr>
            <a:spLocks noGrp="1" noSelect="1"/>
          </p:cNvSpPr>
          <p:nvPr>
            <p:ph type="dt" sz="half" idx="10"/>
          </p:nvPr>
        </p:nvSpPr>
        <p:spPr bwMode="gray"/>
        <p:txBody>
          <a:bodyPr/>
          <a:lstStyle/>
          <a:p>
            <a:endParaRPr lang="nl-NL" dirty="0"/>
          </a:p>
        </p:txBody>
      </p:sp>
      <p:sp>
        <p:nvSpPr>
          <p:cNvPr id="5" name="Tijdelijke aanduiding voor voettekst 4"/>
          <p:cNvSpPr>
            <a:spLocks noGrp="1" noSelect="1"/>
          </p:cNvSpPr>
          <p:nvPr>
            <p:ph type="ftr" sz="quarter" idx="11"/>
          </p:nvPr>
        </p:nvSpPr>
        <p:spPr bwMode="gray"/>
        <p:txBody>
          <a:bodyPr/>
          <a:lstStyle/>
          <a:p>
            <a:r>
              <a:rPr lang="nl-NL"/>
              <a:t>Informatiebijeenkomst 26 juli 2021 Europese Aanbesteding SVWI</a:t>
            </a:r>
            <a:endParaRPr lang="nl-NL" dirty="0"/>
          </a:p>
        </p:txBody>
      </p:sp>
      <p:sp>
        <p:nvSpPr>
          <p:cNvPr id="6" name="Tijdelijke aanduiding voor dianummer 5"/>
          <p:cNvSpPr>
            <a:spLocks noGrp="1" noSelect="1"/>
          </p:cNvSpPr>
          <p:nvPr>
            <p:ph type="sldNum" sz="quarter" idx="12"/>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859480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6619034"/>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EA23475-9EC2-4C0C-BE62-D93FA15DA2B5}"/>
              </a:ext>
            </a:extLst>
          </p:cNvPr>
          <p:cNvSpPr/>
          <p:nvPr userDrawn="1">
            <p:custDataLst>
              <p:tags r:id="rId2"/>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5510"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45" name="Rectangle 44">
            <a:extLst>
              <a:ext uri="{FF2B5EF4-FFF2-40B4-BE49-F238E27FC236}">
                <a16:creationId xmlns:a16="http://schemas.microsoft.com/office/drawing/2014/main" id="{E81A223E-4F63-48C8-B290-576BBFF2BC0E}"/>
              </a:ext>
            </a:extLst>
          </p:cNvPr>
          <p:cNvSpPr>
            <a:spLocks/>
          </p:cNvSpPr>
          <p:nvPr userDrawn="1"/>
        </p:nvSpPr>
        <p:spPr bwMode="ltGray">
          <a:xfrm>
            <a:off x="1" y="1"/>
            <a:ext cx="892515"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nl-NL" sz="1837" dirty="0">
              <a:solidFill>
                <a:schemeClr val="tx1"/>
              </a:solidFill>
            </a:endParaRPr>
          </a:p>
        </p:txBody>
      </p:sp>
      <p:sp>
        <p:nvSpPr>
          <p:cNvPr id="9" name="Document type" hidden="1"/>
          <p:cNvSpPr txBox="1">
            <a:spLocks noChangeArrowheads="1"/>
          </p:cNvSpPr>
          <p:nvPr/>
        </p:nvSpPr>
        <p:spPr bwMode="ltGray">
          <a:xfrm>
            <a:off x="1018834" y="5844155"/>
            <a:ext cx="10080491"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nl-NL" sz="1428" baseline="0" noProof="0" dirty="0">
                <a:solidFill>
                  <a:schemeClr val="bg1"/>
                </a:solidFill>
                <a:latin typeface="+mn-lt"/>
              </a:rPr>
              <a:t>Documenttype</a:t>
            </a:r>
          </a:p>
        </p:txBody>
      </p:sp>
      <p:sp>
        <p:nvSpPr>
          <p:cNvPr id="10" name="Date" hidden="1"/>
          <p:cNvSpPr txBox="1">
            <a:spLocks noChangeArrowheads="1"/>
          </p:cNvSpPr>
          <p:nvPr/>
        </p:nvSpPr>
        <p:spPr bwMode="ltGray">
          <a:xfrm>
            <a:off x="1018834" y="6117893"/>
            <a:ext cx="10080491"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nl-NL" sz="1428" baseline="0" noProof="0" dirty="0">
                <a:solidFill>
                  <a:schemeClr val="bg1"/>
                </a:solidFill>
                <a:latin typeface="+mn-lt"/>
              </a:rPr>
              <a:t>Datum</a:t>
            </a:r>
          </a:p>
        </p:txBody>
      </p:sp>
      <p:sp>
        <p:nvSpPr>
          <p:cNvPr id="13314" name="Rectangle 1026"/>
          <p:cNvSpPr>
            <a:spLocks noGrp="1" noChangeArrowheads="1"/>
          </p:cNvSpPr>
          <p:nvPr>
            <p:ph type="ctrTitle"/>
          </p:nvPr>
        </p:nvSpPr>
        <p:spPr bwMode="ltGray">
          <a:xfrm>
            <a:off x="1018834" y="2605299"/>
            <a:ext cx="10080491" cy="847876"/>
          </a:xfrm>
          <a:prstGeom prst="rect">
            <a:avLst/>
          </a:prstGeom>
        </p:spPr>
        <p:txBody>
          <a:bodyPr wrap="square" anchor="b">
            <a:spAutoFit/>
          </a:bodyPr>
          <a:lstStyle>
            <a:lvl1pPr>
              <a:defRPr sz="5510" b="1" kern="1200" baseline="0">
                <a:solidFill>
                  <a:schemeClr val="bg1"/>
                </a:solidFill>
                <a:latin typeface="+mj-lt"/>
                <a:ea typeface="+mj-ea"/>
              </a:defRPr>
            </a:lvl1pPr>
          </a:lstStyle>
          <a:p>
            <a:pPr lvl="0"/>
            <a:r>
              <a:rPr lang="nl-NL" noProof="0" dirty="0"/>
              <a:t>Click to edit Master title style</a:t>
            </a:r>
          </a:p>
        </p:txBody>
      </p:sp>
      <p:sp>
        <p:nvSpPr>
          <p:cNvPr id="13315" name="Rectangle 1027"/>
          <p:cNvSpPr>
            <a:spLocks noGrp="1" noChangeArrowheads="1"/>
          </p:cNvSpPr>
          <p:nvPr>
            <p:ph type="subTitle" idx="1"/>
          </p:nvPr>
        </p:nvSpPr>
        <p:spPr bwMode="ltGray">
          <a:xfrm>
            <a:off x="1018834" y="3600693"/>
            <a:ext cx="10080491" cy="533848"/>
          </a:xfrm>
        </p:spPr>
        <p:txBody>
          <a:bodyPr wrap="square">
            <a:noAutofit/>
          </a:bodyPr>
          <a:lstStyle>
            <a:lvl1pPr>
              <a:defRPr sz="3469" baseline="0">
                <a:solidFill>
                  <a:schemeClr val="bg1"/>
                </a:solidFill>
                <a:latin typeface="+mj-lt"/>
                <a:ea typeface="+mj-ea"/>
              </a:defRPr>
            </a:lvl1pPr>
          </a:lstStyle>
          <a:p>
            <a:pPr lvl="0"/>
            <a:r>
              <a:rPr lang="nl-NL" noProof="0" dirty="0"/>
              <a:t>Click to edit Master subtitle style</a:t>
            </a:r>
          </a:p>
        </p:txBody>
      </p:sp>
      <p:grpSp>
        <p:nvGrpSpPr>
          <p:cNvPr id="43" name="Group 42">
            <a:extLst>
              <a:ext uri="{FF2B5EF4-FFF2-40B4-BE49-F238E27FC236}">
                <a16:creationId xmlns:a16="http://schemas.microsoft.com/office/drawing/2014/main" id="{3DA9FF67-0D51-4D87-B84D-DE1262962156}"/>
              </a:ext>
            </a:extLst>
          </p:cNvPr>
          <p:cNvGrpSpPr/>
          <p:nvPr userDrawn="1"/>
        </p:nvGrpSpPr>
        <p:grpSpPr bwMode="ltGray">
          <a:xfrm>
            <a:off x="1018835" y="127961"/>
            <a:ext cx="1731533" cy="579869"/>
            <a:chOff x="998538" y="125413"/>
            <a:chExt cx="1697038" cy="568325"/>
          </a:xfrm>
        </p:grpSpPr>
        <p:sp>
          <p:nvSpPr>
            <p:cNvPr id="19" name="Freeform 45">
              <a:extLst>
                <a:ext uri="{FF2B5EF4-FFF2-40B4-BE49-F238E27FC236}">
                  <a16:creationId xmlns:a16="http://schemas.microsoft.com/office/drawing/2014/main" id="{3594579E-4C97-4E6E-B5D9-2035222C075C}"/>
                </a:ext>
              </a:extLst>
            </p:cNvPr>
            <p:cNvSpPr>
              <a:spLocks/>
            </p:cNvSpPr>
            <p:nvPr userDrawn="1"/>
          </p:nvSpPr>
          <p:spPr bwMode="ltGray">
            <a:xfrm>
              <a:off x="1011238" y="125413"/>
              <a:ext cx="211138" cy="236538"/>
            </a:xfrm>
            <a:custGeom>
              <a:avLst/>
              <a:gdLst>
                <a:gd name="T0" fmla="*/ 1125 w 1125"/>
                <a:gd name="T1" fmla="*/ 1148 h 1267"/>
                <a:gd name="T2" fmla="*/ 631 w 1125"/>
                <a:gd name="T3" fmla="*/ 1267 h 1267"/>
                <a:gd name="T4" fmla="*/ 0 w 1125"/>
                <a:gd name="T5" fmla="*/ 639 h 1267"/>
                <a:gd name="T6" fmla="*/ 631 w 1125"/>
                <a:gd name="T7" fmla="*/ 0 h 1267"/>
                <a:gd name="T8" fmla="*/ 1102 w 1125"/>
                <a:gd name="T9" fmla="*/ 152 h 1267"/>
                <a:gd name="T10" fmla="*/ 945 w 1125"/>
                <a:gd name="T11" fmla="*/ 312 h 1267"/>
                <a:gd name="T12" fmla="*/ 633 w 1125"/>
                <a:gd name="T13" fmla="*/ 194 h 1267"/>
                <a:gd name="T14" fmla="*/ 223 w 1125"/>
                <a:gd name="T15" fmla="*/ 625 h 1267"/>
                <a:gd name="T16" fmla="*/ 633 w 1125"/>
                <a:gd name="T17" fmla="*/ 1073 h 1267"/>
                <a:gd name="T18" fmla="*/ 913 w 1125"/>
                <a:gd name="T19" fmla="*/ 1010 h 1267"/>
                <a:gd name="T20" fmla="*/ 913 w 1125"/>
                <a:gd name="T21" fmla="*/ 726 h 1267"/>
                <a:gd name="T22" fmla="*/ 669 w 1125"/>
                <a:gd name="T23" fmla="*/ 726 h 1267"/>
                <a:gd name="T24" fmla="*/ 669 w 1125"/>
                <a:gd name="T25" fmla="*/ 532 h 1267"/>
                <a:gd name="T26" fmla="*/ 1125 w 1125"/>
                <a:gd name="T27" fmla="*/ 532 h 1267"/>
                <a:gd name="T28" fmla="*/ 1125 w 1125"/>
                <a:gd name="T29" fmla="*/ 1148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5" h="1267">
                  <a:moveTo>
                    <a:pt x="1125" y="1148"/>
                  </a:moveTo>
                  <a:cubicBezTo>
                    <a:pt x="981" y="1227"/>
                    <a:pt x="815" y="1267"/>
                    <a:pt x="631" y="1267"/>
                  </a:cubicBezTo>
                  <a:cubicBezTo>
                    <a:pt x="263" y="1267"/>
                    <a:pt x="0" y="1015"/>
                    <a:pt x="0" y="639"/>
                  </a:cubicBezTo>
                  <a:cubicBezTo>
                    <a:pt x="0" y="252"/>
                    <a:pt x="263" y="0"/>
                    <a:pt x="631" y="0"/>
                  </a:cubicBezTo>
                  <a:cubicBezTo>
                    <a:pt x="813" y="0"/>
                    <a:pt x="977" y="39"/>
                    <a:pt x="1102" y="152"/>
                  </a:cubicBezTo>
                  <a:cubicBezTo>
                    <a:pt x="945" y="312"/>
                    <a:pt x="945" y="312"/>
                    <a:pt x="945" y="312"/>
                  </a:cubicBezTo>
                  <a:cubicBezTo>
                    <a:pt x="869" y="237"/>
                    <a:pt x="752" y="194"/>
                    <a:pt x="633" y="194"/>
                  </a:cubicBezTo>
                  <a:cubicBezTo>
                    <a:pt x="387" y="194"/>
                    <a:pt x="223" y="385"/>
                    <a:pt x="223" y="625"/>
                  </a:cubicBezTo>
                  <a:cubicBezTo>
                    <a:pt x="223" y="882"/>
                    <a:pt x="387" y="1073"/>
                    <a:pt x="633" y="1073"/>
                  </a:cubicBezTo>
                  <a:cubicBezTo>
                    <a:pt x="741" y="1073"/>
                    <a:pt x="839" y="1053"/>
                    <a:pt x="913" y="1010"/>
                  </a:cubicBezTo>
                  <a:cubicBezTo>
                    <a:pt x="913" y="726"/>
                    <a:pt x="913" y="726"/>
                    <a:pt x="913" y="726"/>
                  </a:cubicBezTo>
                  <a:cubicBezTo>
                    <a:pt x="669" y="726"/>
                    <a:pt x="669" y="726"/>
                    <a:pt x="669" y="726"/>
                  </a:cubicBezTo>
                  <a:cubicBezTo>
                    <a:pt x="669" y="532"/>
                    <a:pt x="669" y="532"/>
                    <a:pt x="669" y="532"/>
                  </a:cubicBezTo>
                  <a:cubicBezTo>
                    <a:pt x="1125" y="532"/>
                    <a:pt x="1125" y="532"/>
                    <a:pt x="1125" y="532"/>
                  </a:cubicBezTo>
                  <a:lnTo>
                    <a:pt x="1125" y="114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0" name="Freeform 46">
              <a:extLst>
                <a:ext uri="{FF2B5EF4-FFF2-40B4-BE49-F238E27FC236}">
                  <a16:creationId xmlns:a16="http://schemas.microsoft.com/office/drawing/2014/main" id="{F032D30D-15CF-4E12-8402-F1C574D25FE7}"/>
                </a:ext>
              </a:extLst>
            </p:cNvPr>
            <p:cNvSpPr>
              <a:spLocks noEditPoints="1"/>
            </p:cNvSpPr>
            <p:nvPr userDrawn="1"/>
          </p:nvSpPr>
          <p:spPr bwMode="ltGray">
            <a:xfrm>
              <a:off x="1258888" y="200025"/>
              <a:ext cx="155575" cy="160338"/>
            </a:xfrm>
            <a:custGeom>
              <a:avLst/>
              <a:gdLst>
                <a:gd name="T0" fmla="*/ 204 w 825"/>
                <a:gd name="T1" fmla="*/ 501 h 858"/>
                <a:gd name="T2" fmla="*/ 423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4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08" y="695"/>
                    <a:pt x="423"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8"/>
                    <a:pt x="542" y="153"/>
                    <a:pt x="414" y="153"/>
                  </a:cubicBezTo>
                  <a:cubicBezTo>
                    <a:pt x="293"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1" name="Freeform 47">
              <a:extLst>
                <a:ext uri="{FF2B5EF4-FFF2-40B4-BE49-F238E27FC236}">
                  <a16:creationId xmlns:a16="http://schemas.microsoft.com/office/drawing/2014/main" id="{62181A78-9679-473A-A970-452B7964DC86}"/>
                </a:ext>
              </a:extLst>
            </p:cNvPr>
            <p:cNvSpPr>
              <a:spLocks/>
            </p:cNvSpPr>
            <p:nvPr userDrawn="1"/>
          </p:nvSpPr>
          <p:spPr bwMode="ltGray">
            <a:xfrm>
              <a:off x="1447800" y="200025"/>
              <a:ext cx="236538" cy="155575"/>
            </a:xfrm>
            <a:custGeom>
              <a:avLst/>
              <a:gdLst>
                <a:gd name="T0" fmla="*/ 0 w 1259"/>
                <a:gd name="T1" fmla="*/ 20 h 833"/>
                <a:gd name="T2" fmla="*/ 193 w 1259"/>
                <a:gd name="T3" fmla="*/ 20 h 833"/>
                <a:gd name="T4" fmla="*/ 193 w 1259"/>
                <a:gd name="T5" fmla="*/ 148 h 833"/>
                <a:gd name="T6" fmla="*/ 197 w 1259"/>
                <a:gd name="T7" fmla="*/ 148 h 833"/>
                <a:gd name="T8" fmla="*/ 445 w 1259"/>
                <a:gd name="T9" fmla="*/ 0 h 833"/>
                <a:gd name="T10" fmla="*/ 699 w 1259"/>
                <a:gd name="T11" fmla="*/ 151 h 833"/>
                <a:gd name="T12" fmla="*/ 966 w 1259"/>
                <a:gd name="T13" fmla="*/ 0 h 833"/>
                <a:gd name="T14" fmla="*/ 1259 w 1259"/>
                <a:gd name="T15" fmla="*/ 349 h 833"/>
                <a:gd name="T16" fmla="*/ 1259 w 1259"/>
                <a:gd name="T17" fmla="*/ 833 h 833"/>
                <a:gd name="T18" fmla="*/ 1056 w 1259"/>
                <a:gd name="T19" fmla="*/ 833 h 833"/>
                <a:gd name="T20" fmla="*/ 1056 w 1259"/>
                <a:gd name="T21" fmla="*/ 372 h 833"/>
                <a:gd name="T22" fmla="*/ 905 w 1259"/>
                <a:gd name="T23" fmla="*/ 183 h 833"/>
                <a:gd name="T24" fmla="*/ 731 w 1259"/>
                <a:gd name="T25" fmla="*/ 393 h 833"/>
                <a:gd name="T26" fmla="*/ 731 w 1259"/>
                <a:gd name="T27" fmla="*/ 833 h 833"/>
                <a:gd name="T28" fmla="*/ 528 w 1259"/>
                <a:gd name="T29" fmla="*/ 833 h 833"/>
                <a:gd name="T30" fmla="*/ 528 w 1259"/>
                <a:gd name="T31" fmla="*/ 349 h 833"/>
                <a:gd name="T32" fmla="*/ 389 w 1259"/>
                <a:gd name="T33" fmla="*/ 183 h 833"/>
                <a:gd name="T34" fmla="*/ 204 w 1259"/>
                <a:gd name="T35" fmla="*/ 390 h 833"/>
                <a:gd name="T36" fmla="*/ 204 w 1259"/>
                <a:gd name="T37" fmla="*/ 833 h 833"/>
                <a:gd name="T38" fmla="*/ 0 w 1259"/>
                <a:gd name="T39" fmla="*/ 833 h 833"/>
                <a:gd name="T40" fmla="*/ 0 w 1259"/>
                <a:gd name="T41" fmla="*/ 2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9" h="833">
                  <a:moveTo>
                    <a:pt x="0" y="20"/>
                  </a:moveTo>
                  <a:cubicBezTo>
                    <a:pt x="193" y="20"/>
                    <a:pt x="193" y="20"/>
                    <a:pt x="193" y="20"/>
                  </a:cubicBezTo>
                  <a:cubicBezTo>
                    <a:pt x="193" y="148"/>
                    <a:pt x="193" y="148"/>
                    <a:pt x="193" y="148"/>
                  </a:cubicBezTo>
                  <a:cubicBezTo>
                    <a:pt x="197" y="148"/>
                    <a:pt x="197" y="148"/>
                    <a:pt x="197" y="148"/>
                  </a:cubicBezTo>
                  <a:cubicBezTo>
                    <a:pt x="232" y="72"/>
                    <a:pt x="310" y="0"/>
                    <a:pt x="445" y="0"/>
                  </a:cubicBezTo>
                  <a:cubicBezTo>
                    <a:pt x="570" y="0"/>
                    <a:pt x="656" y="49"/>
                    <a:pt x="699" y="151"/>
                  </a:cubicBezTo>
                  <a:cubicBezTo>
                    <a:pt x="758" y="47"/>
                    <a:pt x="844" y="0"/>
                    <a:pt x="966" y="0"/>
                  </a:cubicBezTo>
                  <a:cubicBezTo>
                    <a:pt x="1183" y="0"/>
                    <a:pt x="1259" y="155"/>
                    <a:pt x="1259" y="349"/>
                  </a:cubicBezTo>
                  <a:cubicBezTo>
                    <a:pt x="1259" y="833"/>
                    <a:pt x="1259" y="833"/>
                    <a:pt x="1259" y="833"/>
                  </a:cubicBezTo>
                  <a:cubicBezTo>
                    <a:pt x="1056" y="833"/>
                    <a:pt x="1056" y="833"/>
                    <a:pt x="1056" y="833"/>
                  </a:cubicBezTo>
                  <a:cubicBezTo>
                    <a:pt x="1056" y="372"/>
                    <a:pt x="1056" y="372"/>
                    <a:pt x="1056" y="372"/>
                  </a:cubicBezTo>
                  <a:cubicBezTo>
                    <a:pt x="1056" y="271"/>
                    <a:pt x="1025" y="183"/>
                    <a:pt x="905" y="183"/>
                  </a:cubicBezTo>
                  <a:cubicBezTo>
                    <a:pt x="778" y="183"/>
                    <a:pt x="731" y="288"/>
                    <a:pt x="731" y="393"/>
                  </a:cubicBezTo>
                  <a:cubicBezTo>
                    <a:pt x="731" y="833"/>
                    <a:pt x="731" y="833"/>
                    <a:pt x="731" y="833"/>
                  </a:cubicBezTo>
                  <a:cubicBezTo>
                    <a:pt x="528" y="833"/>
                    <a:pt x="528" y="833"/>
                    <a:pt x="528" y="833"/>
                  </a:cubicBezTo>
                  <a:cubicBezTo>
                    <a:pt x="528" y="349"/>
                    <a:pt x="528" y="349"/>
                    <a:pt x="528" y="349"/>
                  </a:cubicBezTo>
                  <a:cubicBezTo>
                    <a:pt x="528" y="249"/>
                    <a:pt x="487" y="183"/>
                    <a:pt x="389" y="183"/>
                  </a:cubicBezTo>
                  <a:cubicBezTo>
                    <a:pt x="256" y="183"/>
                    <a:pt x="204" y="281"/>
                    <a:pt x="204" y="390"/>
                  </a:cubicBezTo>
                  <a:cubicBezTo>
                    <a:pt x="204" y="833"/>
                    <a:pt x="204" y="833"/>
                    <a:pt x="204" y="833"/>
                  </a:cubicBezTo>
                  <a:cubicBezTo>
                    <a:pt x="0" y="833"/>
                    <a:pt x="0" y="833"/>
                    <a:pt x="0" y="833"/>
                  </a:cubicBezTo>
                  <a:lnTo>
                    <a:pt x="0" y="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2" name="Freeform 48">
              <a:extLst>
                <a:ext uri="{FF2B5EF4-FFF2-40B4-BE49-F238E27FC236}">
                  <a16:creationId xmlns:a16="http://schemas.microsoft.com/office/drawing/2014/main" id="{0C7F4442-2C2D-4A55-8C64-21A57A1756DF}"/>
                </a:ext>
              </a:extLst>
            </p:cNvPr>
            <p:cNvSpPr>
              <a:spLocks noEditPoints="1"/>
            </p:cNvSpPr>
            <p:nvPr userDrawn="1"/>
          </p:nvSpPr>
          <p:spPr bwMode="ltGray">
            <a:xfrm>
              <a:off x="1717675" y="200025"/>
              <a:ext cx="153988" cy="160338"/>
            </a:xfrm>
            <a:custGeom>
              <a:avLst/>
              <a:gdLst>
                <a:gd name="T0" fmla="*/ 204 w 825"/>
                <a:gd name="T1" fmla="*/ 501 h 858"/>
                <a:gd name="T2" fmla="*/ 423 w 825"/>
                <a:gd name="T3" fmla="*/ 695 h 858"/>
                <a:gd name="T4" fmla="*/ 642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5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10" y="695"/>
                    <a:pt x="423" y="695"/>
                  </a:cubicBezTo>
                  <a:cubicBezTo>
                    <a:pt x="525" y="695"/>
                    <a:pt x="591" y="647"/>
                    <a:pt x="642"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8"/>
                    <a:pt x="542" y="153"/>
                    <a:pt x="415" y="153"/>
                  </a:cubicBezTo>
                  <a:cubicBezTo>
                    <a:pt x="294"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3" name="Freeform 49">
              <a:extLst>
                <a:ext uri="{FF2B5EF4-FFF2-40B4-BE49-F238E27FC236}">
                  <a16:creationId xmlns:a16="http://schemas.microsoft.com/office/drawing/2014/main" id="{E708E535-9F33-4B32-AF3A-89677DD5E41B}"/>
                </a:ext>
              </a:extLst>
            </p:cNvPr>
            <p:cNvSpPr>
              <a:spLocks noEditPoints="1"/>
            </p:cNvSpPr>
            <p:nvPr userDrawn="1"/>
          </p:nvSpPr>
          <p:spPr bwMode="ltGray">
            <a:xfrm>
              <a:off x="1900238" y="200025"/>
              <a:ext cx="153988" cy="160338"/>
            </a:xfrm>
            <a:custGeom>
              <a:avLst/>
              <a:gdLst>
                <a:gd name="T0" fmla="*/ 204 w 825"/>
                <a:gd name="T1" fmla="*/ 501 h 858"/>
                <a:gd name="T2" fmla="*/ 422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4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08" y="695"/>
                    <a:pt x="422"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19" y="228"/>
                    <a:pt x="542" y="153"/>
                    <a:pt x="414" y="153"/>
                  </a:cubicBezTo>
                  <a:cubicBezTo>
                    <a:pt x="293"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4" name="Freeform 50">
              <a:extLst>
                <a:ext uri="{FF2B5EF4-FFF2-40B4-BE49-F238E27FC236}">
                  <a16:creationId xmlns:a16="http://schemas.microsoft.com/office/drawing/2014/main" id="{8850C9E0-7F66-4B6F-A5E3-B030EA899A8C}"/>
                </a:ext>
              </a:extLst>
            </p:cNvPr>
            <p:cNvSpPr>
              <a:spLocks/>
            </p:cNvSpPr>
            <p:nvPr userDrawn="1"/>
          </p:nvSpPr>
          <p:spPr bwMode="ltGray">
            <a:xfrm>
              <a:off x="2089150" y="200025"/>
              <a:ext cx="139700" cy="155575"/>
            </a:xfrm>
            <a:custGeom>
              <a:avLst/>
              <a:gdLst>
                <a:gd name="T0" fmla="*/ 0 w 750"/>
                <a:gd name="T1" fmla="*/ 20 h 833"/>
                <a:gd name="T2" fmla="*/ 195 w 750"/>
                <a:gd name="T3" fmla="*/ 20 h 833"/>
                <a:gd name="T4" fmla="*/ 195 w 750"/>
                <a:gd name="T5" fmla="*/ 151 h 833"/>
                <a:gd name="T6" fmla="*/ 199 w 750"/>
                <a:gd name="T7" fmla="*/ 151 h 833"/>
                <a:gd name="T8" fmla="*/ 450 w 750"/>
                <a:gd name="T9" fmla="*/ 0 h 833"/>
                <a:gd name="T10" fmla="*/ 750 w 750"/>
                <a:gd name="T11" fmla="*/ 320 h 833"/>
                <a:gd name="T12" fmla="*/ 750 w 750"/>
                <a:gd name="T13" fmla="*/ 833 h 833"/>
                <a:gd name="T14" fmla="*/ 545 w 750"/>
                <a:gd name="T15" fmla="*/ 833 h 833"/>
                <a:gd name="T16" fmla="*/ 545 w 750"/>
                <a:gd name="T17" fmla="*/ 421 h 833"/>
                <a:gd name="T18" fmla="*/ 394 w 750"/>
                <a:gd name="T19" fmla="*/ 183 h 833"/>
                <a:gd name="T20" fmla="*/ 206 w 750"/>
                <a:gd name="T21" fmla="*/ 390 h 833"/>
                <a:gd name="T22" fmla="*/ 206 w 750"/>
                <a:gd name="T23" fmla="*/ 833 h 833"/>
                <a:gd name="T24" fmla="*/ 0 w 750"/>
                <a:gd name="T25" fmla="*/ 833 h 833"/>
                <a:gd name="T26" fmla="*/ 0 w 750"/>
                <a:gd name="T27" fmla="*/ 2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0" h="833">
                  <a:moveTo>
                    <a:pt x="0" y="20"/>
                  </a:moveTo>
                  <a:cubicBezTo>
                    <a:pt x="195" y="20"/>
                    <a:pt x="195" y="20"/>
                    <a:pt x="195" y="20"/>
                  </a:cubicBezTo>
                  <a:cubicBezTo>
                    <a:pt x="195" y="151"/>
                    <a:pt x="195" y="151"/>
                    <a:pt x="195" y="151"/>
                  </a:cubicBezTo>
                  <a:cubicBezTo>
                    <a:pt x="199" y="151"/>
                    <a:pt x="199" y="151"/>
                    <a:pt x="199" y="151"/>
                  </a:cubicBezTo>
                  <a:cubicBezTo>
                    <a:pt x="237" y="69"/>
                    <a:pt x="313" y="0"/>
                    <a:pt x="450" y="0"/>
                  </a:cubicBezTo>
                  <a:cubicBezTo>
                    <a:pt x="671" y="0"/>
                    <a:pt x="750" y="155"/>
                    <a:pt x="750" y="320"/>
                  </a:cubicBezTo>
                  <a:cubicBezTo>
                    <a:pt x="750" y="833"/>
                    <a:pt x="750" y="833"/>
                    <a:pt x="750" y="833"/>
                  </a:cubicBezTo>
                  <a:cubicBezTo>
                    <a:pt x="545" y="833"/>
                    <a:pt x="545" y="833"/>
                    <a:pt x="545" y="833"/>
                  </a:cubicBezTo>
                  <a:cubicBezTo>
                    <a:pt x="545" y="421"/>
                    <a:pt x="545" y="421"/>
                    <a:pt x="545" y="421"/>
                  </a:cubicBezTo>
                  <a:cubicBezTo>
                    <a:pt x="545" y="333"/>
                    <a:pt x="538" y="183"/>
                    <a:pt x="394" y="183"/>
                  </a:cubicBezTo>
                  <a:cubicBezTo>
                    <a:pt x="259" y="183"/>
                    <a:pt x="206" y="281"/>
                    <a:pt x="206" y="390"/>
                  </a:cubicBezTo>
                  <a:cubicBezTo>
                    <a:pt x="206" y="833"/>
                    <a:pt x="206" y="833"/>
                    <a:pt x="206" y="833"/>
                  </a:cubicBezTo>
                  <a:cubicBezTo>
                    <a:pt x="0" y="833"/>
                    <a:pt x="0" y="833"/>
                    <a:pt x="0" y="833"/>
                  </a:cubicBezTo>
                  <a:lnTo>
                    <a:pt x="0" y="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5" name="Freeform 51">
              <a:extLst>
                <a:ext uri="{FF2B5EF4-FFF2-40B4-BE49-F238E27FC236}">
                  <a16:creationId xmlns:a16="http://schemas.microsoft.com/office/drawing/2014/main" id="{5E7243FB-D22C-4780-A2BD-2B0FE0EBDE84}"/>
                </a:ext>
              </a:extLst>
            </p:cNvPr>
            <p:cNvSpPr>
              <a:spLocks/>
            </p:cNvSpPr>
            <p:nvPr userDrawn="1"/>
          </p:nvSpPr>
          <p:spPr bwMode="ltGray">
            <a:xfrm>
              <a:off x="2254250" y="158750"/>
              <a:ext cx="111125" cy="201613"/>
            </a:xfrm>
            <a:custGeom>
              <a:avLst/>
              <a:gdLst>
                <a:gd name="T0" fmla="*/ 0 w 591"/>
                <a:gd name="T1" fmla="*/ 411 h 1075"/>
                <a:gd name="T2" fmla="*/ 0 w 591"/>
                <a:gd name="T3" fmla="*/ 237 h 1075"/>
                <a:gd name="T4" fmla="*/ 166 w 591"/>
                <a:gd name="T5" fmla="*/ 237 h 1075"/>
                <a:gd name="T6" fmla="*/ 166 w 591"/>
                <a:gd name="T7" fmla="*/ 0 h 1075"/>
                <a:gd name="T8" fmla="*/ 369 w 591"/>
                <a:gd name="T9" fmla="*/ 0 h 1075"/>
                <a:gd name="T10" fmla="*/ 369 w 591"/>
                <a:gd name="T11" fmla="*/ 237 h 1075"/>
                <a:gd name="T12" fmla="*/ 591 w 591"/>
                <a:gd name="T13" fmla="*/ 237 h 1075"/>
                <a:gd name="T14" fmla="*/ 591 w 591"/>
                <a:gd name="T15" fmla="*/ 411 h 1075"/>
                <a:gd name="T16" fmla="*/ 369 w 591"/>
                <a:gd name="T17" fmla="*/ 411 h 1075"/>
                <a:gd name="T18" fmla="*/ 369 w 591"/>
                <a:gd name="T19" fmla="*/ 769 h 1075"/>
                <a:gd name="T20" fmla="*/ 482 w 591"/>
                <a:gd name="T21" fmla="*/ 901 h 1075"/>
                <a:gd name="T22" fmla="*/ 591 w 591"/>
                <a:gd name="T23" fmla="*/ 876 h 1075"/>
                <a:gd name="T24" fmla="*/ 591 w 591"/>
                <a:gd name="T25" fmla="*/ 1048 h 1075"/>
                <a:gd name="T26" fmla="*/ 432 w 591"/>
                <a:gd name="T27" fmla="*/ 1075 h 1075"/>
                <a:gd name="T28" fmla="*/ 166 w 591"/>
                <a:gd name="T29" fmla="*/ 786 h 1075"/>
                <a:gd name="T30" fmla="*/ 166 w 591"/>
                <a:gd name="T31" fmla="*/ 411 h 1075"/>
                <a:gd name="T32" fmla="*/ 0 w 591"/>
                <a:gd name="T33" fmla="*/ 411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1" h="1075">
                  <a:moveTo>
                    <a:pt x="0" y="411"/>
                  </a:moveTo>
                  <a:cubicBezTo>
                    <a:pt x="0" y="237"/>
                    <a:pt x="0" y="237"/>
                    <a:pt x="0" y="237"/>
                  </a:cubicBezTo>
                  <a:cubicBezTo>
                    <a:pt x="166" y="237"/>
                    <a:pt x="166" y="237"/>
                    <a:pt x="166" y="237"/>
                  </a:cubicBezTo>
                  <a:cubicBezTo>
                    <a:pt x="166" y="0"/>
                    <a:pt x="166" y="0"/>
                    <a:pt x="166" y="0"/>
                  </a:cubicBezTo>
                  <a:cubicBezTo>
                    <a:pt x="369" y="0"/>
                    <a:pt x="369" y="0"/>
                    <a:pt x="369" y="0"/>
                  </a:cubicBezTo>
                  <a:cubicBezTo>
                    <a:pt x="369" y="237"/>
                    <a:pt x="369" y="237"/>
                    <a:pt x="369" y="237"/>
                  </a:cubicBezTo>
                  <a:cubicBezTo>
                    <a:pt x="591" y="237"/>
                    <a:pt x="591" y="237"/>
                    <a:pt x="591" y="237"/>
                  </a:cubicBezTo>
                  <a:cubicBezTo>
                    <a:pt x="591" y="411"/>
                    <a:pt x="591" y="411"/>
                    <a:pt x="591" y="411"/>
                  </a:cubicBezTo>
                  <a:cubicBezTo>
                    <a:pt x="369" y="411"/>
                    <a:pt x="369" y="411"/>
                    <a:pt x="369" y="411"/>
                  </a:cubicBezTo>
                  <a:cubicBezTo>
                    <a:pt x="369" y="769"/>
                    <a:pt x="369" y="769"/>
                    <a:pt x="369" y="769"/>
                  </a:cubicBezTo>
                  <a:cubicBezTo>
                    <a:pt x="369" y="851"/>
                    <a:pt x="392" y="901"/>
                    <a:pt x="482" y="901"/>
                  </a:cubicBezTo>
                  <a:cubicBezTo>
                    <a:pt x="517" y="901"/>
                    <a:pt x="566" y="894"/>
                    <a:pt x="591" y="876"/>
                  </a:cubicBezTo>
                  <a:cubicBezTo>
                    <a:pt x="591" y="1048"/>
                    <a:pt x="591" y="1048"/>
                    <a:pt x="591" y="1048"/>
                  </a:cubicBezTo>
                  <a:cubicBezTo>
                    <a:pt x="550" y="1068"/>
                    <a:pt x="478" y="1075"/>
                    <a:pt x="432" y="1075"/>
                  </a:cubicBezTo>
                  <a:cubicBezTo>
                    <a:pt x="216" y="1075"/>
                    <a:pt x="166" y="978"/>
                    <a:pt x="166" y="786"/>
                  </a:cubicBezTo>
                  <a:cubicBezTo>
                    <a:pt x="166" y="411"/>
                    <a:pt x="166" y="411"/>
                    <a:pt x="166" y="411"/>
                  </a:cubicBezTo>
                  <a:lnTo>
                    <a:pt x="0" y="41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6" name="Freeform 52">
              <a:extLst>
                <a:ext uri="{FF2B5EF4-FFF2-40B4-BE49-F238E27FC236}">
                  <a16:creationId xmlns:a16="http://schemas.microsoft.com/office/drawing/2014/main" id="{6E9E2EC8-D504-4CF1-B77E-DDBDE4017BF5}"/>
                </a:ext>
              </a:extLst>
            </p:cNvPr>
            <p:cNvSpPr>
              <a:spLocks noEditPoints="1"/>
            </p:cNvSpPr>
            <p:nvPr userDrawn="1"/>
          </p:nvSpPr>
          <p:spPr bwMode="ltGray">
            <a:xfrm>
              <a:off x="2387600" y="200025"/>
              <a:ext cx="155575" cy="160338"/>
            </a:xfrm>
            <a:custGeom>
              <a:avLst/>
              <a:gdLst>
                <a:gd name="T0" fmla="*/ 203 w 825"/>
                <a:gd name="T1" fmla="*/ 501 h 858"/>
                <a:gd name="T2" fmla="*/ 422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3 w 825"/>
                <a:gd name="T19" fmla="*/ 501 h 858"/>
                <a:gd name="T20" fmla="*/ 622 w 825"/>
                <a:gd name="T21" fmla="*/ 347 h 858"/>
                <a:gd name="T22" fmla="*/ 414 w 825"/>
                <a:gd name="T23" fmla="*/ 153 h 858"/>
                <a:gd name="T24" fmla="*/ 203 w 825"/>
                <a:gd name="T25" fmla="*/ 347 h 858"/>
                <a:gd name="T26" fmla="*/ 622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3" y="501"/>
                  </a:moveTo>
                  <a:cubicBezTo>
                    <a:pt x="217" y="621"/>
                    <a:pt x="309" y="695"/>
                    <a:pt x="422"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1" y="0"/>
                    <a:pt x="825" y="160"/>
                    <a:pt x="825" y="445"/>
                  </a:cubicBezTo>
                  <a:cubicBezTo>
                    <a:pt x="825" y="501"/>
                    <a:pt x="825" y="501"/>
                    <a:pt x="825" y="501"/>
                  </a:cubicBezTo>
                  <a:lnTo>
                    <a:pt x="203" y="501"/>
                  </a:lnTo>
                  <a:close/>
                  <a:moveTo>
                    <a:pt x="622" y="347"/>
                  </a:moveTo>
                  <a:cubicBezTo>
                    <a:pt x="619" y="228"/>
                    <a:pt x="542" y="153"/>
                    <a:pt x="414" y="153"/>
                  </a:cubicBezTo>
                  <a:cubicBezTo>
                    <a:pt x="293" y="153"/>
                    <a:pt x="218" y="229"/>
                    <a:pt x="203" y="347"/>
                  </a:cubicBezTo>
                  <a:lnTo>
                    <a:pt x="622"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7" name="Freeform 53">
              <a:extLst>
                <a:ext uri="{FF2B5EF4-FFF2-40B4-BE49-F238E27FC236}">
                  <a16:creationId xmlns:a16="http://schemas.microsoft.com/office/drawing/2014/main" id="{8A66AFFE-C1AF-4BF3-961F-5537D56D006C}"/>
                </a:ext>
              </a:extLst>
            </p:cNvPr>
            <p:cNvSpPr>
              <a:spLocks noEditPoints="1"/>
            </p:cNvSpPr>
            <p:nvPr userDrawn="1"/>
          </p:nvSpPr>
          <p:spPr bwMode="ltGray">
            <a:xfrm>
              <a:off x="998538" y="465138"/>
              <a:ext cx="228600" cy="225425"/>
            </a:xfrm>
            <a:custGeom>
              <a:avLst/>
              <a:gdLst>
                <a:gd name="T0" fmla="*/ 61 w 144"/>
                <a:gd name="T1" fmla="*/ 0 h 142"/>
                <a:gd name="T2" fmla="*/ 83 w 144"/>
                <a:gd name="T3" fmla="*/ 0 h 142"/>
                <a:gd name="T4" fmla="*/ 144 w 144"/>
                <a:gd name="T5" fmla="*/ 142 h 142"/>
                <a:gd name="T6" fmla="*/ 115 w 144"/>
                <a:gd name="T7" fmla="*/ 142 h 142"/>
                <a:gd name="T8" fmla="*/ 103 w 144"/>
                <a:gd name="T9" fmla="*/ 109 h 142"/>
                <a:gd name="T10" fmla="*/ 41 w 144"/>
                <a:gd name="T11" fmla="*/ 109 h 142"/>
                <a:gd name="T12" fmla="*/ 28 w 144"/>
                <a:gd name="T13" fmla="*/ 142 h 142"/>
                <a:gd name="T14" fmla="*/ 0 w 144"/>
                <a:gd name="T15" fmla="*/ 142 h 142"/>
                <a:gd name="T16" fmla="*/ 61 w 144"/>
                <a:gd name="T17" fmla="*/ 0 h 142"/>
                <a:gd name="T18" fmla="*/ 94 w 144"/>
                <a:gd name="T19" fmla="*/ 88 h 142"/>
                <a:gd name="T20" fmla="*/ 72 w 144"/>
                <a:gd name="T21" fmla="*/ 30 h 142"/>
                <a:gd name="T22" fmla="*/ 50 w 144"/>
                <a:gd name="T23" fmla="*/ 88 h 142"/>
                <a:gd name="T24" fmla="*/ 94 w 144"/>
                <a:gd name="T25" fmla="*/ 8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42">
                  <a:moveTo>
                    <a:pt x="61" y="0"/>
                  </a:moveTo>
                  <a:lnTo>
                    <a:pt x="83" y="0"/>
                  </a:lnTo>
                  <a:lnTo>
                    <a:pt x="144" y="142"/>
                  </a:lnTo>
                  <a:lnTo>
                    <a:pt x="115" y="142"/>
                  </a:lnTo>
                  <a:lnTo>
                    <a:pt x="103" y="109"/>
                  </a:lnTo>
                  <a:lnTo>
                    <a:pt x="41" y="109"/>
                  </a:lnTo>
                  <a:lnTo>
                    <a:pt x="28" y="142"/>
                  </a:lnTo>
                  <a:lnTo>
                    <a:pt x="0" y="142"/>
                  </a:lnTo>
                  <a:lnTo>
                    <a:pt x="61" y="0"/>
                  </a:lnTo>
                  <a:close/>
                  <a:moveTo>
                    <a:pt x="94" y="88"/>
                  </a:moveTo>
                  <a:lnTo>
                    <a:pt x="72" y="30"/>
                  </a:lnTo>
                  <a:lnTo>
                    <a:pt x="50" y="88"/>
                  </a:lnTo>
                  <a:lnTo>
                    <a:pt x="94" y="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8" name="Freeform 54">
              <a:extLst>
                <a:ext uri="{FF2B5EF4-FFF2-40B4-BE49-F238E27FC236}">
                  <a16:creationId xmlns:a16="http://schemas.microsoft.com/office/drawing/2014/main" id="{EC606987-D892-4CD1-9A72-6B9C2DC29614}"/>
                </a:ext>
              </a:extLst>
            </p:cNvPr>
            <p:cNvSpPr>
              <a:spLocks/>
            </p:cNvSpPr>
            <p:nvPr userDrawn="1"/>
          </p:nvSpPr>
          <p:spPr bwMode="ltGray">
            <a:xfrm>
              <a:off x="1247775" y="533400"/>
              <a:ext cx="236538" cy="157163"/>
            </a:xfrm>
            <a:custGeom>
              <a:avLst/>
              <a:gdLst>
                <a:gd name="T0" fmla="*/ 0 w 1267"/>
                <a:gd name="T1" fmla="*/ 21 h 842"/>
                <a:gd name="T2" fmla="*/ 194 w 1267"/>
                <a:gd name="T3" fmla="*/ 21 h 842"/>
                <a:gd name="T4" fmla="*/ 194 w 1267"/>
                <a:gd name="T5" fmla="*/ 149 h 842"/>
                <a:gd name="T6" fmla="*/ 198 w 1267"/>
                <a:gd name="T7" fmla="*/ 149 h 842"/>
                <a:gd name="T8" fmla="*/ 448 w 1267"/>
                <a:gd name="T9" fmla="*/ 0 h 842"/>
                <a:gd name="T10" fmla="*/ 704 w 1267"/>
                <a:gd name="T11" fmla="*/ 153 h 842"/>
                <a:gd name="T12" fmla="*/ 972 w 1267"/>
                <a:gd name="T13" fmla="*/ 0 h 842"/>
                <a:gd name="T14" fmla="*/ 1267 w 1267"/>
                <a:gd name="T15" fmla="*/ 352 h 842"/>
                <a:gd name="T16" fmla="*/ 1267 w 1267"/>
                <a:gd name="T17" fmla="*/ 842 h 842"/>
                <a:gd name="T18" fmla="*/ 1063 w 1267"/>
                <a:gd name="T19" fmla="*/ 842 h 842"/>
                <a:gd name="T20" fmla="*/ 1063 w 1267"/>
                <a:gd name="T21" fmla="*/ 377 h 842"/>
                <a:gd name="T22" fmla="*/ 911 w 1267"/>
                <a:gd name="T23" fmla="*/ 185 h 842"/>
                <a:gd name="T24" fmla="*/ 736 w 1267"/>
                <a:gd name="T25" fmla="*/ 397 h 842"/>
                <a:gd name="T26" fmla="*/ 736 w 1267"/>
                <a:gd name="T27" fmla="*/ 842 h 842"/>
                <a:gd name="T28" fmla="*/ 532 w 1267"/>
                <a:gd name="T29" fmla="*/ 842 h 842"/>
                <a:gd name="T30" fmla="*/ 532 w 1267"/>
                <a:gd name="T31" fmla="*/ 352 h 842"/>
                <a:gd name="T32" fmla="*/ 392 w 1267"/>
                <a:gd name="T33" fmla="*/ 185 h 842"/>
                <a:gd name="T34" fmla="*/ 205 w 1267"/>
                <a:gd name="T35" fmla="*/ 394 h 842"/>
                <a:gd name="T36" fmla="*/ 205 w 1267"/>
                <a:gd name="T37" fmla="*/ 842 h 842"/>
                <a:gd name="T38" fmla="*/ 0 w 1267"/>
                <a:gd name="T39" fmla="*/ 842 h 842"/>
                <a:gd name="T40" fmla="*/ 0 w 1267"/>
                <a:gd name="T41"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7" h="842">
                  <a:moveTo>
                    <a:pt x="0" y="21"/>
                  </a:moveTo>
                  <a:cubicBezTo>
                    <a:pt x="194" y="21"/>
                    <a:pt x="194" y="21"/>
                    <a:pt x="194" y="21"/>
                  </a:cubicBezTo>
                  <a:cubicBezTo>
                    <a:pt x="194" y="149"/>
                    <a:pt x="194" y="149"/>
                    <a:pt x="194" y="149"/>
                  </a:cubicBezTo>
                  <a:cubicBezTo>
                    <a:pt x="198" y="149"/>
                    <a:pt x="198" y="149"/>
                    <a:pt x="198" y="149"/>
                  </a:cubicBezTo>
                  <a:cubicBezTo>
                    <a:pt x="234" y="72"/>
                    <a:pt x="312" y="0"/>
                    <a:pt x="448" y="0"/>
                  </a:cubicBezTo>
                  <a:cubicBezTo>
                    <a:pt x="574" y="0"/>
                    <a:pt x="661" y="50"/>
                    <a:pt x="704" y="153"/>
                  </a:cubicBezTo>
                  <a:cubicBezTo>
                    <a:pt x="763" y="48"/>
                    <a:pt x="850" y="0"/>
                    <a:pt x="972" y="0"/>
                  </a:cubicBezTo>
                  <a:cubicBezTo>
                    <a:pt x="1191" y="0"/>
                    <a:pt x="1267" y="156"/>
                    <a:pt x="1267" y="352"/>
                  </a:cubicBezTo>
                  <a:cubicBezTo>
                    <a:pt x="1267" y="842"/>
                    <a:pt x="1267" y="842"/>
                    <a:pt x="1267" y="842"/>
                  </a:cubicBezTo>
                  <a:cubicBezTo>
                    <a:pt x="1063" y="842"/>
                    <a:pt x="1063" y="842"/>
                    <a:pt x="1063" y="842"/>
                  </a:cubicBezTo>
                  <a:cubicBezTo>
                    <a:pt x="1063" y="377"/>
                    <a:pt x="1063" y="377"/>
                    <a:pt x="1063" y="377"/>
                  </a:cubicBezTo>
                  <a:cubicBezTo>
                    <a:pt x="1063" y="274"/>
                    <a:pt x="1032" y="185"/>
                    <a:pt x="911" y="185"/>
                  </a:cubicBezTo>
                  <a:cubicBezTo>
                    <a:pt x="784" y="185"/>
                    <a:pt x="736" y="291"/>
                    <a:pt x="736" y="397"/>
                  </a:cubicBezTo>
                  <a:cubicBezTo>
                    <a:pt x="736" y="842"/>
                    <a:pt x="736" y="842"/>
                    <a:pt x="736" y="842"/>
                  </a:cubicBezTo>
                  <a:cubicBezTo>
                    <a:pt x="532" y="842"/>
                    <a:pt x="532" y="842"/>
                    <a:pt x="532" y="842"/>
                  </a:cubicBezTo>
                  <a:cubicBezTo>
                    <a:pt x="532" y="352"/>
                    <a:pt x="532" y="352"/>
                    <a:pt x="532" y="352"/>
                  </a:cubicBezTo>
                  <a:cubicBezTo>
                    <a:pt x="532" y="252"/>
                    <a:pt x="490" y="185"/>
                    <a:pt x="392" y="185"/>
                  </a:cubicBezTo>
                  <a:cubicBezTo>
                    <a:pt x="258" y="185"/>
                    <a:pt x="205" y="284"/>
                    <a:pt x="205" y="394"/>
                  </a:cubicBezTo>
                  <a:cubicBezTo>
                    <a:pt x="205" y="842"/>
                    <a:pt x="205" y="842"/>
                    <a:pt x="205"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9" name="Freeform 55">
              <a:extLst>
                <a:ext uri="{FF2B5EF4-FFF2-40B4-BE49-F238E27FC236}">
                  <a16:creationId xmlns:a16="http://schemas.microsoft.com/office/drawing/2014/main" id="{938EECDB-9B08-44D8-9CAE-92D9483255BB}"/>
                </a:ext>
              </a:extLst>
            </p:cNvPr>
            <p:cNvSpPr>
              <a:spLocks/>
            </p:cNvSpPr>
            <p:nvPr userDrawn="1"/>
          </p:nvSpPr>
          <p:spPr bwMode="ltGray">
            <a:xfrm>
              <a:off x="1512888" y="533400"/>
              <a:ext cx="123825" cy="160338"/>
            </a:xfrm>
            <a:custGeom>
              <a:avLst/>
              <a:gdLst>
                <a:gd name="T0" fmla="*/ 507 w 667"/>
                <a:gd name="T1" fmla="*/ 247 h 859"/>
                <a:gd name="T2" fmla="*/ 348 w 667"/>
                <a:gd name="T3" fmla="*/ 164 h 859"/>
                <a:gd name="T4" fmla="*/ 228 w 667"/>
                <a:gd name="T5" fmla="*/ 251 h 859"/>
                <a:gd name="T6" fmla="*/ 667 w 667"/>
                <a:gd name="T7" fmla="*/ 597 h 859"/>
                <a:gd name="T8" fmla="*/ 317 w 667"/>
                <a:gd name="T9" fmla="*/ 859 h 859"/>
                <a:gd name="T10" fmla="*/ 0 w 667"/>
                <a:gd name="T11" fmla="*/ 733 h 859"/>
                <a:gd name="T12" fmla="*/ 136 w 667"/>
                <a:gd name="T13" fmla="*/ 605 h 859"/>
                <a:gd name="T14" fmla="*/ 329 w 667"/>
                <a:gd name="T15" fmla="*/ 706 h 859"/>
                <a:gd name="T16" fmla="*/ 464 w 667"/>
                <a:gd name="T17" fmla="*/ 612 h 859"/>
                <a:gd name="T18" fmla="*/ 25 w 667"/>
                <a:gd name="T19" fmla="*/ 264 h 859"/>
                <a:gd name="T20" fmla="*/ 352 w 667"/>
                <a:gd name="T21" fmla="*/ 0 h 859"/>
                <a:gd name="T22" fmla="*/ 642 w 667"/>
                <a:gd name="T23" fmla="*/ 125 h 859"/>
                <a:gd name="T24" fmla="*/ 507 w 667"/>
                <a:gd name="T25" fmla="*/ 2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7" h="859">
                  <a:moveTo>
                    <a:pt x="507" y="247"/>
                  </a:moveTo>
                  <a:cubicBezTo>
                    <a:pt x="467" y="193"/>
                    <a:pt x="417" y="164"/>
                    <a:pt x="348" y="164"/>
                  </a:cubicBezTo>
                  <a:cubicBezTo>
                    <a:pt x="293" y="164"/>
                    <a:pt x="228" y="190"/>
                    <a:pt x="228" y="251"/>
                  </a:cubicBezTo>
                  <a:cubicBezTo>
                    <a:pt x="228" y="397"/>
                    <a:pt x="667" y="278"/>
                    <a:pt x="667" y="597"/>
                  </a:cubicBezTo>
                  <a:cubicBezTo>
                    <a:pt x="667" y="791"/>
                    <a:pt x="483" y="859"/>
                    <a:pt x="317" y="859"/>
                  </a:cubicBezTo>
                  <a:cubicBezTo>
                    <a:pt x="191" y="859"/>
                    <a:pt x="83" y="826"/>
                    <a:pt x="0" y="733"/>
                  </a:cubicBezTo>
                  <a:cubicBezTo>
                    <a:pt x="136" y="605"/>
                    <a:pt x="136" y="605"/>
                    <a:pt x="136" y="605"/>
                  </a:cubicBezTo>
                  <a:cubicBezTo>
                    <a:pt x="188" y="662"/>
                    <a:pt x="242" y="706"/>
                    <a:pt x="329" y="706"/>
                  </a:cubicBezTo>
                  <a:cubicBezTo>
                    <a:pt x="387" y="706"/>
                    <a:pt x="464" y="677"/>
                    <a:pt x="464" y="612"/>
                  </a:cubicBezTo>
                  <a:cubicBezTo>
                    <a:pt x="464" y="443"/>
                    <a:pt x="25" y="575"/>
                    <a:pt x="25" y="264"/>
                  </a:cubicBezTo>
                  <a:cubicBezTo>
                    <a:pt x="25" y="82"/>
                    <a:pt x="188" y="0"/>
                    <a:pt x="352" y="0"/>
                  </a:cubicBezTo>
                  <a:cubicBezTo>
                    <a:pt x="461" y="0"/>
                    <a:pt x="576" y="35"/>
                    <a:pt x="642" y="125"/>
                  </a:cubicBezTo>
                  <a:lnTo>
                    <a:pt x="507" y="2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0" name="Freeform 56">
              <a:extLst>
                <a:ext uri="{FF2B5EF4-FFF2-40B4-BE49-F238E27FC236}">
                  <a16:creationId xmlns:a16="http://schemas.microsoft.com/office/drawing/2014/main" id="{201C2FD4-4458-4C08-B319-3082B6BC5FFC}"/>
                </a:ext>
              </a:extLst>
            </p:cNvPr>
            <p:cNvSpPr>
              <a:spLocks/>
            </p:cNvSpPr>
            <p:nvPr userDrawn="1"/>
          </p:nvSpPr>
          <p:spPr bwMode="ltGray">
            <a:xfrm>
              <a:off x="1647825" y="493713"/>
              <a:ext cx="112713" cy="200025"/>
            </a:xfrm>
            <a:custGeom>
              <a:avLst/>
              <a:gdLst>
                <a:gd name="T0" fmla="*/ 0 w 600"/>
                <a:gd name="T1" fmla="*/ 407 h 1067"/>
                <a:gd name="T2" fmla="*/ 0 w 600"/>
                <a:gd name="T3" fmla="*/ 235 h 1067"/>
                <a:gd name="T4" fmla="*/ 169 w 600"/>
                <a:gd name="T5" fmla="*/ 235 h 1067"/>
                <a:gd name="T6" fmla="*/ 169 w 600"/>
                <a:gd name="T7" fmla="*/ 0 h 1067"/>
                <a:gd name="T8" fmla="*/ 374 w 600"/>
                <a:gd name="T9" fmla="*/ 0 h 1067"/>
                <a:gd name="T10" fmla="*/ 374 w 600"/>
                <a:gd name="T11" fmla="*/ 235 h 1067"/>
                <a:gd name="T12" fmla="*/ 600 w 600"/>
                <a:gd name="T13" fmla="*/ 235 h 1067"/>
                <a:gd name="T14" fmla="*/ 600 w 600"/>
                <a:gd name="T15" fmla="*/ 407 h 1067"/>
                <a:gd name="T16" fmla="*/ 374 w 600"/>
                <a:gd name="T17" fmla="*/ 407 h 1067"/>
                <a:gd name="T18" fmla="*/ 374 w 600"/>
                <a:gd name="T19" fmla="*/ 762 h 1067"/>
                <a:gd name="T20" fmla="*/ 488 w 600"/>
                <a:gd name="T21" fmla="*/ 894 h 1067"/>
                <a:gd name="T22" fmla="*/ 600 w 600"/>
                <a:gd name="T23" fmla="*/ 868 h 1067"/>
                <a:gd name="T24" fmla="*/ 600 w 600"/>
                <a:gd name="T25" fmla="*/ 1040 h 1067"/>
                <a:gd name="T26" fmla="*/ 437 w 600"/>
                <a:gd name="T27" fmla="*/ 1067 h 1067"/>
                <a:gd name="T28" fmla="*/ 169 w 600"/>
                <a:gd name="T29" fmla="*/ 780 h 1067"/>
                <a:gd name="T30" fmla="*/ 169 w 600"/>
                <a:gd name="T31" fmla="*/ 407 h 1067"/>
                <a:gd name="T32" fmla="*/ 0 w 600"/>
                <a:gd name="T33" fmla="*/ 40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0" h="1067">
                  <a:moveTo>
                    <a:pt x="0" y="407"/>
                  </a:moveTo>
                  <a:cubicBezTo>
                    <a:pt x="0" y="235"/>
                    <a:pt x="0" y="235"/>
                    <a:pt x="0" y="235"/>
                  </a:cubicBezTo>
                  <a:cubicBezTo>
                    <a:pt x="169" y="235"/>
                    <a:pt x="169" y="235"/>
                    <a:pt x="169" y="235"/>
                  </a:cubicBezTo>
                  <a:cubicBezTo>
                    <a:pt x="169" y="0"/>
                    <a:pt x="169" y="0"/>
                    <a:pt x="169" y="0"/>
                  </a:cubicBezTo>
                  <a:cubicBezTo>
                    <a:pt x="374" y="0"/>
                    <a:pt x="374" y="0"/>
                    <a:pt x="374" y="0"/>
                  </a:cubicBezTo>
                  <a:cubicBezTo>
                    <a:pt x="374" y="235"/>
                    <a:pt x="374" y="235"/>
                    <a:pt x="374" y="235"/>
                  </a:cubicBezTo>
                  <a:cubicBezTo>
                    <a:pt x="600" y="235"/>
                    <a:pt x="600" y="235"/>
                    <a:pt x="600" y="235"/>
                  </a:cubicBezTo>
                  <a:cubicBezTo>
                    <a:pt x="600" y="407"/>
                    <a:pt x="600" y="407"/>
                    <a:pt x="600" y="407"/>
                  </a:cubicBezTo>
                  <a:cubicBezTo>
                    <a:pt x="374" y="407"/>
                    <a:pt x="374" y="407"/>
                    <a:pt x="374" y="407"/>
                  </a:cubicBezTo>
                  <a:cubicBezTo>
                    <a:pt x="374" y="762"/>
                    <a:pt x="374" y="762"/>
                    <a:pt x="374" y="762"/>
                  </a:cubicBezTo>
                  <a:cubicBezTo>
                    <a:pt x="374" y="844"/>
                    <a:pt x="399" y="894"/>
                    <a:pt x="488" y="894"/>
                  </a:cubicBezTo>
                  <a:cubicBezTo>
                    <a:pt x="525" y="894"/>
                    <a:pt x="574" y="887"/>
                    <a:pt x="600" y="868"/>
                  </a:cubicBezTo>
                  <a:cubicBezTo>
                    <a:pt x="600" y="1040"/>
                    <a:pt x="600" y="1040"/>
                    <a:pt x="600" y="1040"/>
                  </a:cubicBezTo>
                  <a:cubicBezTo>
                    <a:pt x="557" y="1060"/>
                    <a:pt x="486" y="1067"/>
                    <a:pt x="437" y="1067"/>
                  </a:cubicBezTo>
                  <a:cubicBezTo>
                    <a:pt x="221" y="1067"/>
                    <a:pt x="169" y="970"/>
                    <a:pt x="169" y="780"/>
                  </a:cubicBezTo>
                  <a:cubicBezTo>
                    <a:pt x="169" y="407"/>
                    <a:pt x="169" y="407"/>
                    <a:pt x="169" y="407"/>
                  </a:cubicBezTo>
                  <a:lnTo>
                    <a:pt x="0" y="40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1" name="Freeform 57">
              <a:extLst>
                <a:ext uri="{FF2B5EF4-FFF2-40B4-BE49-F238E27FC236}">
                  <a16:creationId xmlns:a16="http://schemas.microsoft.com/office/drawing/2014/main" id="{5A3F9447-F0E2-44F7-8372-1CAA2787262A}"/>
                </a:ext>
              </a:extLst>
            </p:cNvPr>
            <p:cNvSpPr>
              <a:spLocks noEditPoints="1"/>
            </p:cNvSpPr>
            <p:nvPr userDrawn="1"/>
          </p:nvSpPr>
          <p:spPr bwMode="ltGray">
            <a:xfrm>
              <a:off x="1781175" y="533400"/>
              <a:ext cx="155575" cy="160338"/>
            </a:xfrm>
            <a:custGeom>
              <a:avLst/>
              <a:gdLst>
                <a:gd name="T0" fmla="*/ 204 w 825"/>
                <a:gd name="T1" fmla="*/ 501 h 859"/>
                <a:gd name="T2" fmla="*/ 423 w 825"/>
                <a:gd name="T3" fmla="*/ 695 h 859"/>
                <a:gd name="T4" fmla="*/ 642 w 825"/>
                <a:gd name="T5" fmla="*/ 585 h 859"/>
                <a:gd name="T6" fmla="*/ 787 w 825"/>
                <a:gd name="T7" fmla="*/ 695 h 859"/>
                <a:gd name="T8" fmla="*/ 443 w 825"/>
                <a:gd name="T9" fmla="*/ 859 h 859"/>
                <a:gd name="T10" fmla="*/ 0 w 825"/>
                <a:gd name="T11" fmla="*/ 430 h 859"/>
                <a:gd name="T12" fmla="*/ 443 w 825"/>
                <a:gd name="T13" fmla="*/ 0 h 859"/>
                <a:gd name="T14" fmla="*/ 825 w 825"/>
                <a:gd name="T15" fmla="*/ 445 h 859"/>
                <a:gd name="T16" fmla="*/ 825 w 825"/>
                <a:gd name="T17" fmla="*/ 501 h 859"/>
                <a:gd name="T18" fmla="*/ 204 w 825"/>
                <a:gd name="T19" fmla="*/ 501 h 859"/>
                <a:gd name="T20" fmla="*/ 621 w 825"/>
                <a:gd name="T21" fmla="*/ 347 h 859"/>
                <a:gd name="T22" fmla="*/ 415 w 825"/>
                <a:gd name="T23" fmla="*/ 153 h 859"/>
                <a:gd name="T24" fmla="*/ 204 w 825"/>
                <a:gd name="T25" fmla="*/ 347 h 859"/>
                <a:gd name="T26" fmla="*/ 621 w 825"/>
                <a:gd name="T27" fmla="*/ 3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9">
                  <a:moveTo>
                    <a:pt x="204" y="501"/>
                  </a:moveTo>
                  <a:cubicBezTo>
                    <a:pt x="218" y="622"/>
                    <a:pt x="309" y="695"/>
                    <a:pt x="423" y="695"/>
                  </a:cubicBezTo>
                  <a:cubicBezTo>
                    <a:pt x="525" y="695"/>
                    <a:pt x="590" y="647"/>
                    <a:pt x="642" y="585"/>
                  </a:cubicBezTo>
                  <a:cubicBezTo>
                    <a:pt x="787" y="695"/>
                    <a:pt x="787" y="695"/>
                    <a:pt x="787" y="695"/>
                  </a:cubicBezTo>
                  <a:cubicBezTo>
                    <a:pt x="692" y="813"/>
                    <a:pt x="572" y="859"/>
                    <a:pt x="443" y="859"/>
                  </a:cubicBezTo>
                  <a:cubicBezTo>
                    <a:pt x="197" y="859"/>
                    <a:pt x="0" y="687"/>
                    <a:pt x="0" y="430"/>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9"/>
                    <a:pt x="541" y="153"/>
                    <a:pt x="415" y="153"/>
                  </a:cubicBezTo>
                  <a:cubicBezTo>
                    <a:pt x="294" y="153"/>
                    <a:pt x="219" y="230"/>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2" name="Freeform 58">
              <a:extLst>
                <a:ext uri="{FF2B5EF4-FFF2-40B4-BE49-F238E27FC236}">
                  <a16:creationId xmlns:a16="http://schemas.microsoft.com/office/drawing/2014/main" id="{09ED63FC-E10D-4A0E-BC83-4FE0D72454AD}"/>
                </a:ext>
              </a:extLst>
            </p:cNvPr>
            <p:cNvSpPr>
              <a:spLocks/>
            </p:cNvSpPr>
            <p:nvPr userDrawn="1"/>
          </p:nvSpPr>
          <p:spPr bwMode="ltGray">
            <a:xfrm>
              <a:off x="1971675" y="533400"/>
              <a:ext cx="96838" cy="157163"/>
            </a:xfrm>
            <a:custGeom>
              <a:avLst/>
              <a:gdLst>
                <a:gd name="T0" fmla="*/ 0 w 517"/>
                <a:gd name="T1" fmla="*/ 21 h 842"/>
                <a:gd name="T2" fmla="*/ 202 w 517"/>
                <a:gd name="T3" fmla="*/ 21 h 842"/>
                <a:gd name="T4" fmla="*/ 202 w 517"/>
                <a:gd name="T5" fmla="*/ 150 h 842"/>
                <a:gd name="T6" fmla="*/ 206 w 517"/>
                <a:gd name="T7" fmla="*/ 150 h 842"/>
                <a:gd name="T8" fmla="*/ 445 w 517"/>
                <a:gd name="T9" fmla="*/ 0 h 842"/>
                <a:gd name="T10" fmla="*/ 517 w 517"/>
                <a:gd name="T11" fmla="*/ 12 h 842"/>
                <a:gd name="T12" fmla="*/ 517 w 517"/>
                <a:gd name="T13" fmla="*/ 211 h 842"/>
                <a:gd name="T14" fmla="*/ 420 w 517"/>
                <a:gd name="T15" fmla="*/ 195 h 842"/>
                <a:gd name="T16" fmla="*/ 202 w 517"/>
                <a:gd name="T17" fmla="*/ 402 h 842"/>
                <a:gd name="T18" fmla="*/ 202 w 517"/>
                <a:gd name="T19" fmla="*/ 842 h 842"/>
                <a:gd name="T20" fmla="*/ 0 w 517"/>
                <a:gd name="T21" fmla="*/ 842 h 842"/>
                <a:gd name="T22" fmla="*/ 0 w 517"/>
                <a:gd name="T23"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7" h="842">
                  <a:moveTo>
                    <a:pt x="0" y="21"/>
                  </a:moveTo>
                  <a:cubicBezTo>
                    <a:pt x="202" y="21"/>
                    <a:pt x="202" y="21"/>
                    <a:pt x="202" y="21"/>
                  </a:cubicBezTo>
                  <a:cubicBezTo>
                    <a:pt x="202" y="150"/>
                    <a:pt x="202" y="150"/>
                    <a:pt x="202" y="150"/>
                  </a:cubicBezTo>
                  <a:cubicBezTo>
                    <a:pt x="206" y="150"/>
                    <a:pt x="206" y="150"/>
                    <a:pt x="206" y="150"/>
                  </a:cubicBezTo>
                  <a:cubicBezTo>
                    <a:pt x="250" y="57"/>
                    <a:pt x="339" y="0"/>
                    <a:pt x="445" y="0"/>
                  </a:cubicBezTo>
                  <a:cubicBezTo>
                    <a:pt x="471" y="0"/>
                    <a:pt x="494" y="5"/>
                    <a:pt x="517" y="12"/>
                  </a:cubicBezTo>
                  <a:cubicBezTo>
                    <a:pt x="517" y="211"/>
                    <a:pt x="517" y="211"/>
                    <a:pt x="517" y="211"/>
                  </a:cubicBezTo>
                  <a:cubicBezTo>
                    <a:pt x="483" y="202"/>
                    <a:pt x="452" y="195"/>
                    <a:pt x="420" y="195"/>
                  </a:cubicBezTo>
                  <a:cubicBezTo>
                    <a:pt x="230" y="195"/>
                    <a:pt x="202" y="358"/>
                    <a:pt x="202" y="402"/>
                  </a:cubicBezTo>
                  <a:cubicBezTo>
                    <a:pt x="202" y="842"/>
                    <a:pt x="202" y="842"/>
                    <a:pt x="202"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3" name="Freeform 59">
              <a:extLst>
                <a:ext uri="{FF2B5EF4-FFF2-40B4-BE49-F238E27FC236}">
                  <a16:creationId xmlns:a16="http://schemas.microsoft.com/office/drawing/2014/main" id="{D631A289-79D1-4DEE-A37E-F23443011D02}"/>
                </a:ext>
              </a:extLst>
            </p:cNvPr>
            <p:cNvSpPr>
              <a:spLocks noEditPoints="1"/>
            </p:cNvSpPr>
            <p:nvPr userDrawn="1"/>
          </p:nvSpPr>
          <p:spPr bwMode="ltGray">
            <a:xfrm>
              <a:off x="2082800" y="450850"/>
              <a:ext cx="163513" cy="242888"/>
            </a:xfrm>
            <a:custGeom>
              <a:avLst/>
              <a:gdLst>
                <a:gd name="T0" fmla="*/ 683 w 875"/>
                <a:gd name="T1" fmla="*/ 1157 h 1300"/>
                <a:gd name="T2" fmla="*/ 679 w 875"/>
                <a:gd name="T3" fmla="*/ 1157 h 1300"/>
                <a:gd name="T4" fmla="*/ 400 w 875"/>
                <a:gd name="T5" fmla="*/ 1300 h 1300"/>
                <a:gd name="T6" fmla="*/ 0 w 875"/>
                <a:gd name="T7" fmla="*/ 873 h 1300"/>
                <a:gd name="T8" fmla="*/ 392 w 875"/>
                <a:gd name="T9" fmla="*/ 447 h 1300"/>
                <a:gd name="T10" fmla="*/ 667 w 875"/>
                <a:gd name="T11" fmla="*/ 571 h 1300"/>
                <a:gd name="T12" fmla="*/ 672 w 875"/>
                <a:gd name="T13" fmla="*/ 571 h 1300"/>
                <a:gd name="T14" fmla="*/ 672 w 875"/>
                <a:gd name="T15" fmla="*/ 0 h 1300"/>
                <a:gd name="T16" fmla="*/ 875 w 875"/>
                <a:gd name="T17" fmla="*/ 0 h 1300"/>
                <a:gd name="T18" fmla="*/ 875 w 875"/>
                <a:gd name="T19" fmla="*/ 1280 h 1300"/>
                <a:gd name="T20" fmla="*/ 683 w 875"/>
                <a:gd name="T21" fmla="*/ 1280 h 1300"/>
                <a:gd name="T22" fmla="*/ 683 w 875"/>
                <a:gd name="T23" fmla="*/ 1157 h 1300"/>
                <a:gd name="T24" fmla="*/ 441 w 875"/>
                <a:gd name="T25" fmla="*/ 1116 h 1300"/>
                <a:gd name="T26" fmla="*/ 679 w 875"/>
                <a:gd name="T27" fmla="*/ 873 h 1300"/>
                <a:gd name="T28" fmla="*/ 441 w 875"/>
                <a:gd name="T29" fmla="*/ 629 h 1300"/>
                <a:gd name="T30" fmla="*/ 203 w 875"/>
                <a:gd name="T31" fmla="*/ 873 h 1300"/>
                <a:gd name="T32" fmla="*/ 441 w 875"/>
                <a:gd name="T33" fmla="*/ 11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5" h="1300">
                  <a:moveTo>
                    <a:pt x="683" y="1157"/>
                  </a:moveTo>
                  <a:cubicBezTo>
                    <a:pt x="679" y="1157"/>
                    <a:pt x="679" y="1157"/>
                    <a:pt x="679" y="1157"/>
                  </a:cubicBezTo>
                  <a:cubicBezTo>
                    <a:pt x="620" y="1255"/>
                    <a:pt x="513" y="1300"/>
                    <a:pt x="400" y="1300"/>
                  </a:cubicBezTo>
                  <a:cubicBezTo>
                    <a:pt x="151" y="1300"/>
                    <a:pt x="0" y="1114"/>
                    <a:pt x="0" y="873"/>
                  </a:cubicBezTo>
                  <a:cubicBezTo>
                    <a:pt x="0" y="633"/>
                    <a:pt x="160" y="447"/>
                    <a:pt x="392" y="447"/>
                  </a:cubicBezTo>
                  <a:cubicBezTo>
                    <a:pt x="544" y="447"/>
                    <a:pt x="625" y="518"/>
                    <a:pt x="667" y="571"/>
                  </a:cubicBezTo>
                  <a:cubicBezTo>
                    <a:pt x="672" y="571"/>
                    <a:pt x="672" y="571"/>
                    <a:pt x="672" y="571"/>
                  </a:cubicBezTo>
                  <a:cubicBezTo>
                    <a:pt x="672" y="0"/>
                    <a:pt x="672" y="0"/>
                    <a:pt x="672" y="0"/>
                  </a:cubicBezTo>
                  <a:cubicBezTo>
                    <a:pt x="875" y="0"/>
                    <a:pt x="875" y="0"/>
                    <a:pt x="875" y="0"/>
                  </a:cubicBezTo>
                  <a:cubicBezTo>
                    <a:pt x="875" y="1280"/>
                    <a:pt x="875" y="1280"/>
                    <a:pt x="875" y="1280"/>
                  </a:cubicBezTo>
                  <a:cubicBezTo>
                    <a:pt x="683" y="1280"/>
                    <a:pt x="683" y="1280"/>
                    <a:pt x="683" y="1280"/>
                  </a:cubicBezTo>
                  <a:lnTo>
                    <a:pt x="683" y="1157"/>
                  </a:lnTo>
                  <a:close/>
                  <a:moveTo>
                    <a:pt x="441" y="1116"/>
                  </a:moveTo>
                  <a:cubicBezTo>
                    <a:pt x="589" y="1116"/>
                    <a:pt x="679" y="1001"/>
                    <a:pt x="679" y="873"/>
                  </a:cubicBezTo>
                  <a:cubicBezTo>
                    <a:pt x="679" y="746"/>
                    <a:pt x="589" y="629"/>
                    <a:pt x="441" y="629"/>
                  </a:cubicBezTo>
                  <a:cubicBezTo>
                    <a:pt x="292" y="629"/>
                    <a:pt x="203" y="746"/>
                    <a:pt x="203" y="873"/>
                  </a:cubicBezTo>
                  <a:cubicBezTo>
                    <a:pt x="203" y="1001"/>
                    <a:pt x="292" y="1116"/>
                    <a:pt x="441" y="1116"/>
                  </a:cubicBez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4" name="Freeform 60">
              <a:extLst>
                <a:ext uri="{FF2B5EF4-FFF2-40B4-BE49-F238E27FC236}">
                  <a16:creationId xmlns:a16="http://schemas.microsoft.com/office/drawing/2014/main" id="{3DD2871F-37DF-4206-87CE-46715E9EFAB6}"/>
                </a:ext>
              </a:extLst>
            </p:cNvPr>
            <p:cNvSpPr>
              <a:spLocks noEditPoints="1"/>
            </p:cNvSpPr>
            <p:nvPr userDrawn="1"/>
          </p:nvSpPr>
          <p:spPr bwMode="ltGray">
            <a:xfrm>
              <a:off x="2279650" y="533400"/>
              <a:ext cx="139700" cy="160338"/>
            </a:xfrm>
            <a:custGeom>
              <a:avLst/>
              <a:gdLst>
                <a:gd name="T0" fmla="*/ 566 w 750"/>
                <a:gd name="T1" fmla="*/ 726 h 859"/>
                <a:gd name="T2" fmla="*/ 562 w 750"/>
                <a:gd name="T3" fmla="*/ 726 h 859"/>
                <a:gd name="T4" fmla="*/ 299 w 750"/>
                <a:gd name="T5" fmla="*/ 859 h 859"/>
                <a:gd name="T6" fmla="*/ 0 w 750"/>
                <a:gd name="T7" fmla="*/ 613 h 859"/>
                <a:gd name="T8" fmla="*/ 515 w 750"/>
                <a:gd name="T9" fmla="*/ 329 h 859"/>
                <a:gd name="T10" fmla="*/ 566 w 750"/>
                <a:gd name="T11" fmla="*/ 329 h 859"/>
                <a:gd name="T12" fmla="*/ 566 w 750"/>
                <a:gd name="T13" fmla="*/ 307 h 859"/>
                <a:gd name="T14" fmla="*/ 379 w 750"/>
                <a:gd name="T15" fmla="*/ 153 h 859"/>
                <a:gd name="T16" fmla="*/ 160 w 750"/>
                <a:gd name="T17" fmla="*/ 239 h 859"/>
                <a:gd name="T18" fmla="*/ 53 w 750"/>
                <a:gd name="T19" fmla="*/ 131 h 859"/>
                <a:gd name="T20" fmla="*/ 400 w 750"/>
                <a:gd name="T21" fmla="*/ 0 h 859"/>
                <a:gd name="T22" fmla="*/ 750 w 750"/>
                <a:gd name="T23" fmla="*/ 369 h 859"/>
                <a:gd name="T24" fmla="*/ 750 w 750"/>
                <a:gd name="T25" fmla="*/ 839 h 859"/>
                <a:gd name="T26" fmla="*/ 566 w 750"/>
                <a:gd name="T27" fmla="*/ 839 h 859"/>
                <a:gd name="T28" fmla="*/ 566 w 750"/>
                <a:gd name="T29" fmla="*/ 726 h 859"/>
                <a:gd name="T30" fmla="*/ 555 w 750"/>
                <a:gd name="T31" fmla="*/ 472 h 859"/>
                <a:gd name="T32" fmla="*/ 512 w 750"/>
                <a:gd name="T33" fmla="*/ 472 h 859"/>
                <a:gd name="T34" fmla="*/ 205 w 750"/>
                <a:gd name="T35" fmla="*/ 598 h 859"/>
                <a:gd name="T36" fmla="*/ 347 w 750"/>
                <a:gd name="T37" fmla="*/ 706 h 859"/>
                <a:gd name="T38" fmla="*/ 555 w 750"/>
                <a:gd name="T39" fmla="*/ 518 h 859"/>
                <a:gd name="T40" fmla="*/ 555 w 750"/>
                <a:gd name="T41" fmla="*/ 472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0" h="859">
                  <a:moveTo>
                    <a:pt x="566" y="726"/>
                  </a:moveTo>
                  <a:cubicBezTo>
                    <a:pt x="562" y="726"/>
                    <a:pt x="562" y="726"/>
                    <a:pt x="562" y="726"/>
                  </a:cubicBezTo>
                  <a:cubicBezTo>
                    <a:pt x="503" y="818"/>
                    <a:pt x="408" y="859"/>
                    <a:pt x="299" y="859"/>
                  </a:cubicBezTo>
                  <a:cubicBezTo>
                    <a:pt x="147" y="859"/>
                    <a:pt x="0" y="775"/>
                    <a:pt x="0" y="613"/>
                  </a:cubicBezTo>
                  <a:cubicBezTo>
                    <a:pt x="0" y="347"/>
                    <a:pt x="311" y="329"/>
                    <a:pt x="515" y="329"/>
                  </a:cubicBezTo>
                  <a:cubicBezTo>
                    <a:pt x="566" y="329"/>
                    <a:pt x="566" y="329"/>
                    <a:pt x="566" y="329"/>
                  </a:cubicBezTo>
                  <a:cubicBezTo>
                    <a:pt x="566" y="307"/>
                    <a:pt x="566" y="307"/>
                    <a:pt x="566" y="307"/>
                  </a:cubicBezTo>
                  <a:cubicBezTo>
                    <a:pt x="566" y="206"/>
                    <a:pt x="488" y="153"/>
                    <a:pt x="379" y="153"/>
                  </a:cubicBezTo>
                  <a:cubicBezTo>
                    <a:pt x="293" y="153"/>
                    <a:pt x="214" y="187"/>
                    <a:pt x="160" y="239"/>
                  </a:cubicBezTo>
                  <a:cubicBezTo>
                    <a:pt x="53" y="131"/>
                    <a:pt x="53" y="131"/>
                    <a:pt x="53" y="131"/>
                  </a:cubicBezTo>
                  <a:cubicBezTo>
                    <a:pt x="144" y="39"/>
                    <a:pt x="271" y="0"/>
                    <a:pt x="400" y="0"/>
                  </a:cubicBezTo>
                  <a:cubicBezTo>
                    <a:pt x="750" y="0"/>
                    <a:pt x="750" y="252"/>
                    <a:pt x="750" y="369"/>
                  </a:cubicBezTo>
                  <a:cubicBezTo>
                    <a:pt x="750" y="839"/>
                    <a:pt x="750" y="839"/>
                    <a:pt x="750" y="839"/>
                  </a:cubicBezTo>
                  <a:cubicBezTo>
                    <a:pt x="566" y="839"/>
                    <a:pt x="566" y="839"/>
                    <a:pt x="566" y="839"/>
                  </a:cubicBezTo>
                  <a:lnTo>
                    <a:pt x="566" y="726"/>
                  </a:lnTo>
                  <a:close/>
                  <a:moveTo>
                    <a:pt x="555" y="472"/>
                  </a:moveTo>
                  <a:cubicBezTo>
                    <a:pt x="512" y="472"/>
                    <a:pt x="512" y="472"/>
                    <a:pt x="512" y="472"/>
                  </a:cubicBezTo>
                  <a:cubicBezTo>
                    <a:pt x="399" y="472"/>
                    <a:pt x="205" y="480"/>
                    <a:pt x="205" y="598"/>
                  </a:cubicBezTo>
                  <a:cubicBezTo>
                    <a:pt x="205" y="673"/>
                    <a:pt x="282" y="706"/>
                    <a:pt x="347" y="706"/>
                  </a:cubicBezTo>
                  <a:cubicBezTo>
                    <a:pt x="488" y="706"/>
                    <a:pt x="555" y="632"/>
                    <a:pt x="555" y="518"/>
                  </a:cubicBezTo>
                  <a:lnTo>
                    <a:pt x="555" y="472"/>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5" name="Freeform 61">
              <a:extLst>
                <a:ext uri="{FF2B5EF4-FFF2-40B4-BE49-F238E27FC236}">
                  <a16:creationId xmlns:a16="http://schemas.microsoft.com/office/drawing/2014/main" id="{28C5B83D-471B-4E36-AF30-F8E4A4B12E42}"/>
                </a:ext>
              </a:extLst>
            </p:cNvPr>
            <p:cNvSpPr>
              <a:spLocks/>
            </p:cNvSpPr>
            <p:nvPr userDrawn="1"/>
          </p:nvSpPr>
          <p:spPr bwMode="ltGray">
            <a:xfrm>
              <a:off x="2459038" y="533400"/>
              <a:ext cx="236538" cy="157163"/>
            </a:xfrm>
            <a:custGeom>
              <a:avLst/>
              <a:gdLst>
                <a:gd name="T0" fmla="*/ 0 w 1267"/>
                <a:gd name="T1" fmla="*/ 21 h 842"/>
                <a:gd name="T2" fmla="*/ 194 w 1267"/>
                <a:gd name="T3" fmla="*/ 21 h 842"/>
                <a:gd name="T4" fmla="*/ 194 w 1267"/>
                <a:gd name="T5" fmla="*/ 149 h 842"/>
                <a:gd name="T6" fmla="*/ 198 w 1267"/>
                <a:gd name="T7" fmla="*/ 149 h 842"/>
                <a:gd name="T8" fmla="*/ 448 w 1267"/>
                <a:gd name="T9" fmla="*/ 0 h 842"/>
                <a:gd name="T10" fmla="*/ 703 w 1267"/>
                <a:gd name="T11" fmla="*/ 153 h 842"/>
                <a:gd name="T12" fmla="*/ 972 w 1267"/>
                <a:gd name="T13" fmla="*/ 0 h 842"/>
                <a:gd name="T14" fmla="*/ 1267 w 1267"/>
                <a:gd name="T15" fmla="*/ 352 h 842"/>
                <a:gd name="T16" fmla="*/ 1267 w 1267"/>
                <a:gd name="T17" fmla="*/ 842 h 842"/>
                <a:gd name="T18" fmla="*/ 1063 w 1267"/>
                <a:gd name="T19" fmla="*/ 842 h 842"/>
                <a:gd name="T20" fmla="*/ 1063 w 1267"/>
                <a:gd name="T21" fmla="*/ 377 h 842"/>
                <a:gd name="T22" fmla="*/ 911 w 1267"/>
                <a:gd name="T23" fmla="*/ 185 h 842"/>
                <a:gd name="T24" fmla="*/ 736 w 1267"/>
                <a:gd name="T25" fmla="*/ 397 h 842"/>
                <a:gd name="T26" fmla="*/ 736 w 1267"/>
                <a:gd name="T27" fmla="*/ 842 h 842"/>
                <a:gd name="T28" fmla="*/ 532 w 1267"/>
                <a:gd name="T29" fmla="*/ 842 h 842"/>
                <a:gd name="T30" fmla="*/ 532 w 1267"/>
                <a:gd name="T31" fmla="*/ 352 h 842"/>
                <a:gd name="T32" fmla="*/ 392 w 1267"/>
                <a:gd name="T33" fmla="*/ 185 h 842"/>
                <a:gd name="T34" fmla="*/ 205 w 1267"/>
                <a:gd name="T35" fmla="*/ 394 h 842"/>
                <a:gd name="T36" fmla="*/ 205 w 1267"/>
                <a:gd name="T37" fmla="*/ 842 h 842"/>
                <a:gd name="T38" fmla="*/ 0 w 1267"/>
                <a:gd name="T39" fmla="*/ 842 h 842"/>
                <a:gd name="T40" fmla="*/ 0 w 1267"/>
                <a:gd name="T41"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7" h="842">
                  <a:moveTo>
                    <a:pt x="0" y="21"/>
                  </a:moveTo>
                  <a:cubicBezTo>
                    <a:pt x="194" y="21"/>
                    <a:pt x="194" y="21"/>
                    <a:pt x="194" y="21"/>
                  </a:cubicBezTo>
                  <a:cubicBezTo>
                    <a:pt x="194" y="149"/>
                    <a:pt x="194" y="149"/>
                    <a:pt x="194" y="149"/>
                  </a:cubicBezTo>
                  <a:cubicBezTo>
                    <a:pt x="198" y="149"/>
                    <a:pt x="198" y="149"/>
                    <a:pt x="198" y="149"/>
                  </a:cubicBezTo>
                  <a:cubicBezTo>
                    <a:pt x="234" y="72"/>
                    <a:pt x="312" y="0"/>
                    <a:pt x="448" y="0"/>
                  </a:cubicBezTo>
                  <a:cubicBezTo>
                    <a:pt x="574" y="0"/>
                    <a:pt x="661" y="50"/>
                    <a:pt x="703" y="153"/>
                  </a:cubicBezTo>
                  <a:cubicBezTo>
                    <a:pt x="763" y="48"/>
                    <a:pt x="850" y="0"/>
                    <a:pt x="972" y="0"/>
                  </a:cubicBezTo>
                  <a:cubicBezTo>
                    <a:pt x="1191" y="0"/>
                    <a:pt x="1267" y="156"/>
                    <a:pt x="1267" y="352"/>
                  </a:cubicBezTo>
                  <a:cubicBezTo>
                    <a:pt x="1267" y="842"/>
                    <a:pt x="1267" y="842"/>
                    <a:pt x="1267" y="842"/>
                  </a:cubicBezTo>
                  <a:cubicBezTo>
                    <a:pt x="1063" y="842"/>
                    <a:pt x="1063" y="842"/>
                    <a:pt x="1063" y="842"/>
                  </a:cubicBezTo>
                  <a:cubicBezTo>
                    <a:pt x="1063" y="377"/>
                    <a:pt x="1063" y="377"/>
                    <a:pt x="1063" y="377"/>
                  </a:cubicBezTo>
                  <a:cubicBezTo>
                    <a:pt x="1063" y="274"/>
                    <a:pt x="1032" y="185"/>
                    <a:pt x="911" y="185"/>
                  </a:cubicBezTo>
                  <a:cubicBezTo>
                    <a:pt x="783" y="185"/>
                    <a:pt x="736" y="291"/>
                    <a:pt x="736" y="397"/>
                  </a:cubicBezTo>
                  <a:cubicBezTo>
                    <a:pt x="736" y="842"/>
                    <a:pt x="736" y="842"/>
                    <a:pt x="736" y="842"/>
                  </a:cubicBezTo>
                  <a:cubicBezTo>
                    <a:pt x="532" y="842"/>
                    <a:pt x="532" y="842"/>
                    <a:pt x="532" y="842"/>
                  </a:cubicBezTo>
                  <a:cubicBezTo>
                    <a:pt x="532" y="352"/>
                    <a:pt x="532" y="352"/>
                    <a:pt x="532" y="352"/>
                  </a:cubicBezTo>
                  <a:cubicBezTo>
                    <a:pt x="532" y="252"/>
                    <a:pt x="490" y="185"/>
                    <a:pt x="392" y="185"/>
                  </a:cubicBezTo>
                  <a:cubicBezTo>
                    <a:pt x="258" y="185"/>
                    <a:pt x="205" y="284"/>
                    <a:pt x="205" y="394"/>
                  </a:cubicBezTo>
                  <a:cubicBezTo>
                    <a:pt x="205" y="842"/>
                    <a:pt x="205" y="842"/>
                    <a:pt x="205"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grpSp>
      <p:grpSp>
        <p:nvGrpSpPr>
          <p:cNvPr id="47" name="Group 46">
            <a:extLst>
              <a:ext uri="{FF2B5EF4-FFF2-40B4-BE49-F238E27FC236}">
                <a16:creationId xmlns:a16="http://schemas.microsoft.com/office/drawing/2014/main" id="{1F962ECB-3A1A-44FE-818D-CB9B4A34412E}"/>
              </a:ext>
            </a:extLst>
          </p:cNvPr>
          <p:cNvGrpSpPr>
            <a:grpSpLocks/>
          </p:cNvGrpSpPr>
          <p:nvPr userDrawn="1"/>
        </p:nvGrpSpPr>
        <p:grpSpPr bwMode="ltGray">
          <a:xfrm>
            <a:off x="233258" y="106904"/>
            <a:ext cx="426000" cy="1448052"/>
            <a:chOff x="177800" y="104775"/>
            <a:chExt cx="417513" cy="1419225"/>
          </a:xfrm>
          <a:solidFill>
            <a:schemeClr val="tx2"/>
          </a:solidFill>
        </p:grpSpPr>
        <p:sp>
          <p:nvSpPr>
            <p:cNvPr id="48" name="Freeform 42">
              <a:extLst>
                <a:ext uri="{FF2B5EF4-FFF2-40B4-BE49-F238E27FC236}">
                  <a16:creationId xmlns:a16="http://schemas.microsoft.com/office/drawing/2014/main" id="{133798F6-4EEC-435A-9713-7BFDDC5FFB74}"/>
                </a:ext>
              </a:extLst>
            </p:cNvPr>
            <p:cNvSpPr>
              <a:spLocks/>
            </p:cNvSpPr>
            <p:nvPr userDrawn="1"/>
          </p:nvSpPr>
          <p:spPr bwMode="ltGray">
            <a:xfrm>
              <a:off x="177800" y="1108075"/>
              <a:ext cx="417513" cy="415925"/>
            </a:xfrm>
            <a:custGeom>
              <a:avLst/>
              <a:gdLst>
                <a:gd name="T0" fmla="*/ 0 w 263"/>
                <a:gd name="T1" fmla="*/ 209 h 262"/>
                <a:gd name="T2" fmla="*/ 80 w 263"/>
                <a:gd name="T3" fmla="*/ 131 h 262"/>
                <a:gd name="T4" fmla="*/ 0 w 263"/>
                <a:gd name="T5" fmla="*/ 52 h 262"/>
                <a:gd name="T6" fmla="*/ 53 w 263"/>
                <a:gd name="T7" fmla="*/ 0 h 262"/>
                <a:gd name="T8" fmla="*/ 132 w 263"/>
                <a:gd name="T9" fmla="*/ 78 h 262"/>
                <a:gd name="T10" fmla="*/ 210 w 263"/>
                <a:gd name="T11" fmla="*/ 0 h 262"/>
                <a:gd name="T12" fmla="*/ 263 w 263"/>
                <a:gd name="T13" fmla="*/ 52 h 262"/>
                <a:gd name="T14" fmla="*/ 185 w 263"/>
                <a:gd name="T15" fmla="*/ 131 h 262"/>
                <a:gd name="T16" fmla="*/ 263 w 263"/>
                <a:gd name="T17" fmla="*/ 209 h 262"/>
                <a:gd name="T18" fmla="*/ 210 w 263"/>
                <a:gd name="T19" fmla="*/ 262 h 262"/>
                <a:gd name="T20" fmla="*/ 132 w 263"/>
                <a:gd name="T21" fmla="*/ 183 h 262"/>
                <a:gd name="T22" fmla="*/ 53 w 263"/>
                <a:gd name="T23" fmla="*/ 262 h 262"/>
                <a:gd name="T24" fmla="*/ 0 w 263"/>
                <a:gd name="T25" fmla="*/ 20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2">
                  <a:moveTo>
                    <a:pt x="0" y="209"/>
                  </a:moveTo>
                  <a:lnTo>
                    <a:pt x="80" y="131"/>
                  </a:lnTo>
                  <a:lnTo>
                    <a:pt x="0" y="52"/>
                  </a:lnTo>
                  <a:lnTo>
                    <a:pt x="53" y="0"/>
                  </a:lnTo>
                  <a:lnTo>
                    <a:pt x="132" y="78"/>
                  </a:lnTo>
                  <a:lnTo>
                    <a:pt x="210" y="0"/>
                  </a:lnTo>
                  <a:lnTo>
                    <a:pt x="263" y="52"/>
                  </a:lnTo>
                  <a:lnTo>
                    <a:pt x="185" y="131"/>
                  </a:lnTo>
                  <a:lnTo>
                    <a:pt x="263" y="209"/>
                  </a:lnTo>
                  <a:lnTo>
                    <a:pt x="210" y="262"/>
                  </a:lnTo>
                  <a:lnTo>
                    <a:pt x="132" y="183"/>
                  </a:lnTo>
                  <a:lnTo>
                    <a:pt x="53" y="262"/>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49" name="Freeform 43">
              <a:extLst>
                <a:ext uri="{FF2B5EF4-FFF2-40B4-BE49-F238E27FC236}">
                  <a16:creationId xmlns:a16="http://schemas.microsoft.com/office/drawing/2014/main" id="{8E16C36D-5041-4E7E-A415-3F2271D253D9}"/>
                </a:ext>
              </a:extLst>
            </p:cNvPr>
            <p:cNvSpPr>
              <a:spLocks/>
            </p:cNvSpPr>
            <p:nvPr userDrawn="1"/>
          </p:nvSpPr>
          <p:spPr bwMode="ltGray">
            <a:xfrm>
              <a:off x="177800" y="104775"/>
              <a:ext cx="417513" cy="417513"/>
            </a:xfrm>
            <a:custGeom>
              <a:avLst/>
              <a:gdLst>
                <a:gd name="T0" fmla="*/ 0 w 263"/>
                <a:gd name="T1" fmla="*/ 211 h 263"/>
                <a:gd name="T2" fmla="*/ 80 w 263"/>
                <a:gd name="T3" fmla="*/ 132 h 263"/>
                <a:gd name="T4" fmla="*/ 0 w 263"/>
                <a:gd name="T5" fmla="*/ 53 h 263"/>
                <a:gd name="T6" fmla="*/ 53 w 263"/>
                <a:gd name="T7" fmla="*/ 0 h 263"/>
                <a:gd name="T8" fmla="*/ 132 w 263"/>
                <a:gd name="T9" fmla="*/ 80 h 263"/>
                <a:gd name="T10" fmla="*/ 210 w 263"/>
                <a:gd name="T11" fmla="*/ 0 h 263"/>
                <a:gd name="T12" fmla="*/ 263 w 263"/>
                <a:gd name="T13" fmla="*/ 53 h 263"/>
                <a:gd name="T14" fmla="*/ 185 w 263"/>
                <a:gd name="T15" fmla="*/ 132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2"/>
                  </a:lnTo>
                  <a:lnTo>
                    <a:pt x="0" y="53"/>
                  </a:lnTo>
                  <a:lnTo>
                    <a:pt x="53" y="0"/>
                  </a:lnTo>
                  <a:lnTo>
                    <a:pt x="132" y="80"/>
                  </a:lnTo>
                  <a:lnTo>
                    <a:pt x="210" y="0"/>
                  </a:lnTo>
                  <a:lnTo>
                    <a:pt x="263" y="53"/>
                  </a:lnTo>
                  <a:lnTo>
                    <a:pt x="185" y="132"/>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50" name="Freeform 44">
              <a:extLst>
                <a:ext uri="{FF2B5EF4-FFF2-40B4-BE49-F238E27FC236}">
                  <a16:creationId xmlns:a16="http://schemas.microsoft.com/office/drawing/2014/main" id="{F926A661-97B8-4B43-9A12-C9C8083A5839}"/>
                </a:ext>
              </a:extLst>
            </p:cNvPr>
            <p:cNvSpPr>
              <a:spLocks/>
            </p:cNvSpPr>
            <p:nvPr userDrawn="1"/>
          </p:nvSpPr>
          <p:spPr bwMode="ltGray">
            <a:xfrm>
              <a:off x="177800" y="606425"/>
              <a:ext cx="417513" cy="417513"/>
            </a:xfrm>
            <a:custGeom>
              <a:avLst/>
              <a:gdLst>
                <a:gd name="T0" fmla="*/ 0 w 263"/>
                <a:gd name="T1" fmla="*/ 211 h 263"/>
                <a:gd name="T2" fmla="*/ 80 w 263"/>
                <a:gd name="T3" fmla="*/ 131 h 263"/>
                <a:gd name="T4" fmla="*/ 0 w 263"/>
                <a:gd name="T5" fmla="*/ 53 h 263"/>
                <a:gd name="T6" fmla="*/ 53 w 263"/>
                <a:gd name="T7" fmla="*/ 0 h 263"/>
                <a:gd name="T8" fmla="*/ 132 w 263"/>
                <a:gd name="T9" fmla="*/ 79 h 263"/>
                <a:gd name="T10" fmla="*/ 210 w 263"/>
                <a:gd name="T11" fmla="*/ 0 h 263"/>
                <a:gd name="T12" fmla="*/ 263 w 263"/>
                <a:gd name="T13" fmla="*/ 53 h 263"/>
                <a:gd name="T14" fmla="*/ 185 w 263"/>
                <a:gd name="T15" fmla="*/ 131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1"/>
                  </a:lnTo>
                  <a:lnTo>
                    <a:pt x="0" y="53"/>
                  </a:lnTo>
                  <a:lnTo>
                    <a:pt x="53" y="0"/>
                  </a:lnTo>
                  <a:lnTo>
                    <a:pt x="132" y="79"/>
                  </a:lnTo>
                  <a:lnTo>
                    <a:pt x="210" y="0"/>
                  </a:lnTo>
                  <a:lnTo>
                    <a:pt x="263" y="53"/>
                  </a:lnTo>
                  <a:lnTo>
                    <a:pt x="185" y="131"/>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grpSp>
    </p:spTree>
    <p:extLst>
      <p:ext uri="{BB962C8B-B14F-4D97-AF65-F5344CB8AC3E}">
        <p14:creationId xmlns:p14="http://schemas.microsoft.com/office/powerpoint/2010/main" val="131579926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64950819"/>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F24D61-5313-4F14-A557-902DE0AAEE23}"/>
              </a:ext>
            </a:extLst>
          </p:cNvPr>
          <p:cNvSpPr/>
          <p:nvPr userDrawn="1">
            <p:custDataLst>
              <p:tags r:id="rId2"/>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5" name="Title Placeholder 2">
            <a:extLst>
              <a:ext uri="{FF2B5EF4-FFF2-40B4-BE49-F238E27FC236}">
                <a16:creationId xmlns:a16="http://schemas.microsoft.com/office/drawing/2014/main" id="{1CF00FC1-77FF-48FD-8945-D432EB9754D9}"/>
              </a:ext>
            </a:extLst>
          </p:cNvPr>
          <p:cNvSpPr>
            <a:spLocks noGrp="1" noChangeArrowheads="1"/>
          </p:cNvSpPr>
          <p:nvPr>
            <p:ph type="title"/>
          </p:nvPr>
        </p:nvSpPr>
        <p:spPr bwMode="gray">
          <a:xfrm>
            <a:off x="839041" y="283037"/>
            <a:ext cx="1111970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tabLst>
                <a:tab pos="549088" algn="l"/>
              </a:tabLst>
              <a:defRPr/>
            </a:lvl1pPr>
          </a:lstStyle>
          <a:p>
            <a:pPr lvl="0"/>
            <a:r>
              <a:rPr lang="nl-NL" noProof="0" dirty="0"/>
              <a:t>Click to edit Master title style</a:t>
            </a:r>
          </a:p>
        </p:txBody>
      </p:sp>
    </p:spTree>
    <p:extLst>
      <p:ext uri="{BB962C8B-B14F-4D97-AF65-F5344CB8AC3E}">
        <p14:creationId xmlns:p14="http://schemas.microsoft.com/office/powerpoint/2010/main" val="2219049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419369" y="1751832"/>
            <a:ext cx="1978923" cy="1978923"/>
          </a:xfrm>
          <a:prstGeom prst="ellipse">
            <a:avLst/>
          </a:prstGeom>
          <a:ln w="76200">
            <a:noFill/>
          </a:ln>
        </p:spPr>
        <p:txBody>
          <a:bodyPr/>
          <a:lstStyle>
            <a:lvl1pPr>
              <a:defRPr/>
            </a:lvl1pPr>
          </a:lstStyle>
          <a:p>
            <a:r>
              <a:rPr lang="nl-NL" noProof="0"/>
              <a:t>Picture</a:t>
            </a:r>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endParaRPr lang="nl-NL" noProof="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endParaRPr lang="nl-NL" noProof="0"/>
          </a:p>
        </p:txBody>
      </p:sp>
    </p:spTree>
    <p:extLst>
      <p:ext uri="{BB962C8B-B14F-4D97-AF65-F5344CB8AC3E}">
        <p14:creationId xmlns:p14="http://schemas.microsoft.com/office/powerpoint/2010/main" val="2624283466"/>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5BE47-2A2B-43B2-A85F-74DF39EFD07D}"/>
              </a:ext>
            </a:extLst>
          </p:cNvPr>
          <p:cNvGraphicFramePr>
            <a:graphicFrameLocks noChangeAspect="1"/>
          </p:cNvGraphicFramePr>
          <p:nvPr userDrawn="1">
            <p:custDataLst>
              <p:tags r:id="rId1"/>
            </p:custDataLst>
            <p:extLst>
              <p:ext uri="{D42A27DB-BD31-4B8C-83A1-F6EECF244321}">
                <p14:modId xmlns:p14="http://schemas.microsoft.com/office/powerpoint/2010/main" val="2884818507"/>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4" name="Object 3" hidden="1">
                        <a:extLst>
                          <a:ext uri="{FF2B5EF4-FFF2-40B4-BE49-F238E27FC236}">
                            <a16:creationId xmlns:a16="http://schemas.microsoft.com/office/drawing/2014/main" id="{E055BE47-2A2B-43B2-A85F-74DF39EFD07D}"/>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90D1DBB-A7F0-4A4F-96ED-21071423E3AB}"/>
              </a:ext>
            </a:extLst>
          </p:cNvPr>
          <p:cNvSpPr/>
          <p:nvPr userDrawn="1">
            <p:custDataLst>
              <p:tags r:id="rId2"/>
            </p:custDataLst>
          </p:nvPr>
        </p:nvSpPr>
        <p:spPr>
          <a:xfrm>
            <a:off x="0" y="0"/>
            <a:ext cx="161977" cy="16197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2" name="Title 1">
            <a:extLst>
              <a:ext uri="{FF2B5EF4-FFF2-40B4-BE49-F238E27FC236}">
                <a16:creationId xmlns:a16="http://schemas.microsoft.com/office/drawing/2014/main" id="{9734B9BF-C3B0-4969-8EE3-D3897CB3D972}"/>
              </a:ext>
            </a:extLst>
          </p:cNvPr>
          <p:cNvSpPr>
            <a:spLocks noGrp="1"/>
          </p:cNvSpPr>
          <p:nvPr>
            <p:ph type="title"/>
          </p:nvPr>
        </p:nvSpPr>
        <p:spPr/>
        <p:txBody>
          <a:bodyPr/>
          <a:lstStyle/>
          <a:p>
            <a:r>
              <a:rPr lang="nl-NL" dirty="0"/>
              <a:t>Click to edit Master title style</a:t>
            </a:r>
          </a:p>
        </p:txBody>
      </p:sp>
    </p:spTree>
    <p:extLst>
      <p:ext uri="{BB962C8B-B14F-4D97-AF65-F5344CB8AC3E}">
        <p14:creationId xmlns:p14="http://schemas.microsoft.com/office/powerpoint/2010/main" val="974245474"/>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Box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9" y="1592263"/>
            <a:ext cx="5332401" cy="1004634"/>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1004634"/>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hasCustomPrompt="1"/>
          </p:nvPr>
        </p:nvSpPr>
        <p:spPr>
          <a:xfrm>
            <a:off x="666747" y="266700"/>
            <a:ext cx="10866441" cy="930276"/>
          </a:xfrm>
          <a:prstGeom prst="rect">
            <a:avLst/>
          </a:prstGeom>
        </p:spPr>
        <p:txBody>
          <a:bodyPr vert="horz" lIns="91440" tIns="45720" rIns="91440" bIns="45720" rtlCol="0" anchor="b">
            <a:noAutofit/>
          </a:bodyPr>
          <a:lstStyle>
            <a:lvl1pPr>
              <a:defRPr/>
            </a:lvl1pPr>
          </a:lstStyle>
          <a:p>
            <a:r>
              <a:rPr lang="nl-NL" noProof="0" dirty="0"/>
              <a:t>Klik om titel in te voegen</a:t>
            </a:r>
          </a:p>
        </p:txBody>
      </p:sp>
    </p:spTree>
    <p:extLst>
      <p:ext uri="{BB962C8B-B14F-4D97-AF65-F5344CB8AC3E}">
        <p14:creationId xmlns:p14="http://schemas.microsoft.com/office/powerpoint/2010/main" val="402906030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Box (6) Charts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004634"/>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004634"/>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8" y="1909823"/>
            <a:ext cx="3517200" cy="1004634"/>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004634"/>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004634"/>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8" y="4373880"/>
            <a:ext cx="3517200" cy="1004634"/>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51159"/>
          </a:xfrm>
        </p:spPr>
        <p:txBody>
          <a:bodyPr/>
          <a:lstStyle>
            <a:lvl1pPr>
              <a:defRPr/>
            </a:lvl1pPr>
          </a:lstStyle>
          <a:p>
            <a:pPr lvl="0"/>
            <a:r>
              <a:rPr lang="nl-NL" noProof="0" dirty="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701"/>
            <a:ext cx="10866441" cy="930276"/>
          </a:xfrm>
          <a:prstGeom prst="rect">
            <a:avLst/>
          </a:prstGeom>
        </p:spPr>
        <p:txBody>
          <a:bodyPr vert="horz" lIns="91440" tIns="45720" rIns="91440" bIns="45720" rtlCol="0" anchor="b">
            <a:noAutofit/>
          </a:bodyPr>
          <a:lstStyle>
            <a:lvl1pPr>
              <a:defRPr/>
            </a:lvl1pPr>
          </a:lstStyle>
          <a:p>
            <a:r>
              <a:rPr lang="nl-NL" noProof="0" dirty="0"/>
              <a:t>Klik om titel in te voegen</a:t>
            </a:r>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hasCustomPrompt="1"/>
          </p:nvPr>
        </p:nvSpPr>
        <p:spPr>
          <a:xfrm>
            <a:off x="666750" y="1611881"/>
            <a:ext cx="3516680" cy="251159"/>
          </a:xfrm>
        </p:spPr>
        <p:txBody>
          <a:bodyPr/>
          <a:lstStyle>
            <a:lvl1pPr>
              <a:defRPr b="1"/>
            </a:lvl1pPr>
          </a:lstStyle>
          <a:p>
            <a:pPr lvl="0"/>
            <a:r>
              <a:rPr lang="nl-NL" noProof="0" dirty="0"/>
              <a:t>Klik om kop toe te voegen</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hasCustomPrompt="1"/>
          </p:nvPr>
        </p:nvSpPr>
        <p:spPr>
          <a:xfrm>
            <a:off x="4337662" y="1611881"/>
            <a:ext cx="3516680" cy="251159"/>
          </a:xfrm>
        </p:spPr>
        <p:txBody>
          <a:bodyPr/>
          <a:lstStyle>
            <a:lvl1pPr>
              <a:defRPr b="1"/>
            </a:lvl1pPr>
          </a:lstStyle>
          <a:p>
            <a:pPr lvl="0"/>
            <a:r>
              <a:rPr lang="nl-NL" noProof="0" dirty="0"/>
              <a:t>Klik om kop toe te voegen</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hasCustomPrompt="1"/>
          </p:nvPr>
        </p:nvSpPr>
        <p:spPr>
          <a:xfrm>
            <a:off x="8022069" y="1611881"/>
            <a:ext cx="3516680" cy="251159"/>
          </a:xfrm>
        </p:spPr>
        <p:txBody>
          <a:bodyPr/>
          <a:lstStyle>
            <a:lvl1pPr>
              <a:defRPr b="1"/>
            </a:lvl1pPr>
          </a:lstStyle>
          <a:p>
            <a:pPr lvl="0"/>
            <a:r>
              <a:rPr lang="nl-NL" noProof="0" dirty="0"/>
              <a:t>Klik om kop toe te voegen</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hasCustomPrompt="1"/>
          </p:nvPr>
        </p:nvSpPr>
        <p:spPr>
          <a:xfrm>
            <a:off x="666750" y="4065752"/>
            <a:ext cx="3516680" cy="251159"/>
          </a:xfrm>
        </p:spPr>
        <p:txBody>
          <a:bodyPr/>
          <a:lstStyle>
            <a:lvl1pPr>
              <a:defRPr b="1"/>
            </a:lvl1pPr>
          </a:lstStyle>
          <a:p>
            <a:pPr lvl="0"/>
            <a:r>
              <a:rPr lang="nl-NL" noProof="0" dirty="0"/>
              <a:t>Klik om kop toe te voegen</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hasCustomPrompt="1"/>
          </p:nvPr>
        </p:nvSpPr>
        <p:spPr>
          <a:xfrm>
            <a:off x="4337662" y="4065752"/>
            <a:ext cx="3516680" cy="251159"/>
          </a:xfrm>
        </p:spPr>
        <p:txBody>
          <a:bodyPr/>
          <a:lstStyle>
            <a:lvl1pPr>
              <a:defRPr b="1"/>
            </a:lvl1pPr>
          </a:lstStyle>
          <a:p>
            <a:pPr lvl="0"/>
            <a:r>
              <a:rPr lang="nl-NL" noProof="0" dirty="0"/>
              <a:t>Klik om kop toe te voegen</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hasCustomPrompt="1"/>
          </p:nvPr>
        </p:nvSpPr>
        <p:spPr>
          <a:xfrm>
            <a:off x="8022069" y="4065752"/>
            <a:ext cx="3516680" cy="251159"/>
          </a:xfrm>
        </p:spPr>
        <p:txBody>
          <a:bodyPr/>
          <a:lstStyle>
            <a:lvl1pPr>
              <a:defRPr b="1"/>
            </a:lvl1pPr>
          </a:lstStyle>
          <a:p>
            <a:pPr lvl="0"/>
            <a:r>
              <a:rPr lang="nl-NL" noProof="0" dirty="0"/>
              <a:t>Klik om kop toe te voegen</a:t>
            </a:r>
          </a:p>
        </p:txBody>
      </p:sp>
    </p:spTree>
    <p:extLst>
      <p:ext uri="{BB962C8B-B14F-4D97-AF65-F5344CB8AC3E}">
        <p14:creationId xmlns:p14="http://schemas.microsoft.com/office/powerpoint/2010/main" val="125894422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chemeClr val="tx2"/>
        </a:solidFill>
        <a:effectLst/>
      </p:bgPr>
    </p:bg>
    <p:spTree>
      <p:nvGrpSpPr>
        <p:cNvPr id="1" name=""/>
        <p:cNvGrpSpPr/>
        <p:nvPr/>
      </p:nvGrpSpPr>
      <p:grpSpPr>
        <a:xfrm>
          <a:off x="0" y="0"/>
          <a:ext cx="0" cy="0"/>
          <a:chOff x="0" y="0"/>
          <a:chExt cx="0" cy="0"/>
        </a:xfrm>
      </p:grpSpPr>
      <p:sp>
        <p:nvSpPr>
          <p:cNvPr id="37" name="Rechthoek 36">
            <a:extLst>
              <a:ext uri="{FF2B5EF4-FFF2-40B4-BE49-F238E27FC236}">
                <a16:creationId xmlns:a16="http://schemas.microsoft.com/office/drawing/2014/main" id="{3A328ABD-0406-6949-8BB7-6D2AEA80B538}"/>
              </a:ext>
            </a:extLst>
          </p:cNvPr>
          <p:cNvSpPr/>
          <p:nvPr userDrawn="1"/>
        </p:nvSpPr>
        <p:spPr>
          <a:xfrm>
            <a:off x="1" y="6051252"/>
            <a:ext cx="12191999" cy="806748"/>
          </a:xfrm>
          <a:prstGeom prst="rect">
            <a:avLst/>
          </a:prstGeom>
          <a:ln w="15875">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1837"/>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0679582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EA23475-9EC2-4C0C-BE62-D93FA15DA2B5}"/>
              </a:ext>
            </a:extLst>
          </p:cNvPr>
          <p:cNvSpPr/>
          <p:nvPr userDrawn="1">
            <p:custDataLst>
              <p:tags r:id="rId2"/>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5510"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45" name="Rectangle 44">
            <a:extLst>
              <a:ext uri="{FF2B5EF4-FFF2-40B4-BE49-F238E27FC236}">
                <a16:creationId xmlns:a16="http://schemas.microsoft.com/office/drawing/2014/main" id="{E81A223E-4F63-48C8-B290-576BBFF2BC0E}"/>
              </a:ext>
            </a:extLst>
          </p:cNvPr>
          <p:cNvSpPr>
            <a:spLocks/>
          </p:cNvSpPr>
          <p:nvPr userDrawn="1"/>
        </p:nvSpPr>
        <p:spPr bwMode="ltGray">
          <a:xfrm>
            <a:off x="1" y="1"/>
            <a:ext cx="892515"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nl-NL" sz="1837" dirty="0">
              <a:solidFill>
                <a:schemeClr val="tx1"/>
              </a:solidFill>
            </a:endParaRPr>
          </a:p>
        </p:txBody>
      </p:sp>
      <p:sp>
        <p:nvSpPr>
          <p:cNvPr id="9" name="Document type" hidden="1"/>
          <p:cNvSpPr txBox="1">
            <a:spLocks noChangeArrowheads="1"/>
          </p:cNvSpPr>
          <p:nvPr/>
        </p:nvSpPr>
        <p:spPr bwMode="ltGray">
          <a:xfrm>
            <a:off x="1018834" y="5844155"/>
            <a:ext cx="10080491"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nl-NL" sz="1428" baseline="0" noProof="0" dirty="0">
                <a:solidFill>
                  <a:schemeClr val="bg1"/>
                </a:solidFill>
                <a:latin typeface="+mn-lt"/>
              </a:rPr>
              <a:t>Documenttype</a:t>
            </a:r>
          </a:p>
        </p:txBody>
      </p:sp>
      <p:sp>
        <p:nvSpPr>
          <p:cNvPr id="10" name="Date" hidden="1"/>
          <p:cNvSpPr txBox="1">
            <a:spLocks noChangeArrowheads="1"/>
          </p:cNvSpPr>
          <p:nvPr/>
        </p:nvSpPr>
        <p:spPr bwMode="ltGray">
          <a:xfrm>
            <a:off x="1018834" y="6117893"/>
            <a:ext cx="10080491"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nl-NL" sz="1428" baseline="0" noProof="0" dirty="0">
                <a:solidFill>
                  <a:schemeClr val="bg1"/>
                </a:solidFill>
                <a:latin typeface="+mn-lt"/>
              </a:rPr>
              <a:t>Datum</a:t>
            </a:r>
          </a:p>
        </p:txBody>
      </p:sp>
      <p:sp>
        <p:nvSpPr>
          <p:cNvPr id="13314" name="Rectangle 1026"/>
          <p:cNvSpPr>
            <a:spLocks noGrp="1" noChangeArrowheads="1"/>
          </p:cNvSpPr>
          <p:nvPr>
            <p:ph type="ctrTitle"/>
          </p:nvPr>
        </p:nvSpPr>
        <p:spPr bwMode="ltGray">
          <a:xfrm>
            <a:off x="1018834" y="2605299"/>
            <a:ext cx="10080491" cy="847876"/>
          </a:xfrm>
          <a:prstGeom prst="rect">
            <a:avLst/>
          </a:prstGeom>
        </p:spPr>
        <p:txBody>
          <a:bodyPr wrap="square" anchor="b">
            <a:spAutoFit/>
          </a:bodyPr>
          <a:lstStyle>
            <a:lvl1pPr>
              <a:defRPr sz="5510" b="1" kern="1200" baseline="0">
                <a:solidFill>
                  <a:schemeClr val="bg1"/>
                </a:solidFill>
                <a:latin typeface="+mj-lt"/>
                <a:ea typeface="+mj-ea"/>
              </a:defRPr>
            </a:lvl1pPr>
          </a:lstStyle>
          <a:p>
            <a:pPr lvl="0"/>
            <a:r>
              <a:rPr lang="nl-NL" noProof="0" dirty="0"/>
              <a:t>Click to edit Master title style</a:t>
            </a:r>
          </a:p>
        </p:txBody>
      </p:sp>
      <p:sp>
        <p:nvSpPr>
          <p:cNvPr id="13315" name="Rectangle 1027"/>
          <p:cNvSpPr>
            <a:spLocks noGrp="1" noChangeArrowheads="1"/>
          </p:cNvSpPr>
          <p:nvPr>
            <p:ph type="subTitle" idx="1"/>
          </p:nvPr>
        </p:nvSpPr>
        <p:spPr bwMode="ltGray">
          <a:xfrm>
            <a:off x="1018834" y="3600693"/>
            <a:ext cx="10080491" cy="533848"/>
          </a:xfrm>
        </p:spPr>
        <p:txBody>
          <a:bodyPr wrap="square">
            <a:noAutofit/>
          </a:bodyPr>
          <a:lstStyle>
            <a:lvl1pPr>
              <a:defRPr sz="3469" baseline="0">
                <a:solidFill>
                  <a:schemeClr val="bg1"/>
                </a:solidFill>
                <a:latin typeface="+mj-lt"/>
                <a:ea typeface="+mj-ea"/>
              </a:defRPr>
            </a:lvl1pPr>
          </a:lstStyle>
          <a:p>
            <a:pPr lvl="0"/>
            <a:r>
              <a:rPr lang="nl-NL" noProof="0" dirty="0"/>
              <a:t>Click to edit Master subtitle style</a:t>
            </a:r>
          </a:p>
        </p:txBody>
      </p:sp>
      <p:grpSp>
        <p:nvGrpSpPr>
          <p:cNvPr id="43" name="Group 42">
            <a:extLst>
              <a:ext uri="{FF2B5EF4-FFF2-40B4-BE49-F238E27FC236}">
                <a16:creationId xmlns:a16="http://schemas.microsoft.com/office/drawing/2014/main" id="{3DA9FF67-0D51-4D87-B84D-DE1262962156}"/>
              </a:ext>
            </a:extLst>
          </p:cNvPr>
          <p:cNvGrpSpPr/>
          <p:nvPr userDrawn="1"/>
        </p:nvGrpSpPr>
        <p:grpSpPr bwMode="ltGray">
          <a:xfrm>
            <a:off x="1018835" y="127961"/>
            <a:ext cx="1731533" cy="579869"/>
            <a:chOff x="998538" y="125413"/>
            <a:chExt cx="1697038" cy="568325"/>
          </a:xfrm>
        </p:grpSpPr>
        <p:sp>
          <p:nvSpPr>
            <p:cNvPr id="19" name="Freeform 45">
              <a:extLst>
                <a:ext uri="{FF2B5EF4-FFF2-40B4-BE49-F238E27FC236}">
                  <a16:creationId xmlns:a16="http://schemas.microsoft.com/office/drawing/2014/main" id="{3594579E-4C97-4E6E-B5D9-2035222C075C}"/>
                </a:ext>
              </a:extLst>
            </p:cNvPr>
            <p:cNvSpPr>
              <a:spLocks/>
            </p:cNvSpPr>
            <p:nvPr userDrawn="1"/>
          </p:nvSpPr>
          <p:spPr bwMode="ltGray">
            <a:xfrm>
              <a:off x="1011238" y="125413"/>
              <a:ext cx="211138" cy="236538"/>
            </a:xfrm>
            <a:custGeom>
              <a:avLst/>
              <a:gdLst>
                <a:gd name="T0" fmla="*/ 1125 w 1125"/>
                <a:gd name="T1" fmla="*/ 1148 h 1267"/>
                <a:gd name="T2" fmla="*/ 631 w 1125"/>
                <a:gd name="T3" fmla="*/ 1267 h 1267"/>
                <a:gd name="T4" fmla="*/ 0 w 1125"/>
                <a:gd name="T5" fmla="*/ 639 h 1267"/>
                <a:gd name="T6" fmla="*/ 631 w 1125"/>
                <a:gd name="T7" fmla="*/ 0 h 1267"/>
                <a:gd name="T8" fmla="*/ 1102 w 1125"/>
                <a:gd name="T9" fmla="*/ 152 h 1267"/>
                <a:gd name="T10" fmla="*/ 945 w 1125"/>
                <a:gd name="T11" fmla="*/ 312 h 1267"/>
                <a:gd name="T12" fmla="*/ 633 w 1125"/>
                <a:gd name="T13" fmla="*/ 194 h 1267"/>
                <a:gd name="T14" fmla="*/ 223 w 1125"/>
                <a:gd name="T15" fmla="*/ 625 h 1267"/>
                <a:gd name="T16" fmla="*/ 633 w 1125"/>
                <a:gd name="T17" fmla="*/ 1073 h 1267"/>
                <a:gd name="T18" fmla="*/ 913 w 1125"/>
                <a:gd name="T19" fmla="*/ 1010 h 1267"/>
                <a:gd name="T20" fmla="*/ 913 w 1125"/>
                <a:gd name="T21" fmla="*/ 726 h 1267"/>
                <a:gd name="T22" fmla="*/ 669 w 1125"/>
                <a:gd name="T23" fmla="*/ 726 h 1267"/>
                <a:gd name="T24" fmla="*/ 669 w 1125"/>
                <a:gd name="T25" fmla="*/ 532 h 1267"/>
                <a:gd name="T26" fmla="*/ 1125 w 1125"/>
                <a:gd name="T27" fmla="*/ 532 h 1267"/>
                <a:gd name="T28" fmla="*/ 1125 w 1125"/>
                <a:gd name="T29" fmla="*/ 1148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5" h="1267">
                  <a:moveTo>
                    <a:pt x="1125" y="1148"/>
                  </a:moveTo>
                  <a:cubicBezTo>
                    <a:pt x="981" y="1227"/>
                    <a:pt x="815" y="1267"/>
                    <a:pt x="631" y="1267"/>
                  </a:cubicBezTo>
                  <a:cubicBezTo>
                    <a:pt x="263" y="1267"/>
                    <a:pt x="0" y="1015"/>
                    <a:pt x="0" y="639"/>
                  </a:cubicBezTo>
                  <a:cubicBezTo>
                    <a:pt x="0" y="252"/>
                    <a:pt x="263" y="0"/>
                    <a:pt x="631" y="0"/>
                  </a:cubicBezTo>
                  <a:cubicBezTo>
                    <a:pt x="813" y="0"/>
                    <a:pt x="977" y="39"/>
                    <a:pt x="1102" y="152"/>
                  </a:cubicBezTo>
                  <a:cubicBezTo>
                    <a:pt x="945" y="312"/>
                    <a:pt x="945" y="312"/>
                    <a:pt x="945" y="312"/>
                  </a:cubicBezTo>
                  <a:cubicBezTo>
                    <a:pt x="869" y="237"/>
                    <a:pt x="752" y="194"/>
                    <a:pt x="633" y="194"/>
                  </a:cubicBezTo>
                  <a:cubicBezTo>
                    <a:pt x="387" y="194"/>
                    <a:pt x="223" y="385"/>
                    <a:pt x="223" y="625"/>
                  </a:cubicBezTo>
                  <a:cubicBezTo>
                    <a:pt x="223" y="882"/>
                    <a:pt x="387" y="1073"/>
                    <a:pt x="633" y="1073"/>
                  </a:cubicBezTo>
                  <a:cubicBezTo>
                    <a:pt x="741" y="1073"/>
                    <a:pt x="839" y="1053"/>
                    <a:pt x="913" y="1010"/>
                  </a:cubicBezTo>
                  <a:cubicBezTo>
                    <a:pt x="913" y="726"/>
                    <a:pt x="913" y="726"/>
                    <a:pt x="913" y="726"/>
                  </a:cubicBezTo>
                  <a:cubicBezTo>
                    <a:pt x="669" y="726"/>
                    <a:pt x="669" y="726"/>
                    <a:pt x="669" y="726"/>
                  </a:cubicBezTo>
                  <a:cubicBezTo>
                    <a:pt x="669" y="532"/>
                    <a:pt x="669" y="532"/>
                    <a:pt x="669" y="532"/>
                  </a:cubicBezTo>
                  <a:cubicBezTo>
                    <a:pt x="1125" y="532"/>
                    <a:pt x="1125" y="532"/>
                    <a:pt x="1125" y="532"/>
                  </a:cubicBezTo>
                  <a:lnTo>
                    <a:pt x="1125" y="114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0" name="Freeform 46">
              <a:extLst>
                <a:ext uri="{FF2B5EF4-FFF2-40B4-BE49-F238E27FC236}">
                  <a16:creationId xmlns:a16="http://schemas.microsoft.com/office/drawing/2014/main" id="{F032D30D-15CF-4E12-8402-F1C574D25FE7}"/>
                </a:ext>
              </a:extLst>
            </p:cNvPr>
            <p:cNvSpPr>
              <a:spLocks noEditPoints="1"/>
            </p:cNvSpPr>
            <p:nvPr userDrawn="1"/>
          </p:nvSpPr>
          <p:spPr bwMode="ltGray">
            <a:xfrm>
              <a:off x="1258888" y="200025"/>
              <a:ext cx="155575" cy="160338"/>
            </a:xfrm>
            <a:custGeom>
              <a:avLst/>
              <a:gdLst>
                <a:gd name="T0" fmla="*/ 204 w 825"/>
                <a:gd name="T1" fmla="*/ 501 h 858"/>
                <a:gd name="T2" fmla="*/ 423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4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08" y="695"/>
                    <a:pt x="423"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8"/>
                    <a:pt x="542" y="153"/>
                    <a:pt x="414" y="153"/>
                  </a:cubicBezTo>
                  <a:cubicBezTo>
                    <a:pt x="293"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1" name="Freeform 47">
              <a:extLst>
                <a:ext uri="{FF2B5EF4-FFF2-40B4-BE49-F238E27FC236}">
                  <a16:creationId xmlns:a16="http://schemas.microsoft.com/office/drawing/2014/main" id="{62181A78-9679-473A-A970-452B7964DC86}"/>
                </a:ext>
              </a:extLst>
            </p:cNvPr>
            <p:cNvSpPr>
              <a:spLocks/>
            </p:cNvSpPr>
            <p:nvPr userDrawn="1"/>
          </p:nvSpPr>
          <p:spPr bwMode="ltGray">
            <a:xfrm>
              <a:off x="1447800" y="200025"/>
              <a:ext cx="236538" cy="155575"/>
            </a:xfrm>
            <a:custGeom>
              <a:avLst/>
              <a:gdLst>
                <a:gd name="T0" fmla="*/ 0 w 1259"/>
                <a:gd name="T1" fmla="*/ 20 h 833"/>
                <a:gd name="T2" fmla="*/ 193 w 1259"/>
                <a:gd name="T3" fmla="*/ 20 h 833"/>
                <a:gd name="T4" fmla="*/ 193 w 1259"/>
                <a:gd name="T5" fmla="*/ 148 h 833"/>
                <a:gd name="T6" fmla="*/ 197 w 1259"/>
                <a:gd name="T7" fmla="*/ 148 h 833"/>
                <a:gd name="T8" fmla="*/ 445 w 1259"/>
                <a:gd name="T9" fmla="*/ 0 h 833"/>
                <a:gd name="T10" fmla="*/ 699 w 1259"/>
                <a:gd name="T11" fmla="*/ 151 h 833"/>
                <a:gd name="T12" fmla="*/ 966 w 1259"/>
                <a:gd name="T13" fmla="*/ 0 h 833"/>
                <a:gd name="T14" fmla="*/ 1259 w 1259"/>
                <a:gd name="T15" fmla="*/ 349 h 833"/>
                <a:gd name="T16" fmla="*/ 1259 w 1259"/>
                <a:gd name="T17" fmla="*/ 833 h 833"/>
                <a:gd name="T18" fmla="*/ 1056 w 1259"/>
                <a:gd name="T19" fmla="*/ 833 h 833"/>
                <a:gd name="T20" fmla="*/ 1056 w 1259"/>
                <a:gd name="T21" fmla="*/ 372 h 833"/>
                <a:gd name="T22" fmla="*/ 905 w 1259"/>
                <a:gd name="T23" fmla="*/ 183 h 833"/>
                <a:gd name="T24" fmla="*/ 731 w 1259"/>
                <a:gd name="T25" fmla="*/ 393 h 833"/>
                <a:gd name="T26" fmla="*/ 731 w 1259"/>
                <a:gd name="T27" fmla="*/ 833 h 833"/>
                <a:gd name="T28" fmla="*/ 528 w 1259"/>
                <a:gd name="T29" fmla="*/ 833 h 833"/>
                <a:gd name="T30" fmla="*/ 528 w 1259"/>
                <a:gd name="T31" fmla="*/ 349 h 833"/>
                <a:gd name="T32" fmla="*/ 389 w 1259"/>
                <a:gd name="T33" fmla="*/ 183 h 833"/>
                <a:gd name="T34" fmla="*/ 204 w 1259"/>
                <a:gd name="T35" fmla="*/ 390 h 833"/>
                <a:gd name="T36" fmla="*/ 204 w 1259"/>
                <a:gd name="T37" fmla="*/ 833 h 833"/>
                <a:gd name="T38" fmla="*/ 0 w 1259"/>
                <a:gd name="T39" fmla="*/ 833 h 833"/>
                <a:gd name="T40" fmla="*/ 0 w 1259"/>
                <a:gd name="T41" fmla="*/ 2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9" h="833">
                  <a:moveTo>
                    <a:pt x="0" y="20"/>
                  </a:moveTo>
                  <a:cubicBezTo>
                    <a:pt x="193" y="20"/>
                    <a:pt x="193" y="20"/>
                    <a:pt x="193" y="20"/>
                  </a:cubicBezTo>
                  <a:cubicBezTo>
                    <a:pt x="193" y="148"/>
                    <a:pt x="193" y="148"/>
                    <a:pt x="193" y="148"/>
                  </a:cubicBezTo>
                  <a:cubicBezTo>
                    <a:pt x="197" y="148"/>
                    <a:pt x="197" y="148"/>
                    <a:pt x="197" y="148"/>
                  </a:cubicBezTo>
                  <a:cubicBezTo>
                    <a:pt x="232" y="72"/>
                    <a:pt x="310" y="0"/>
                    <a:pt x="445" y="0"/>
                  </a:cubicBezTo>
                  <a:cubicBezTo>
                    <a:pt x="570" y="0"/>
                    <a:pt x="656" y="49"/>
                    <a:pt x="699" y="151"/>
                  </a:cubicBezTo>
                  <a:cubicBezTo>
                    <a:pt x="758" y="47"/>
                    <a:pt x="844" y="0"/>
                    <a:pt x="966" y="0"/>
                  </a:cubicBezTo>
                  <a:cubicBezTo>
                    <a:pt x="1183" y="0"/>
                    <a:pt x="1259" y="155"/>
                    <a:pt x="1259" y="349"/>
                  </a:cubicBezTo>
                  <a:cubicBezTo>
                    <a:pt x="1259" y="833"/>
                    <a:pt x="1259" y="833"/>
                    <a:pt x="1259" y="833"/>
                  </a:cubicBezTo>
                  <a:cubicBezTo>
                    <a:pt x="1056" y="833"/>
                    <a:pt x="1056" y="833"/>
                    <a:pt x="1056" y="833"/>
                  </a:cubicBezTo>
                  <a:cubicBezTo>
                    <a:pt x="1056" y="372"/>
                    <a:pt x="1056" y="372"/>
                    <a:pt x="1056" y="372"/>
                  </a:cubicBezTo>
                  <a:cubicBezTo>
                    <a:pt x="1056" y="271"/>
                    <a:pt x="1025" y="183"/>
                    <a:pt x="905" y="183"/>
                  </a:cubicBezTo>
                  <a:cubicBezTo>
                    <a:pt x="778" y="183"/>
                    <a:pt x="731" y="288"/>
                    <a:pt x="731" y="393"/>
                  </a:cubicBezTo>
                  <a:cubicBezTo>
                    <a:pt x="731" y="833"/>
                    <a:pt x="731" y="833"/>
                    <a:pt x="731" y="833"/>
                  </a:cubicBezTo>
                  <a:cubicBezTo>
                    <a:pt x="528" y="833"/>
                    <a:pt x="528" y="833"/>
                    <a:pt x="528" y="833"/>
                  </a:cubicBezTo>
                  <a:cubicBezTo>
                    <a:pt x="528" y="349"/>
                    <a:pt x="528" y="349"/>
                    <a:pt x="528" y="349"/>
                  </a:cubicBezTo>
                  <a:cubicBezTo>
                    <a:pt x="528" y="249"/>
                    <a:pt x="487" y="183"/>
                    <a:pt x="389" y="183"/>
                  </a:cubicBezTo>
                  <a:cubicBezTo>
                    <a:pt x="256" y="183"/>
                    <a:pt x="204" y="281"/>
                    <a:pt x="204" y="390"/>
                  </a:cubicBezTo>
                  <a:cubicBezTo>
                    <a:pt x="204" y="833"/>
                    <a:pt x="204" y="833"/>
                    <a:pt x="204" y="833"/>
                  </a:cubicBezTo>
                  <a:cubicBezTo>
                    <a:pt x="0" y="833"/>
                    <a:pt x="0" y="833"/>
                    <a:pt x="0" y="833"/>
                  </a:cubicBezTo>
                  <a:lnTo>
                    <a:pt x="0" y="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2" name="Freeform 48">
              <a:extLst>
                <a:ext uri="{FF2B5EF4-FFF2-40B4-BE49-F238E27FC236}">
                  <a16:creationId xmlns:a16="http://schemas.microsoft.com/office/drawing/2014/main" id="{0C7F4442-2C2D-4A55-8C64-21A57A1756DF}"/>
                </a:ext>
              </a:extLst>
            </p:cNvPr>
            <p:cNvSpPr>
              <a:spLocks noEditPoints="1"/>
            </p:cNvSpPr>
            <p:nvPr userDrawn="1"/>
          </p:nvSpPr>
          <p:spPr bwMode="ltGray">
            <a:xfrm>
              <a:off x="1717675" y="200025"/>
              <a:ext cx="153988" cy="160338"/>
            </a:xfrm>
            <a:custGeom>
              <a:avLst/>
              <a:gdLst>
                <a:gd name="T0" fmla="*/ 204 w 825"/>
                <a:gd name="T1" fmla="*/ 501 h 858"/>
                <a:gd name="T2" fmla="*/ 423 w 825"/>
                <a:gd name="T3" fmla="*/ 695 h 858"/>
                <a:gd name="T4" fmla="*/ 642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5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10" y="695"/>
                    <a:pt x="423" y="695"/>
                  </a:cubicBezTo>
                  <a:cubicBezTo>
                    <a:pt x="525" y="695"/>
                    <a:pt x="591" y="647"/>
                    <a:pt x="642"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8"/>
                    <a:pt x="542" y="153"/>
                    <a:pt x="415" y="153"/>
                  </a:cubicBezTo>
                  <a:cubicBezTo>
                    <a:pt x="294"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3" name="Freeform 49">
              <a:extLst>
                <a:ext uri="{FF2B5EF4-FFF2-40B4-BE49-F238E27FC236}">
                  <a16:creationId xmlns:a16="http://schemas.microsoft.com/office/drawing/2014/main" id="{E708E535-9F33-4B32-AF3A-89677DD5E41B}"/>
                </a:ext>
              </a:extLst>
            </p:cNvPr>
            <p:cNvSpPr>
              <a:spLocks noEditPoints="1"/>
            </p:cNvSpPr>
            <p:nvPr userDrawn="1"/>
          </p:nvSpPr>
          <p:spPr bwMode="ltGray">
            <a:xfrm>
              <a:off x="1900238" y="200025"/>
              <a:ext cx="153988" cy="160338"/>
            </a:xfrm>
            <a:custGeom>
              <a:avLst/>
              <a:gdLst>
                <a:gd name="T0" fmla="*/ 204 w 825"/>
                <a:gd name="T1" fmla="*/ 501 h 858"/>
                <a:gd name="T2" fmla="*/ 422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4 w 825"/>
                <a:gd name="T19" fmla="*/ 501 h 858"/>
                <a:gd name="T20" fmla="*/ 621 w 825"/>
                <a:gd name="T21" fmla="*/ 347 h 858"/>
                <a:gd name="T22" fmla="*/ 414 w 825"/>
                <a:gd name="T23" fmla="*/ 153 h 858"/>
                <a:gd name="T24" fmla="*/ 204 w 825"/>
                <a:gd name="T25" fmla="*/ 347 h 858"/>
                <a:gd name="T26" fmla="*/ 621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4" y="501"/>
                  </a:moveTo>
                  <a:cubicBezTo>
                    <a:pt x="217" y="621"/>
                    <a:pt x="308" y="695"/>
                    <a:pt x="422"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19" y="228"/>
                    <a:pt x="542" y="153"/>
                    <a:pt x="414" y="153"/>
                  </a:cubicBezTo>
                  <a:cubicBezTo>
                    <a:pt x="293" y="153"/>
                    <a:pt x="219" y="229"/>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4" name="Freeform 50">
              <a:extLst>
                <a:ext uri="{FF2B5EF4-FFF2-40B4-BE49-F238E27FC236}">
                  <a16:creationId xmlns:a16="http://schemas.microsoft.com/office/drawing/2014/main" id="{8850C9E0-7F66-4B6F-A5E3-B030EA899A8C}"/>
                </a:ext>
              </a:extLst>
            </p:cNvPr>
            <p:cNvSpPr>
              <a:spLocks/>
            </p:cNvSpPr>
            <p:nvPr userDrawn="1"/>
          </p:nvSpPr>
          <p:spPr bwMode="ltGray">
            <a:xfrm>
              <a:off x="2089150" y="200025"/>
              <a:ext cx="139700" cy="155575"/>
            </a:xfrm>
            <a:custGeom>
              <a:avLst/>
              <a:gdLst>
                <a:gd name="T0" fmla="*/ 0 w 750"/>
                <a:gd name="T1" fmla="*/ 20 h 833"/>
                <a:gd name="T2" fmla="*/ 195 w 750"/>
                <a:gd name="T3" fmla="*/ 20 h 833"/>
                <a:gd name="T4" fmla="*/ 195 w 750"/>
                <a:gd name="T5" fmla="*/ 151 h 833"/>
                <a:gd name="T6" fmla="*/ 199 w 750"/>
                <a:gd name="T7" fmla="*/ 151 h 833"/>
                <a:gd name="T8" fmla="*/ 450 w 750"/>
                <a:gd name="T9" fmla="*/ 0 h 833"/>
                <a:gd name="T10" fmla="*/ 750 w 750"/>
                <a:gd name="T11" fmla="*/ 320 h 833"/>
                <a:gd name="T12" fmla="*/ 750 w 750"/>
                <a:gd name="T13" fmla="*/ 833 h 833"/>
                <a:gd name="T14" fmla="*/ 545 w 750"/>
                <a:gd name="T15" fmla="*/ 833 h 833"/>
                <a:gd name="T16" fmla="*/ 545 w 750"/>
                <a:gd name="T17" fmla="*/ 421 h 833"/>
                <a:gd name="T18" fmla="*/ 394 w 750"/>
                <a:gd name="T19" fmla="*/ 183 h 833"/>
                <a:gd name="T20" fmla="*/ 206 w 750"/>
                <a:gd name="T21" fmla="*/ 390 h 833"/>
                <a:gd name="T22" fmla="*/ 206 w 750"/>
                <a:gd name="T23" fmla="*/ 833 h 833"/>
                <a:gd name="T24" fmla="*/ 0 w 750"/>
                <a:gd name="T25" fmla="*/ 833 h 833"/>
                <a:gd name="T26" fmla="*/ 0 w 750"/>
                <a:gd name="T27" fmla="*/ 2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0" h="833">
                  <a:moveTo>
                    <a:pt x="0" y="20"/>
                  </a:moveTo>
                  <a:cubicBezTo>
                    <a:pt x="195" y="20"/>
                    <a:pt x="195" y="20"/>
                    <a:pt x="195" y="20"/>
                  </a:cubicBezTo>
                  <a:cubicBezTo>
                    <a:pt x="195" y="151"/>
                    <a:pt x="195" y="151"/>
                    <a:pt x="195" y="151"/>
                  </a:cubicBezTo>
                  <a:cubicBezTo>
                    <a:pt x="199" y="151"/>
                    <a:pt x="199" y="151"/>
                    <a:pt x="199" y="151"/>
                  </a:cubicBezTo>
                  <a:cubicBezTo>
                    <a:pt x="237" y="69"/>
                    <a:pt x="313" y="0"/>
                    <a:pt x="450" y="0"/>
                  </a:cubicBezTo>
                  <a:cubicBezTo>
                    <a:pt x="671" y="0"/>
                    <a:pt x="750" y="155"/>
                    <a:pt x="750" y="320"/>
                  </a:cubicBezTo>
                  <a:cubicBezTo>
                    <a:pt x="750" y="833"/>
                    <a:pt x="750" y="833"/>
                    <a:pt x="750" y="833"/>
                  </a:cubicBezTo>
                  <a:cubicBezTo>
                    <a:pt x="545" y="833"/>
                    <a:pt x="545" y="833"/>
                    <a:pt x="545" y="833"/>
                  </a:cubicBezTo>
                  <a:cubicBezTo>
                    <a:pt x="545" y="421"/>
                    <a:pt x="545" y="421"/>
                    <a:pt x="545" y="421"/>
                  </a:cubicBezTo>
                  <a:cubicBezTo>
                    <a:pt x="545" y="333"/>
                    <a:pt x="538" y="183"/>
                    <a:pt x="394" y="183"/>
                  </a:cubicBezTo>
                  <a:cubicBezTo>
                    <a:pt x="259" y="183"/>
                    <a:pt x="206" y="281"/>
                    <a:pt x="206" y="390"/>
                  </a:cubicBezTo>
                  <a:cubicBezTo>
                    <a:pt x="206" y="833"/>
                    <a:pt x="206" y="833"/>
                    <a:pt x="206" y="833"/>
                  </a:cubicBezTo>
                  <a:cubicBezTo>
                    <a:pt x="0" y="833"/>
                    <a:pt x="0" y="833"/>
                    <a:pt x="0" y="833"/>
                  </a:cubicBezTo>
                  <a:lnTo>
                    <a:pt x="0" y="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5" name="Freeform 51">
              <a:extLst>
                <a:ext uri="{FF2B5EF4-FFF2-40B4-BE49-F238E27FC236}">
                  <a16:creationId xmlns:a16="http://schemas.microsoft.com/office/drawing/2014/main" id="{5E7243FB-D22C-4780-A2BD-2B0FE0EBDE84}"/>
                </a:ext>
              </a:extLst>
            </p:cNvPr>
            <p:cNvSpPr>
              <a:spLocks/>
            </p:cNvSpPr>
            <p:nvPr userDrawn="1"/>
          </p:nvSpPr>
          <p:spPr bwMode="ltGray">
            <a:xfrm>
              <a:off x="2254250" y="158750"/>
              <a:ext cx="111125" cy="201613"/>
            </a:xfrm>
            <a:custGeom>
              <a:avLst/>
              <a:gdLst>
                <a:gd name="T0" fmla="*/ 0 w 591"/>
                <a:gd name="T1" fmla="*/ 411 h 1075"/>
                <a:gd name="T2" fmla="*/ 0 w 591"/>
                <a:gd name="T3" fmla="*/ 237 h 1075"/>
                <a:gd name="T4" fmla="*/ 166 w 591"/>
                <a:gd name="T5" fmla="*/ 237 h 1075"/>
                <a:gd name="T6" fmla="*/ 166 w 591"/>
                <a:gd name="T7" fmla="*/ 0 h 1075"/>
                <a:gd name="T8" fmla="*/ 369 w 591"/>
                <a:gd name="T9" fmla="*/ 0 h 1075"/>
                <a:gd name="T10" fmla="*/ 369 w 591"/>
                <a:gd name="T11" fmla="*/ 237 h 1075"/>
                <a:gd name="T12" fmla="*/ 591 w 591"/>
                <a:gd name="T13" fmla="*/ 237 h 1075"/>
                <a:gd name="T14" fmla="*/ 591 w 591"/>
                <a:gd name="T15" fmla="*/ 411 h 1075"/>
                <a:gd name="T16" fmla="*/ 369 w 591"/>
                <a:gd name="T17" fmla="*/ 411 h 1075"/>
                <a:gd name="T18" fmla="*/ 369 w 591"/>
                <a:gd name="T19" fmla="*/ 769 h 1075"/>
                <a:gd name="T20" fmla="*/ 482 w 591"/>
                <a:gd name="T21" fmla="*/ 901 h 1075"/>
                <a:gd name="T22" fmla="*/ 591 w 591"/>
                <a:gd name="T23" fmla="*/ 876 h 1075"/>
                <a:gd name="T24" fmla="*/ 591 w 591"/>
                <a:gd name="T25" fmla="*/ 1048 h 1075"/>
                <a:gd name="T26" fmla="*/ 432 w 591"/>
                <a:gd name="T27" fmla="*/ 1075 h 1075"/>
                <a:gd name="T28" fmla="*/ 166 w 591"/>
                <a:gd name="T29" fmla="*/ 786 h 1075"/>
                <a:gd name="T30" fmla="*/ 166 w 591"/>
                <a:gd name="T31" fmla="*/ 411 h 1075"/>
                <a:gd name="T32" fmla="*/ 0 w 591"/>
                <a:gd name="T33" fmla="*/ 411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1" h="1075">
                  <a:moveTo>
                    <a:pt x="0" y="411"/>
                  </a:moveTo>
                  <a:cubicBezTo>
                    <a:pt x="0" y="237"/>
                    <a:pt x="0" y="237"/>
                    <a:pt x="0" y="237"/>
                  </a:cubicBezTo>
                  <a:cubicBezTo>
                    <a:pt x="166" y="237"/>
                    <a:pt x="166" y="237"/>
                    <a:pt x="166" y="237"/>
                  </a:cubicBezTo>
                  <a:cubicBezTo>
                    <a:pt x="166" y="0"/>
                    <a:pt x="166" y="0"/>
                    <a:pt x="166" y="0"/>
                  </a:cubicBezTo>
                  <a:cubicBezTo>
                    <a:pt x="369" y="0"/>
                    <a:pt x="369" y="0"/>
                    <a:pt x="369" y="0"/>
                  </a:cubicBezTo>
                  <a:cubicBezTo>
                    <a:pt x="369" y="237"/>
                    <a:pt x="369" y="237"/>
                    <a:pt x="369" y="237"/>
                  </a:cubicBezTo>
                  <a:cubicBezTo>
                    <a:pt x="591" y="237"/>
                    <a:pt x="591" y="237"/>
                    <a:pt x="591" y="237"/>
                  </a:cubicBezTo>
                  <a:cubicBezTo>
                    <a:pt x="591" y="411"/>
                    <a:pt x="591" y="411"/>
                    <a:pt x="591" y="411"/>
                  </a:cubicBezTo>
                  <a:cubicBezTo>
                    <a:pt x="369" y="411"/>
                    <a:pt x="369" y="411"/>
                    <a:pt x="369" y="411"/>
                  </a:cubicBezTo>
                  <a:cubicBezTo>
                    <a:pt x="369" y="769"/>
                    <a:pt x="369" y="769"/>
                    <a:pt x="369" y="769"/>
                  </a:cubicBezTo>
                  <a:cubicBezTo>
                    <a:pt x="369" y="851"/>
                    <a:pt x="392" y="901"/>
                    <a:pt x="482" y="901"/>
                  </a:cubicBezTo>
                  <a:cubicBezTo>
                    <a:pt x="517" y="901"/>
                    <a:pt x="566" y="894"/>
                    <a:pt x="591" y="876"/>
                  </a:cubicBezTo>
                  <a:cubicBezTo>
                    <a:pt x="591" y="1048"/>
                    <a:pt x="591" y="1048"/>
                    <a:pt x="591" y="1048"/>
                  </a:cubicBezTo>
                  <a:cubicBezTo>
                    <a:pt x="550" y="1068"/>
                    <a:pt x="478" y="1075"/>
                    <a:pt x="432" y="1075"/>
                  </a:cubicBezTo>
                  <a:cubicBezTo>
                    <a:pt x="216" y="1075"/>
                    <a:pt x="166" y="978"/>
                    <a:pt x="166" y="786"/>
                  </a:cubicBezTo>
                  <a:cubicBezTo>
                    <a:pt x="166" y="411"/>
                    <a:pt x="166" y="411"/>
                    <a:pt x="166" y="411"/>
                  </a:cubicBezTo>
                  <a:lnTo>
                    <a:pt x="0" y="41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6" name="Freeform 52">
              <a:extLst>
                <a:ext uri="{FF2B5EF4-FFF2-40B4-BE49-F238E27FC236}">
                  <a16:creationId xmlns:a16="http://schemas.microsoft.com/office/drawing/2014/main" id="{6E9E2EC8-D504-4CF1-B77E-DDBDE4017BF5}"/>
                </a:ext>
              </a:extLst>
            </p:cNvPr>
            <p:cNvSpPr>
              <a:spLocks noEditPoints="1"/>
            </p:cNvSpPr>
            <p:nvPr userDrawn="1"/>
          </p:nvSpPr>
          <p:spPr bwMode="ltGray">
            <a:xfrm>
              <a:off x="2387600" y="200025"/>
              <a:ext cx="155575" cy="160338"/>
            </a:xfrm>
            <a:custGeom>
              <a:avLst/>
              <a:gdLst>
                <a:gd name="T0" fmla="*/ 203 w 825"/>
                <a:gd name="T1" fmla="*/ 501 h 858"/>
                <a:gd name="T2" fmla="*/ 422 w 825"/>
                <a:gd name="T3" fmla="*/ 695 h 858"/>
                <a:gd name="T4" fmla="*/ 641 w 825"/>
                <a:gd name="T5" fmla="*/ 585 h 858"/>
                <a:gd name="T6" fmla="*/ 788 w 825"/>
                <a:gd name="T7" fmla="*/ 695 h 858"/>
                <a:gd name="T8" fmla="*/ 443 w 825"/>
                <a:gd name="T9" fmla="*/ 858 h 858"/>
                <a:gd name="T10" fmla="*/ 0 w 825"/>
                <a:gd name="T11" fmla="*/ 429 h 858"/>
                <a:gd name="T12" fmla="*/ 443 w 825"/>
                <a:gd name="T13" fmla="*/ 0 h 858"/>
                <a:gd name="T14" fmla="*/ 825 w 825"/>
                <a:gd name="T15" fmla="*/ 445 h 858"/>
                <a:gd name="T16" fmla="*/ 825 w 825"/>
                <a:gd name="T17" fmla="*/ 501 h 858"/>
                <a:gd name="T18" fmla="*/ 203 w 825"/>
                <a:gd name="T19" fmla="*/ 501 h 858"/>
                <a:gd name="T20" fmla="*/ 622 w 825"/>
                <a:gd name="T21" fmla="*/ 347 h 858"/>
                <a:gd name="T22" fmla="*/ 414 w 825"/>
                <a:gd name="T23" fmla="*/ 153 h 858"/>
                <a:gd name="T24" fmla="*/ 203 w 825"/>
                <a:gd name="T25" fmla="*/ 347 h 858"/>
                <a:gd name="T26" fmla="*/ 622 w 825"/>
                <a:gd name="T27" fmla="*/ 347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8">
                  <a:moveTo>
                    <a:pt x="203" y="501"/>
                  </a:moveTo>
                  <a:cubicBezTo>
                    <a:pt x="217" y="621"/>
                    <a:pt x="309" y="695"/>
                    <a:pt x="422" y="695"/>
                  </a:cubicBezTo>
                  <a:cubicBezTo>
                    <a:pt x="524" y="695"/>
                    <a:pt x="591" y="647"/>
                    <a:pt x="641" y="585"/>
                  </a:cubicBezTo>
                  <a:cubicBezTo>
                    <a:pt x="788" y="695"/>
                    <a:pt x="788" y="695"/>
                    <a:pt x="788" y="695"/>
                  </a:cubicBezTo>
                  <a:cubicBezTo>
                    <a:pt x="693" y="813"/>
                    <a:pt x="572" y="858"/>
                    <a:pt x="443" y="858"/>
                  </a:cubicBezTo>
                  <a:cubicBezTo>
                    <a:pt x="197" y="858"/>
                    <a:pt x="0" y="686"/>
                    <a:pt x="0" y="429"/>
                  </a:cubicBezTo>
                  <a:cubicBezTo>
                    <a:pt x="0" y="172"/>
                    <a:pt x="197" y="0"/>
                    <a:pt x="443" y="0"/>
                  </a:cubicBezTo>
                  <a:cubicBezTo>
                    <a:pt x="671" y="0"/>
                    <a:pt x="825" y="160"/>
                    <a:pt x="825" y="445"/>
                  </a:cubicBezTo>
                  <a:cubicBezTo>
                    <a:pt x="825" y="501"/>
                    <a:pt x="825" y="501"/>
                    <a:pt x="825" y="501"/>
                  </a:cubicBezTo>
                  <a:lnTo>
                    <a:pt x="203" y="501"/>
                  </a:lnTo>
                  <a:close/>
                  <a:moveTo>
                    <a:pt x="622" y="347"/>
                  </a:moveTo>
                  <a:cubicBezTo>
                    <a:pt x="619" y="228"/>
                    <a:pt x="542" y="153"/>
                    <a:pt x="414" y="153"/>
                  </a:cubicBezTo>
                  <a:cubicBezTo>
                    <a:pt x="293" y="153"/>
                    <a:pt x="218" y="229"/>
                    <a:pt x="203" y="347"/>
                  </a:cubicBezTo>
                  <a:lnTo>
                    <a:pt x="622"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7" name="Freeform 53">
              <a:extLst>
                <a:ext uri="{FF2B5EF4-FFF2-40B4-BE49-F238E27FC236}">
                  <a16:creationId xmlns:a16="http://schemas.microsoft.com/office/drawing/2014/main" id="{8A66AFFE-C1AF-4BF3-961F-5537D56D006C}"/>
                </a:ext>
              </a:extLst>
            </p:cNvPr>
            <p:cNvSpPr>
              <a:spLocks noEditPoints="1"/>
            </p:cNvSpPr>
            <p:nvPr userDrawn="1"/>
          </p:nvSpPr>
          <p:spPr bwMode="ltGray">
            <a:xfrm>
              <a:off x="998538" y="465138"/>
              <a:ext cx="228600" cy="225425"/>
            </a:xfrm>
            <a:custGeom>
              <a:avLst/>
              <a:gdLst>
                <a:gd name="T0" fmla="*/ 61 w 144"/>
                <a:gd name="T1" fmla="*/ 0 h 142"/>
                <a:gd name="T2" fmla="*/ 83 w 144"/>
                <a:gd name="T3" fmla="*/ 0 h 142"/>
                <a:gd name="T4" fmla="*/ 144 w 144"/>
                <a:gd name="T5" fmla="*/ 142 h 142"/>
                <a:gd name="T6" fmla="*/ 115 w 144"/>
                <a:gd name="T7" fmla="*/ 142 h 142"/>
                <a:gd name="T8" fmla="*/ 103 w 144"/>
                <a:gd name="T9" fmla="*/ 109 h 142"/>
                <a:gd name="T10" fmla="*/ 41 w 144"/>
                <a:gd name="T11" fmla="*/ 109 h 142"/>
                <a:gd name="T12" fmla="*/ 28 w 144"/>
                <a:gd name="T13" fmla="*/ 142 h 142"/>
                <a:gd name="T14" fmla="*/ 0 w 144"/>
                <a:gd name="T15" fmla="*/ 142 h 142"/>
                <a:gd name="T16" fmla="*/ 61 w 144"/>
                <a:gd name="T17" fmla="*/ 0 h 142"/>
                <a:gd name="T18" fmla="*/ 94 w 144"/>
                <a:gd name="T19" fmla="*/ 88 h 142"/>
                <a:gd name="T20" fmla="*/ 72 w 144"/>
                <a:gd name="T21" fmla="*/ 30 h 142"/>
                <a:gd name="T22" fmla="*/ 50 w 144"/>
                <a:gd name="T23" fmla="*/ 88 h 142"/>
                <a:gd name="T24" fmla="*/ 94 w 144"/>
                <a:gd name="T25" fmla="*/ 8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42">
                  <a:moveTo>
                    <a:pt x="61" y="0"/>
                  </a:moveTo>
                  <a:lnTo>
                    <a:pt x="83" y="0"/>
                  </a:lnTo>
                  <a:lnTo>
                    <a:pt x="144" y="142"/>
                  </a:lnTo>
                  <a:lnTo>
                    <a:pt x="115" y="142"/>
                  </a:lnTo>
                  <a:lnTo>
                    <a:pt x="103" y="109"/>
                  </a:lnTo>
                  <a:lnTo>
                    <a:pt x="41" y="109"/>
                  </a:lnTo>
                  <a:lnTo>
                    <a:pt x="28" y="142"/>
                  </a:lnTo>
                  <a:lnTo>
                    <a:pt x="0" y="142"/>
                  </a:lnTo>
                  <a:lnTo>
                    <a:pt x="61" y="0"/>
                  </a:lnTo>
                  <a:close/>
                  <a:moveTo>
                    <a:pt x="94" y="88"/>
                  </a:moveTo>
                  <a:lnTo>
                    <a:pt x="72" y="30"/>
                  </a:lnTo>
                  <a:lnTo>
                    <a:pt x="50" y="88"/>
                  </a:lnTo>
                  <a:lnTo>
                    <a:pt x="94" y="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8" name="Freeform 54">
              <a:extLst>
                <a:ext uri="{FF2B5EF4-FFF2-40B4-BE49-F238E27FC236}">
                  <a16:creationId xmlns:a16="http://schemas.microsoft.com/office/drawing/2014/main" id="{EC606987-D892-4CD1-9A72-6B9C2DC29614}"/>
                </a:ext>
              </a:extLst>
            </p:cNvPr>
            <p:cNvSpPr>
              <a:spLocks/>
            </p:cNvSpPr>
            <p:nvPr userDrawn="1"/>
          </p:nvSpPr>
          <p:spPr bwMode="ltGray">
            <a:xfrm>
              <a:off x="1247775" y="533400"/>
              <a:ext cx="236538" cy="157163"/>
            </a:xfrm>
            <a:custGeom>
              <a:avLst/>
              <a:gdLst>
                <a:gd name="T0" fmla="*/ 0 w 1267"/>
                <a:gd name="T1" fmla="*/ 21 h 842"/>
                <a:gd name="T2" fmla="*/ 194 w 1267"/>
                <a:gd name="T3" fmla="*/ 21 h 842"/>
                <a:gd name="T4" fmla="*/ 194 w 1267"/>
                <a:gd name="T5" fmla="*/ 149 h 842"/>
                <a:gd name="T6" fmla="*/ 198 w 1267"/>
                <a:gd name="T7" fmla="*/ 149 h 842"/>
                <a:gd name="T8" fmla="*/ 448 w 1267"/>
                <a:gd name="T9" fmla="*/ 0 h 842"/>
                <a:gd name="T10" fmla="*/ 704 w 1267"/>
                <a:gd name="T11" fmla="*/ 153 h 842"/>
                <a:gd name="T12" fmla="*/ 972 w 1267"/>
                <a:gd name="T13" fmla="*/ 0 h 842"/>
                <a:gd name="T14" fmla="*/ 1267 w 1267"/>
                <a:gd name="T15" fmla="*/ 352 h 842"/>
                <a:gd name="T16" fmla="*/ 1267 w 1267"/>
                <a:gd name="T17" fmla="*/ 842 h 842"/>
                <a:gd name="T18" fmla="*/ 1063 w 1267"/>
                <a:gd name="T19" fmla="*/ 842 h 842"/>
                <a:gd name="T20" fmla="*/ 1063 w 1267"/>
                <a:gd name="T21" fmla="*/ 377 h 842"/>
                <a:gd name="T22" fmla="*/ 911 w 1267"/>
                <a:gd name="T23" fmla="*/ 185 h 842"/>
                <a:gd name="T24" fmla="*/ 736 w 1267"/>
                <a:gd name="T25" fmla="*/ 397 h 842"/>
                <a:gd name="T26" fmla="*/ 736 w 1267"/>
                <a:gd name="T27" fmla="*/ 842 h 842"/>
                <a:gd name="T28" fmla="*/ 532 w 1267"/>
                <a:gd name="T29" fmla="*/ 842 h 842"/>
                <a:gd name="T30" fmla="*/ 532 w 1267"/>
                <a:gd name="T31" fmla="*/ 352 h 842"/>
                <a:gd name="T32" fmla="*/ 392 w 1267"/>
                <a:gd name="T33" fmla="*/ 185 h 842"/>
                <a:gd name="T34" fmla="*/ 205 w 1267"/>
                <a:gd name="T35" fmla="*/ 394 h 842"/>
                <a:gd name="T36" fmla="*/ 205 w 1267"/>
                <a:gd name="T37" fmla="*/ 842 h 842"/>
                <a:gd name="T38" fmla="*/ 0 w 1267"/>
                <a:gd name="T39" fmla="*/ 842 h 842"/>
                <a:gd name="T40" fmla="*/ 0 w 1267"/>
                <a:gd name="T41"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7" h="842">
                  <a:moveTo>
                    <a:pt x="0" y="21"/>
                  </a:moveTo>
                  <a:cubicBezTo>
                    <a:pt x="194" y="21"/>
                    <a:pt x="194" y="21"/>
                    <a:pt x="194" y="21"/>
                  </a:cubicBezTo>
                  <a:cubicBezTo>
                    <a:pt x="194" y="149"/>
                    <a:pt x="194" y="149"/>
                    <a:pt x="194" y="149"/>
                  </a:cubicBezTo>
                  <a:cubicBezTo>
                    <a:pt x="198" y="149"/>
                    <a:pt x="198" y="149"/>
                    <a:pt x="198" y="149"/>
                  </a:cubicBezTo>
                  <a:cubicBezTo>
                    <a:pt x="234" y="72"/>
                    <a:pt x="312" y="0"/>
                    <a:pt x="448" y="0"/>
                  </a:cubicBezTo>
                  <a:cubicBezTo>
                    <a:pt x="574" y="0"/>
                    <a:pt x="661" y="50"/>
                    <a:pt x="704" y="153"/>
                  </a:cubicBezTo>
                  <a:cubicBezTo>
                    <a:pt x="763" y="48"/>
                    <a:pt x="850" y="0"/>
                    <a:pt x="972" y="0"/>
                  </a:cubicBezTo>
                  <a:cubicBezTo>
                    <a:pt x="1191" y="0"/>
                    <a:pt x="1267" y="156"/>
                    <a:pt x="1267" y="352"/>
                  </a:cubicBezTo>
                  <a:cubicBezTo>
                    <a:pt x="1267" y="842"/>
                    <a:pt x="1267" y="842"/>
                    <a:pt x="1267" y="842"/>
                  </a:cubicBezTo>
                  <a:cubicBezTo>
                    <a:pt x="1063" y="842"/>
                    <a:pt x="1063" y="842"/>
                    <a:pt x="1063" y="842"/>
                  </a:cubicBezTo>
                  <a:cubicBezTo>
                    <a:pt x="1063" y="377"/>
                    <a:pt x="1063" y="377"/>
                    <a:pt x="1063" y="377"/>
                  </a:cubicBezTo>
                  <a:cubicBezTo>
                    <a:pt x="1063" y="274"/>
                    <a:pt x="1032" y="185"/>
                    <a:pt x="911" y="185"/>
                  </a:cubicBezTo>
                  <a:cubicBezTo>
                    <a:pt x="784" y="185"/>
                    <a:pt x="736" y="291"/>
                    <a:pt x="736" y="397"/>
                  </a:cubicBezTo>
                  <a:cubicBezTo>
                    <a:pt x="736" y="842"/>
                    <a:pt x="736" y="842"/>
                    <a:pt x="736" y="842"/>
                  </a:cubicBezTo>
                  <a:cubicBezTo>
                    <a:pt x="532" y="842"/>
                    <a:pt x="532" y="842"/>
                    <a:pt x="532" y="842"/>
                  </a:cubicBezTo>
                  <a:cubicBezTo>
                    <a:pt x="532" y="352"/>
                    <a:pt x="532" y="352"/>
                    <a:pt x="532" y="352"/>
                  </a:cubicBezTo>
                  <a:cubicBezTo>
                    <a:pt x="532" y="252"/>
                    <a:pt x="490" y="185"/>
                    <a:pt x="392" y="185"/>
                  </a:cubicBezTo>
                  <a:cubicBezTo>
                    <a:pt x="258" y="185"/>
                    <a:pt x="205" y="284"/>
                    <a:pt x="205" y="394"/>
                  </a:cubicBezTo>
                  <a:cubicBezTo>
                    <a:pt x="205" y="842"/>
                    <a:pt x="205" y="842"/>
                    <a:pt x="205"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29" name="Freeform 55">
              <a:extLst>
                <a:ext uri="{FF2B5EF4-FFF2-40B4-BE49-F238E27FC236}">
                  <a16:creationId xmlns:a16="http://schemas.microsoft.com/office/drawing/2014/main" id="{938EECDB-9B08-44D8-9CAE-92D9483255BB}"/>
                </a:ext>
              </a:extLst>
            </p:cNvPr>
            <p:cNvSpPr>
              <a:spLocks/>
            </p:cNvSpPr>
            <p:nvPr userDrawn="1"/>
          </p:nvSpPr>
          <p:spPr bwMode="ltGray">
            <a:xfrm>
              <a:off x="1512888" y="533400"/>
              <a:ext cx="123825" cy="160338"/>
            </a:xfrm>
            <a:custGeom>
              <a:avLst/>
              <a:gdLst>
                <a:gd name="T0" fmla="*/ 507 w 667"/>
                <a:gd name="T1" fmla="*/ 247 h 859"/>
                <a:gd name="T2" fmla="*/ 348 w 667"/>
                <a:gd name="T3" fmla="*/ 164 h 859"/>
                <a:gd name="T4" fmla="*/ 228 w 667"/>
                <a:gd name="T5" fmla="*/ 251 h 859"/>
                <a:gd name="T6" fmla="*/ 667 w 667"/>
                <a:gd name="T7" fmla="*/ 597 h 859"/>
                <a:gd name="T8" fmla="*/ 317 w 667"/>
                <a:gd name="T9" fmla="*/ 859 h 859"/>
                <a:gd name="T10" fmla="*/ 0 w 667"/>
                <a:gd name="T11" fmla="*/ 733 h 859"/>
                <a:gd name="T12" fmla="*/ 136 w 667"/>
                <a:gd name="T13" fmla="*/ 605 h 859"/>
                <a:gd name="T14" fmla="*/ 329 w 667"/>
                <a:gd name="T15" fmla="*/ 706 h 859"/>
                <a:gd name="T16" fmla="*/ 464 w 667"/>
                <a:gd name="T17" fmla="*/ 612 h 859"/>
                <a:gd name="T18" fmla="*/ 25 w 667"/>
                <a:gd name="T19" fmla="*/ 264 h 859"/>
                <a:gd name="T20" fmla="*/ 352 w 667"/>
                <a:gd name="T21" fmla="*/ 0 h 859"/>
                <a:gd name="T22" fmla="*/ 642 w 667"/>
                <a:gd name="T23" fmla="*/ 125 h 859"/>
                <a:gd name="T24" fmla="*/ 507 w 667"/>
                <a:gd name="T25" fmla="*/ 2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7" h="859">
                  <a:moveTo>
                    <a:pt x="507" y="247"/>
                  </a:moveTo>
                  <a:cubicBezTo>
                    <a:pt x="467" y="193"/>
                    <a:pt x="417" y="164"/>
                    <a:pt x="348" y="164"/>
                  </a:cubicBezTo>
                  <a:cubicBezTo>
                    <a:pt x="293" y="164"/>
                    <a:pt x="228" y="190"/>
                    <a:pt x="228" y="251"/>
                  </a:cubicBezTo>
                  <a:cubicBezTo>
                    <a:pt x="228" y="397"/>
                    <a:pt x="667" y="278"/>
                    <a:pt x="667" y="597"/>
                  </a:cubicBezTo>
                  <a:cubicBezTo>
                    <a:pt x="667" y="791"/>
                    <a:pt x="483" y="859"/>
                    <a:pt x="317" y="859"/>
                  </a:cubicBezTo>
                  <a:cubicBezTo>
                    <a:pt x="191" y="859"/>
                    <a:pt x="83" y="826"/>
                    <a:pt x="0" y="733"/>
                  </a:cubicBezTo>
                  <a:cubicBezTo>
                    <a:pt x="136" y="605"/>
                    <a:pt x="136" y="605"/>
                    <a:pt x="136" y="605"/>
                  </a:cubicBezTo>
                  <a:cubicBezTo>
                    <a:pt x="188" y="662"/>
                    <a:pt x="242" y="706"/>
                    <a:pt x="329" y="706"/>
                  </a:cubicBezTo>
                  <a:cubicBezTo>
                    <a:pt x="387" y="706"/>
                    <a:pt x="464" y="677"/>
                    <a:pt x="464" y="612"/>
                  </a:cubicBezTo>
                  <a:cubicBezTo>
                    <a:pt x="464" y="443"/>
                    <a:pt x="25" y="575"/>
                    <a:pt x="25" y="264"/>
                  </a:cubicBezTo>
                  <a:cubicBezTo>
                    <a:pt x="25" y="82"/>
                    <a:pt x="188" y="0"/>
                    <a:pt x="352" y="0"/>
                  </a:cubicBezTo>
                  <a:cubicBezTo>
                    <a:pt x="461" y="0"/>
                    <a:pt x="576" y="35"/>
                    <a:pt x="642" y="125"/>
                  </a:cubicBezTo>
                  <a:lnTo>
                    <a:pt x="507" y="2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0" name="Freeform 56">
              <a:extLst>
                <a:ext uri="{FF2B5EF4-FFF2-40B4-BE49-F238E27FC236}">
                  <a16:creationId xmlns:a16="http://schemas.microsoft.com/office/drawing/2014/main" id="{201C2FD4-4458-4C08-B319-3082B6BC5FFC}"/>
                </a:ext>
              </a:extLst>
            </p:cNvPr>
            <p:cNvSpPr>
              <a:spLocks/>
            </p:cNvSpPr>
            <p:nvPr userDrawn="1"/>
          </p:nvSpPr>
          <p:spPr bwMode="ltGray">
            <a:xfrm>
              <a:off x="1647825" y="493713"/>
              <a:ext cx="112713" cy="200025"/>
            </a:xfrm>
            <a:custGeom>
              <a:avLst/>
              <a:gdLst>
                <a:gd name="T0" fmla="*/ 0 w 600"/>
                <a:gd name="T1" fmla="*/ 407 h 1067"/>
                <a:gd name="T2" fmla="*/ 0 w 600"/>
                <a:gd name="T3" fmla="*/ 235 h 1067"/>
                <a:gd name="T4" fmla="*/ 169 w 600"/>
                <a:gd name="T5" fmla="*/ 235 h 1067"/>
                <a:gd name="T6" fmla="*/ 169 w 600"/>
                <a:gd name="T7" fmla="*/ 0 h 1067"/>
                <a:gd name="T8" fmla="*/ 374 w 600"/>
                <a:gd name="T9" fmla="*/ 0 h 1067"/>
                <a:gd name="T10" fmla="*/ 374 w 600"/>
                <a:gd name="T11" fmla="*/ 235 h 1067"/>
                <a:gd name="T12" fmla="*/ 600 w 600"/>
                <a:gd name="T13" fmla="*/ 235 h 1067"/>
                <a:gd name="T14" fmla="*/ 600 w 600"/>
                <a:gd name="T15" fmla="*/ 407 h 1067"/>
                <a:gd name="T16" fmla="*/ 374 w 600"/>
                <a:gd name="T17" fmla="*/ 407 h 1067"/>
                <a:gd name="T18" fmla="*/ 374 w 600"/>
                <a:gd name="T19" fmla="*/ 762 h 1067"/>
                <a:gd name="T20" fmla="*/ 488 w 600"/>
                <a:gd name="T21" fmla="*/ 894 h 1067"/>
                <a:gd name="T22" fmla="*/ 600 w 600"/>
                <a:gd name="T23" fmla="*/ 868 h 1067"/>
                <a:gd name="T24" fmla="*/ 600 w 600"/>
                <a:gd name="T25" fmla="*/ 1040 h 1067"/>
                <a:gd name="T26" fmla="*/ 437 w 600"/>
                <a:gd name="T27" fmla="*/ 1067 h 1067"/>
                <a:gd name="T28" fmla="*/ 169 w 600"/>
                <a:gd name="T29" fmla="*/ 780 h 1067"/>
                <a:gd name="T30" fmla="*/ 169 w 600"/>
                <a:gd name="T31" fmla="*/ 407 h 1067"/>
                <a:gd name="T32" fmla="*/ 0 w 600"/>
                <a:gd name="T33" fmla="*/ 40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0" h="1067">
                  <a:moveTo>
                    <a:pt x="0" y="407"/>
                  </a:moveTo>
                  <a:cubicBezTo>
                    <a:pt x="0" y="235"/>
                    <a:pt x="0" y="235"/>
                    <a:pt x="0" y="235"/>
                  </a:cubicBezTo>
                  <a:cubicBezTo>
                    <a:pt x="169" y="235"/>
                    <a:pt x="169" y="235"/>
                    <a:pt x="169" y="235"/>
                  </a:cubicBezTo>
                  <a:cubicBezTo>
                    <a:pt x="169" y="0"/>
                    <a:pt x="169" y="0"/>
                    <a:pt x="169" y="0"/>
                  </a:cubicBezTo>
                  <a:cubicBezTo>
                    <a:pt x="374" y="0"/>
                    <a:pt x="374" y="0"/>
                    <a:pt x="374" y="0"/>
                  </a:cubicBezTo>
                  <a:cubicBezTo>
                    <a:pt x="374" y="235"/>
                    <a:pt x="374" y="235"/>
                    <a:pt x="374" y="235"/>
                  </a:cubicBezTo>
                  <a:cubicBezTo>
                    <a:pt x="600" y="235"/>
                    <a:pt x="600" y="235"/>
                    <a:pt x="600" y="235"/>
                  </a:cubicBezTo>
                  <a:cubicBezTo>
                    <a:pt x="600" y="407"/>
                    <a:pt x="600" y="407"/>
                    <a:pt x="600" y="407"/>
                  </a:cubicBezTo>
                  <a:cubicBezTo>
                    <a:pt x="374" y="407"/>
                    <a:pt x="374" y="407"/>
                    <a:pt x="374" y="407"/>
                  </a:cubicBezTo>
                  <a:cubicBezTo>
                    <a:pt x="374" y="762"/>
                    <a:pt x="374" y="762"/>
                    <a:pt x="374" y="762"/>
                  </a:cubicBezTo>
                  <a:cubicBezTo>
                    <a:pt x="374" y="844"/>
                    <a:pt x="399" y="894"/>
                    <a:pt x="488" y="894"/>
                  </a:cubicBezTo>
                  <a:cubicBezTo>
                    <a:pt x="525" y="894"/>
                    <a:pt x="574" y="887"/>
                    <a:pt x="600" y="868"/>
                  </a:cubicBezTo>
                  <a:cubicBezTo>
                    <a:pt x="600" y="1040"/>
                    <a:pt x="600" y="1040"/>
                    <a:pt x="600" y="1040"/>
                  </a:cubicBezTo>
                  <a:cubicBezTo>
                    <a:pt x="557" y="1060"/>
                    <a:pt x="486" y="1067"/>
                    <a:pt x="437" y="1067"/>
                  </a:cubicBezTo>
                  <a:cubicBezTo>
                    <a:pt x="221" y="1067"/>
                    <a:pt x="169" y="970"/>
                    <a:pt x="169" y="780"/>
                  </a:cubicBezTo>
                  <a:cubicBezTo>
                    <a:pt x="169" y="407"/>
                    <a:pt x="169" y="407"/>
                    <a:pt x="169" y="407"/>
                  </a:cubicBezTo>
                  <a:lnTo>
                    <a:pt x="0" y="40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1" name="Freeform 57">
              <a:extLst>
                <a:ext uri="{FF2B5EF4-FFF2-40B4-BE49-F238E27FC236}">
                  <a16:creationId xmlns:a16="http://schemas.microsoft.com/office/drawing/2014/main" id="{5A3F9447-F0E2-44F7-8372-1CAA2787262A}"/>
                </a:ext>
              </a:extLst>
            </p:cNvPr>
            <p:cNvSpPr>
              <a:spLocks noEditPoints="1"/>
            </p:cNvSpPr>
            <p:nvPr userDrawn="1"/>
          </p:nvSpPr>
          <p:spPr bwMode="ltGray">
            <a:xfrm>
              <a:off x="1781175" y="533400"/>
              <a:ext cx="155575" cy="160338"/>
            </a:xfrm>
            <a:custGeom>
              <a:avLst/>
              <a:gdLst>
                <a:gd name="T0" fmla="*/ 204 w 825"/>
                <a:gd name="T1" fmla="*/ 501 h 859"/>
                <a:gd name="T2" fmla="*/ 423 w 825"/>
                <a:gd name="T3" fmla="*/ 695 h 859"/>
                <a:gd name="T4" fmla="*/ 642 w 825"/>
                <a:gd name="T5" fmla="*/ 585 h 859"/>
                <a:gd name="T6" fmla="*/ 787 w 825"/>
                <a:gd name="T7" fmla="*/ 695 h 859"/>
                <a:gd name="T8" fmla="*/ 443 w 825"/>
                <a:gd name="T9" fmla="*/ 859 h 859"/>
                <a:gd name="T10" fmla="*/ 0 w 825"/>
                <a:gd name="T11" fmla="*/ 430 h 859"/>
                <a:gd name="T12" fmla="*/ 443 w 825"/>
                <a:gd name="T13" fmla="*/ 0 h 859"/>
                <a:gd name="T14" fmla="*/ 825 w 825"/>
                <a:gd name="T15" fmla="*/ 445 h 859"/>
                <a:gd name="T16" fmla="*/ 825 w 825"/>
                <a:gd name="T17" fmla="*/ 501 h 859"/>
                <a:gd name="T18" fmla="*/ 204 w 825"/>
                <a:gd name="T19" fmla="*/ 501 h 859"/>
                <a:gd name="T20" fmla="*/ 621 w 825"/>
                <a:gd name="T21" fmla="*/ 347 h 859"/>
                <a:gd name="T22" fmla="*/ 415 w 825"/>
                <a:gd name="T23" fmla="*/ 153 h 859"/>
                <a:gd name="T24" fmla="*/ 204 w 825"/>
                <a:gd name="T25" fmla="*/ 347 h 859"/>
                <a:gd name="T26" fmla="*/ 621 w 825"/>
                <a:gd name="T27" fmla="*/ 3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5" h="859">
                  <a:moveTo>
                    <a:pt x="204" y="501"/>
                  </a:moveTo>
                  <a:cubicBezTo>
                    <a:pt x="218" y="622"/>
                    <a:pt x="309" y="695"/>
                    <a:pt x="423" y="695"/>
                  </a:cubicBezTo>
                  <a:cubicBezTo>
                    <a:pt x="525" y="695"/>
                    <a:pt x="590" y="647"/>
                    <a:pt x="642" y="585"/>
                  </a:cubicBezTo>
                  <a:cubicBezTo>
                    <a:pt x="787" y="695"/>
                    <a:pt x="787" y="695"/>
                    <a:pt x="787" y="695"/>
                  </a:cubicBezTo>
                  <a:cubicBezTo>
                    <a:pt x="692" y="813"/>
                    <a:pt x="572" y="859"/>
                    <a:pt x="443" y="859"/>
                  </a:cubicBezTo>
                  <a:cubicBezTo>
                    <a:pt x="197" y="859"/>
                    <a:pt x="0" y="687"/>
                    <a:pt x="0" y="430"/>
                  </a:cubicBezTo>
                  <a:cubicBezTo>
                    <a:pt x="0" y="172"/>
                    <a:pt x="197" y="0"/>
                    <a:pt x="443" y="0"/>
                  </a:cubicBezTo>
                  <a:cubicBezTo>
                    <a:pt x="670" y="0"/>
                    <a:pt x="825" y="160"/>
                    <a:pt x="825" y="445"/>
                  </a:cubicBezTo>
                  <a:cubicBezTo>
                    <a:pt x="825" y="501"/>
                    <a:pt x="825" y="501"/>
                    <a:pt x="825" y="501"/>
                  </a:cubicBezTo>
                  <a:lnTo>
                    <a:pt x="204" y="501"/>
                  </a:lnTo>
                  <a:close/>
                  <a:moveTo>
                    <a:pt x="621" y="347"/>
                  </a:moveTo>
                  <a:cubicBezTo>
                    <a:pt x="620" y="229"/>
                    <a:pt x="541" y="153"/>
                    <a:pt x="415" y="153"/>
                  </a:cubicBezTo>
                  <a:cubicBezTo>
                    <a:pt x="294" y="153"/>
                    <a:pt x="219" y="230"/>
                    <a:pt x="204" y="347"/>
                  </a:cubicBezTo>
                  <a:lnTo>
                    <a:pt x="621" y="34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2" name="Freeform 58">
              <a:extLst>
                <a:ext uri="{FF2B5EF4-FFF2-40B4-BE49-F238E27FC236}">
                  <a16:creationId xmlns:a16="http://schemas.microsoft.com/office/drawing/2014/main" id="{09ED63FC-E10D-4A0E-BC83-4FE0D72454AD}"/>
                </a:ext>
              </a:extLst>
            </p:cNvPr>
            <p:cNvSpPr>
              <a:spLocks/>
            </p:cNvSpPr>
            <p:nvPr userDrawn="1"/>
          </p:nvSpPr>
          <p:spPr bwMode="ltGray">
            <a:xfrm>
              <a:off x="1971675" y="533400"/>
              <a:ext cx="96838" cy="157163"/>
            </a:xfrm>
            <a:custGeom>
              <a:avLst/>
              <a:gdLst>
                <a:gd name="T0" fmla="*/ 0 w 517"/>
                <a:gd name="T1" fmla="*/ 21 h 842"/>
                <a:gd name="T2" fmla="*/ 202 w 517"/>
                <a:gd name="T3" fmla="*/ 21 h 842"/>
                <a:gd name="T4" fmla="*/ 202 w 517"/>
                <a:gd name="T5" fmla="*/ 150 h 842"/>
                <a:gd name="T6" fmla="*/ 206 w 517"/>
                <a:gd name="T7" fmla="*/ 150 h 842"/>
                <a:gd name="T8" fmla="*/ 445 w 517"/>
                <a:gd name="T9" fmla="*/ 0 h 842"/>
                <a:gd name="T10" fmla="*/ 517 w 517"/>
                <a:gd name="T11" fmla="*/ 12 h 842"/>
                <a:gd name="T12" fmla="*/ 517 w 517"/>
                <a:gd name="T13" fmla="*/ 211 h 842"/>
                <a:gd name="T14" fmla="*/ 420 w 517"/>
                <a:gd name="T15" fmla="*/ 195 h 842"/>
                <a:gd name="T16" fmla="*/ 202 w 517"/>
                <a:gd name="T17" fmla="*/ 402 h 842"/>
                <a:gd name="T18" fmla="*/ 202 w 517"/>
                <a:gd name="T19" fmla="*/ 842 h 842"/>
                <a:gd name="T20" fmla="*/ 0 w 517"/>
                <a:gd name="T21" fmla="*/ 842 h 842"/>
                <a:gd name="T22" fmla="*/ 0 w 517"/>
                <a:gd name="T23"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7" h="842">
                  <a:moveTo>
                    <a:pt x="0" y="21"/>
                  </a:moveTo>
                  <a:cubicBezTo>
                    <a:pt x="202" y="21"/>
                    <a:pt x="202" y="21"/>
                    <a:pt x="202" y="21"/>
                  </a:cubicBezTo>
                  <a:cubicBezTo>
                    <a:pt x="202" y="150"/>
                    <a:pt x="202" y="150"/>
                    <a:pt x="202" y="150"/>
                  </a:cubicBezTo>
                  <a:cubicBezTo>
                    <a:pt x="206" y="150"/>
                    <a:pt x="206" y="150"/>
                    <a:pt x="206" y="150"/>
                  </a:cubicBezTo>
                  <a:cubicBezTo>
                    <a:pt x="250" y="57"/>
                    <a:pt x="339" y="0"/>
                    <a:pt x="445" y="0"/>
                  </a:cubicBezTo>
                  <a:cubicBezTo>
                    <a:pt x="471" y="0"/>
                    <a:pt x="494" y="5"/>
                    <a:pt x="517" y="12"/>
                  </a:cubicBezTo>
                  <a:cubicBezTo>
                    <a:pt x="517" y="211"/>
                    <a:pt x="517" y="211"/>
                    <a:pt x="517" y="211"/>
                  </a:cubicBezTo>
                  <a:cubicBezTo>
                    <a:pt x="483" y="202"/>
                    <a:pt x="452" y="195"/>
                    <a:pt x="420" y="195"/>
                  </a:cubicBezTo>
                  <a:cubicBezTo>
                    <a:pt x="230" y="195"/>
                    <a:pt x="202" y="358"/>
                    <a:pt x="202" y="402"/>
                  </a:cubicBezTo>
                  <a:cubicBezTo>
                    <a:pt x="202" y="842"/>
                    <a:pt x="202" y="842"/>
                    <a:pt x="202"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3" name="Freeform 59">
              <a:extLst>
                <a:ext uri="{FF2B5EF4-FFF2-40B4-BE49-F238E27FC236}">
                  <a16:creationId xmlns:a16="http://schemas.microsoft.com/office/drawing/2014/main" id="{D631A289-79D1-4DEE-A37E-F23443011D02}"/>
                </a:ext>
              </a:extLst>
            </p:cNvPr>
            <p:cNvSpPr>
              <a:spLocks noEditPoints="1"/>
            </p:cNvSpPr>
            <p:nvPr userDrawn="1"/>
          </p:nvSpPr>
          <p:spPr bwMode="ltGray">
            <a:xfrm>
              <a:off x="2082800" y="450850"/>
              <a:ext cx="163513" cy="242888"/>
            </a:xfrm>
            <a:custGeom>
              <a:avLst/>
              <a:gdLst>
                <a:gd name="T0" fmla="*/ 683 w 875"/>
                <a:gd name="T1" fmla="*/ 1157 h 1300"/>
                <a:gd name="T2" fmla="*/ 679 w 875"/>
                <a:gd name="T3" fmla="*/ 1157 h 1300"/>
                <a:gd name="T4" fmla="*/ 400 w 875"/>
                <a:gd name="T5" fmla="*/ 1300 h 1300"/>
                <a:gd name="T6" fmla="*/ 0 w 875"/>
                <a:gd name="T7" fmla="*/ 873 h 1300"/>
                <a:gd name="T8" fmla="*/ 392 w 875"/>
                <a:gd name="T9" fmla="*/ 447 h 1300"/>
                <a:gd name="T10" fmla="*/ 667 w 875"/>
                <a:gd name="T11" fmla="*/ 571 h 1300"/>
                <a:gd name="T12" fmla="*/ 672 w 875"/>
                <a:gd name="T13" fmla="*/ 571 h 1300"/>
                <a:gd name="T14" fmla="*/ 672 w 875"/>
                <a:gd name="T15" fmla="*/ 0 h 1300"/>
                <a:gd name="T16" fmla="*/ 875 w 875"/>
                <a:gd name="T17" fmla="*/ 0 h 1300"/>
                <a:gd name="T18" fmla="*/ 875 w 875"/>
                <a:gd name="T19" fmla="*/ 1280 h 1300"/>
                <a:gd name="T20" fmla="*/ 683 w 875"/>
                <a:gd name="T21" fmla="*/ 1280 h 1300"/>
                <a:gd name="T22" fmla="*/ 683 w 875"/>
                <a:gd name="T23" fmla="*/ 1157 h 1300"/>
                <a:gd name="T24" fmla="*/ 441 w 875"/>
                <a:gd name="T25" fmla="*/ 1116 h 1300"/>
                <a:gd name="T26" fmla="*/ 679 w 875"/>
                <a:gd name="T27" fmla="*/ 873 h 1300"/>
                <a:gd name="T28" fmla="*/ 441 w 875"/>
                <a:gd name="T29" fmla="*/ 629 h 1300"/>
                <a:gd name="T30" fmla="*/ 203 w 875"/>
                <a:gd name="T31" fmla="*/ 873 h 1300"/>
                <a:gd name="T32" fmla="*/ 441 w 875"/>
                <a:gd name="T33" fmla="*/ 11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5" h="1300">
                  <a:moveTo>
                    <a:pt x="683" y="1157"/>
                  </a:moveTo>
                  <a:cubicBezTo>
                    <a:pt x="679" y="1157"/>
                    <a:pt x="679" y="1157"/>
                    <a:pt x="679" y="1157"/>
                  </a:cubicBezTo>
                  <a:cubicBezTo>
                    <a:pt x="620" y="1255"/>
                    <a:pt x="513" y="1300"/>
                    <a:pt x="400" y="1300"/>
                  </a:cubicBezTo>
                  <a:cubicBezTo>
                    <a:pt x="151" y="1300"/>
                    <a:pt x="0" y="1114"/>
                    <a:pt x="0" y="873"/>
                  </a:cubicBezTo>
                  <a:cubicBezTo>
                    <a:pt x="0" y="633"/>
                    <a:pt x="160" y="447"/>
                    <a:pt x="392" y="447"/>
                  </a:cubicBezTo>
                  <a:cubicBezTo>
                    <a:pt x="544" y="447"/>
                    <a:pt x="625" y="518"/>
                    <a:pt x="667" y="571"/>
                  </a:cubicBezTo>
                  <a:cubicBezTo>
                    <a:pt x="672" y="571"/>
                    <a:pt x="672" y="571"/>
                    <a:pt x="672" y="571"/>
                  </a:cubicBezTo>
                  <a:cubicBezTo>
                    <a:pt x="672" y="0"/>
                    <a:pt x="672" y="0"/>
                    <a:pt x="672" y="0"/>
                  </a:cubicBezTo>
                  <a:cubicBezTo>
                    <a:pt x="875" y="0"/>
                    <a:pt x="875" y="0"/>
                    <a:pt x="875" y="0"/>
                  </a:cubicBezTo>
                  <a:cubicBezTo>
                    <a:pt x="875" y="1280"/>
                    <a:pt x="875" y="1280"/>
                    <a:pt x="875" y="1280"/>
                  </a:cubicBezTo>
                  <a:cubicBezTo>
                    <a:pt x="683" y="1280"/>
                    <a:pt x="683" y="1280"/>
                    <a:pt x="683" y="1280"/>
                  </a:cubicBezTo>
                  <a:lnTo>
                    <a:pt x="683" y="1157"/>
                  </a:lnTo>
                  <a:close/>
                  <a:moveTo>
                    <a:pt x="441" y="1116"/>
                  </a:moveTo>
                  <a:cubicBezTo>
                    <a:pt x="589" y="1116"/>
                    <a:pt x="679" y="1001"/>
                    <a:pt x="679" y="873"/>
                  </a:cubicBezTo>
                  <a:cubicBezTo>
                    <a:pt x="679" y="746"/>
                    <a:pt x="589" y="629"/>
                    <a:pt x="441" y="629"/>
                  </a:cubicBezTo>
                  <a:cubicBezTo>
                    <a:pt x="292" y="629"/>
                    <a:pt x="203" y="746"/>
                    <a:pt x="203" y="873"/>
                  </a:cubicBezTo>
                  <a:cubicBezTo>
                    <a:pt x="203" y="1001"/>
                    <a:pt x="292" y="1116"/>
                    <a:pt x="441" y="1116"/>
                  </a:cubicBez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4" name="Freeform 60">
              <a:extLst>
                <a:ext uri="{FF2B5EF4-FFF2-40B4-BE49-F238E27FC236}">
                  <a16:creationId xmlns:a16="http://schemas.microsoft.com/office/drawing/2014/main" id="{3DD2871F-37DF-4206-87CE-46715E9EFAB6}"/>
                </a:ext>
              </a:extLst>
            </p:cNvPr>
            <p:cNvSpPr>
              <a:spLocks noEditPoints="1"/>
            </p:cNvSpPr>
            <p:nvPr userDrawn="1"/>
          </p:nvSpPr>
          <p:spPr bwMode="ltGray">
            <a:xfrm>
              <a:off x="2279650" y="533400"/>
              <a:ext cx="139700" cy="160338"/>
            </a:xfrm>
            <a:custGeom>
              <a:avLst/>
              <a:gdLst>
                <a:gd name="T0" fmla="*/ 566 w 750"/>
                <a:gd name="T1" fmla="*/ 726 h 859"/>
                <a:gd name="T2" fmla="*/ 562 w 750"/>
                <a:gd name="T3" fmla="*/ 726 h 859"/>
                <a:gd name="T4" fmla="*/ 299 w 750"/>
                <a:gd name="T5" fmla="*/ 859 h 859"/>
                <a:gd name="T6" fmla="*/ 0 w 750"/>
                <a:gd name="T7" fmla="*/ 613 h 859"/>
                <a:gd name="T8" fmla="*/ 515 w 750"/>
                <a:gd name="T9" fmla="*/ 329 h 859"/>
                <a:gd name="T10" fmla="*/ 566 w 750"/>
                <a:gd name="T11" fmla="*/ 329 h 859"/>
                <a:gd name="T12" fmla="*/ 566 w 750"/>
                <a:gd name="T13" fmla="*/ 307 h 859"/>
                <a:gd name="T14" fmla="*/ 379 w 750"/>
                <a:gd name="T15" fmla="*/ 153 h 859"/>
                <a:gd name="T16" fmla="*/ 160 w 750"/>
                <a:gd name="T17" fmla="*/ 239 h 859"/>
                <a:gd name="T18" fmla="*/ 53 w 750"/>
                <a:gd name="T19" fmla="*/ 131 h 859"/>
                <a:gd name="T20" fmla="*/ 400 w 750"/>
                <a:gd name="T21" fmla="*/ 0 h 859"/>
                <a:gd name="T22" fmla="*/ 750 w 750"/>
                <a:gd name="T23" fmla="*/ 369 h 859"/>
                <a:gd name="T24" fmla="*/ 750 w 750"/>
                <a:gd name="T25" fmla="*/ 839 h 859"/>
                <a:gd name="T26" fmla="*/ 566 w 750"/>
                <a:gd name="T27" fmla="*/ 839 h 859"/>
                <a:gd name="T28" fmla="*/ 566 w 750"/>
                <a:gd name="T29" fmla="*/ 726 h 859"/>
                <a:gd name="T30" fmla="*/ 555 w 750"/>
                <a:gd name="T31" fmla="*/ 472 h 859"/>
                <a:gd name="T32" fmla="*/ 512 w 750"/>
                <a:gd name="T33" fmla="*/ 472 h 859"/>
                <a:gd name="T34" fmla="*/ 205 w 750"/>
                <a:gd name="T35" fmla="*/ 598 h 859"/>
                <a:gd name="T36" fmla="*/ 347 w 750"/>
                <a:gd name="T37" fmla="*/ 706 h 859"/>
                <a:gd name="T38" fmla="*/ 555 w 750"/>
                <a:gd name="T39" fmla="*/ 518 h 859"/>
                <a:gd name="T40" fmla="*/ 555 w 750"/>
                <a:gd name="T41" fmla="*/ 472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0" h="859">
                  <a:moveTo>
                    <a:pt x="566" y="726"/>
                  </a:moveTo>
                  <a:cubicBezTo>
                    <a:pt x="562" y="726"/>
                    <a:pt x="562" y="726"/>
                    <a:pt x="562" y="726"/>
                  </a:cubicBezTo>
                  <a:cubicBezTo>
                    <a:pt x="503" y="818"/>
                    <a:pt x="408" y="859"/>
                    <a:pt x="299" y="859"/>
                  </a:cubicBezTo>
                  <a:cubicBezTo>
                    <a:pt x="147" y="859"/>
                    <a:pt x="0" y="775"/>
                    <a:pt x="0" y="613"/>
                  </a:cubicBezTo>
                  <a:cubicBezTo>
                    <a:pt x="0" y="347"/>
                    <a:pt x="311" y="329"/>
                    <a:pt x="515" y="329"/>
                  </a:cubicBezTo>
                  <a:cubicBezTo>
                    <a:pt x="566" y="329"/>
                    <a:pt x="566" y="329"/>
                    <a:pt x="566" y="329"/>
                  </a:cubicBezTo>
                  <a:cubicBezTo>
                    <a:pt x="566" y="307"/>
                    <a:pt x="566" y="307"/>
                    <a:pt x="566" y="307"/>
                  </a:cubicBezTo>
                  <a:cubicBezTo>
                    <a:pt x="566" y="206"/>
                    <a:pt x="488" y="153"/>
                    <a:pt x="379" y="153"/>
                  </a:cubicBezTo>
                  <a:cubicBezTo>
                    <a:pt x="293" y="153"/>
                    <a:pt x="214" y="187"/>
                    <a:pt x="160" y="239"/>
                  </a:cubicBezTo>
                  <a:cubicBezTo>
                    <a:pt x="53" y="131"/>
                    <a:pt x="53" y="131"/>
                    <a:pt x="53" y="131"/>
                  </a:cubicBezTo>
                  <a:cubicBezTo>
                    <a:pt x="144" y="39"/>
                    <a:pt x="271" y="0"/>
                    <a:pt x="400" y="0"/>
                  </a:cubicBezTo>
                  <a:cubicBezTo>
                    <a:pt x="750" y="0"/>
                    <a:pt x="750" y="252"/>
                    <a:pt x="750" y="369"/>
                  </a:cubicBezTo>
                  <a:cubicBezTo>
                    <a:pt x="750" y="839"/>
                    <a:pt x="750" y="839"/>
                    <a:pt x="750" y="839"/>
                  </a:cubicBezTo>
                  <a:cubicBezTo>
                    <a:pt x="566" y="839"/>
                    <a:pt x="566" y="839"/>
                    <a:pt x="566" y="839"/>
                  </a:cubicBezTo>
                  <a:lnTo>
                    <a:pt x="566" y="726"/>
                  </a:lnTo>
                  <a:close/>
                  <a:moveTo>
                    <a:pt x="555" y="472"/>
                  </a:moveTo>
                  <a:cubicBezTo>
                    <a:pt x="512" y="472"/>
                    <a:pt x="512" y="472"/>
                    <a:pt x="512" y="472"/>
                  </a:cubicBezTo>
                  <a:cubicBezTo>
                    <a:pt x="399" y="472"/>
                    <a:pt x="205" y="480"/>
                    <a:pt x="205" y="598"/>
                  </a:cubicBezTo>
                  <a:cubicBezTo>
                    <a:pt x="205" y="673"/>
                    <a:pt x="282" y="706"/>
                    <a:pt x="347" y="706"/>
                  </a:cubicBezTo>
                  <a:cubicBezTo>
                    <a:pt x="488" y="706"/>
                    <a:pt x="555" y="632"/>
                    <a:pt x="555" y="518"/>
                  </a:cubicBezTo>
                  <a:lnTo>
                    <a:pt x="555" y="472"/>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sp>
          <p:nvSpPr>
            <p:cNvPr id="35" name="Freeform 61">
              <a:extLst>
                <a:ext uri="{FF2B5EF4-FFF2-40B4-BE49-F238E27FC236}">
                  <a16:creationId xmlns:a16="http://schemas.microsoft.com/office/drawing/2014/main" id="{28C5B83D-471B-4E36-AF30-F8E4A4B12E42}"/>
                </a:ext>
              </a:extLst>
            </p:cNvPr>
            <p:cNvSpPr>
              <a:spLocks/>
            </p:cNvSpPr>
            <p:nvPr userDrawn="1"/>
          </p:nvSpPr>
          <p:spPr bwMode="ltGray">
            <a:xfrm>
              <a:off x="2459038" y="533400"/>
              <a:ext cx="236538" cy="157163"/>
            </a:xfrm>
            <a:custGeom>
              <a:avLst/>
              <a:gdLst>
                <a:gd name="T0" fmla="*/ 0 w 1267"/>
                <a:gd name="T1" fmla="*/ 21 h 842"/>
                <a:gd name="T2" fmla="*/ 194 w 1267"/>
                <a:gd name="T3" fmla="*/ 21 h 842"/>
                <a:gd name="T4" fmla="*/ 194 w 1267"/>
                <a:gd name="T5" fmla="*/ 149 h 842"/>
                <a:gd name="T6" fmla="*/ 198 w 1267"/>
                <a:gd name="T7" fmla="*/ 149 h 842"/>
                <a:gd name="T8" fmla="*/ 448 w 1267"/>
                <a:gd name="T9" fmla="*/ 0 h 842"/>
                <a:gd name="T10" fmla="*/ 703 w 1267"/>
                <a:gd name="T11" fmla="*/ 153 h 842"/>
                <a:gd name="T12" fmla="*/ 972 w 1267"/>
                <a:gd name="T13" fmla="*/ 0 h 842"/>
                <a:gd name="T14" fmla="*/ 1267 w 1267"/>
                <a:gd name="T15" fmla="*/ 352 h 842"/>
                <a:gd name="T16" fmla="*/ 1267 w 1267"/>
                <a:gd name="T17" fmla="*/ 842 h 842"/>
                <a:gd name="T18" fmla="*/ 1063 w 1267"/>
                <a:gd name="T19" fmla="*/ 842 h 842"/>
                <a:gd name="T20" fmla="*/ 1063 w 1267"/>
                <a:gd name="T21" fmla="*/ 377 h 842"/>
                <a:gd name="T22" fmla="*/ 911 w 1267"/>
                <a:gd name="T23" fmla="*/ 185 h 842"/>
                <a:gd name="T24" fmla="*/ 736 w 1267"/>
                <a:gd name="T25" fmla="*/ 397 h 842"/>
                <a:gd name="T26" fmla="*/ 736 w 1267"/>
                <a:gd name="T27" fmla="*/ 842 h 842"/>
                <a:gd name="T28" fmla="*/ 532 w 1267"/>
                <a:gd name="T29" fmla="*/ 842 h 842"/>
                <a:gd name="T30" fmla="*/ 532 w 1267"/>
                <a:gd name="T31" fmla="*/ 352 h 842"/>
                <a:gd name="T32" fmla="*/ 392 w 1267"/>
                <a:gd name="T33" fmla="*/ 185 h 842"/>
                <a:gd name="T34" fmla="*/ 205 w 1267"/>
                <a:gd name="T35" fmla="*/ 394 h 842"/>
                <a:gd name="T36" fmla="*/ 205 w 1267"/>
                <a:gd name="T37" fmla="*/ 842 h 842"/>
                <a:gd name="T38" fmla="*/ 0 w 1267"/>
                <a:gd name="T39" fmla="*/ 842 h 842"/>
                <a:gd name="T40" fmla="*/ 0 w 1267"/>
                <a:gd name="T41" fmla="*/ 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7" h="842">
                  <a:moveTo>
                    <a:pt x="0" y="21"/>
                  </a:moveTo>
                  <a:cubicBezTo>
                    <a:pt x="194" y="21"/>
                    <a:pt x="194" y="21"/>
                    <a:pt x="194" y="21"/>
                  </a:cubicBezTo>
                  <a:cubicBezTo>
                    <a:pt x="194" y="149"/>
                    <a:pt x="194" y="149"/>
                    <a:pt x="194" y="149"/>
                  </a:cubicBezTo>
                  <a:cubicBezTo>
                    <a:pt x="198" y="149"/>
                    <a:pt x="198" y="149"/>
                    <a:pt x="198" y="149"/>
                  </a:cubicBezTo>
                  <a:cubicBezTo>
                    <a:pt x="234" y="72"/>
                    <a:pt x="312" y="0"/>
                    <a:pt x="448" y="0"/>
                  </a:cubicBezTo>
                  <a:cubicBezTo>
                    <a:pt x="574" y="0"/>
                    <a:pt x="661" y="50"/>
                    <a:pt x="703" y="153"/>
                  </a:cubicBezTo>
                  <a:cubicBezTo>
                    <a:pt x="763" y="48"/>
                    <a:pt x="850" y="0"/>
                    <a:pt x="972" y="0"/>
                  </a:cubicBezTo>
                  <a:cubicBezTo>
                    <a:pt x="1191" y="0"/>
                    <a:pt x="1267" y="156"/>
                    <a:pt x="1267" y="352"/>
                  </a:cubicBezTo>
                  <a:cubicBezTo>
                    <a:pt x="1267" y="842"/>
                    <a:pt x="1267" y="842"/>
                    <a:pt x="1267" y="842"/>
                  </a:cubicBezTo>
                  <a:cubicBezTo>
                    <a:pt x="1063" y="842"/>
                    <a:pt x="1063" y="842"/>
                    <a:pt x="1063" y="842"/>
                  </a:cubicBezTo>
                  <a:cubicBezTo>
                    <a:pt x="1063" y="377"/>
                    <a:pt x="1063" y="377"/>
                    <a:pt x="1063" y="377"/>
                  </a:cubicBezTo>
                  <a:cubicBezTo>
                    <a:pt x="1063" y="274"/>
                    <a:pt x="1032" y="185"/>
                    <a:pt x="911" y="185"/>
                  </a:cubicBezTo>
                  <a:cubicBezTo>
                    <a:pt x="783" y="185"/>
                    <a:pt x="736" y="291"/>
                    <a:pt x="736" y="397"/>
                  </a:cubicBezTo>
                  <a:cubicBezTo>
                    <a:pt x="736" y="842"/>
                    <a:pt x="736" y="842"/>
                    <a:pt x="736" y="842"/>
                  </a:cubicBezTo>
                  <a:cubicBezTo>
                    <a:pt x="532" y="842"/>
                    <a:pt x="532" y="842"/>
                    <a:pt x="532" y="842"/>
                  </a:cubicBezTo>
                  <a:cubicBezTo>
                    <a:pt x="532" y="352"/>
                    <a:pt x="532" y="352"/>
                    <a:pt x="532" y="352"/>
                  </a:cubicBezTo>
                  <a:cubicBezTo>
                    <a:pt x="532" y="252"/>
                    <a:pt x="490" y="185"/>
                    <a:pt x="392" y="185"/>
                  </a:cubicBezTo>
                  <a:cubicBezTo>
                    <a:pt x="258" y="185"/>
                    <a:pt x="205" y="284"/>
                    <a:pt x="205" y="394"/>
                  </a:cubicBezTo>
                  <a:cubicBezTo>
                    <a:pt x="205" y="842"/>
                    <a:pt x="205" y="842"/>
                    <a:pt x="205" y="842"/>
                  </a:cubicBezTo>
                  <a:cubicBezTo>
                    <a:pt x="0" y="842"/>
                    <a:pt x="0" y="842"/>
                    <a:pt x="0" y="842"/>
                  </a:cubicBezTo>
                  <a:lnTo>
                    <a:pt x="0" y="2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37" dirty="0"/>
            </a:p>
          </p:txBody>
        </p:sp>
      </p:grpSp>
      <p:grpSp>
        <p:nvGrpSpPr>
          <p:cNvPr id="47" name="Group 46">
            <a:extLst>
              <a:ext uri="{FF2B5EF4-FFF2-40B4-BE49-F238E27FC236}">
                <a16:creationId xmlns:a16="http://schemas.microsoft.com/office/drawing/2014/main" id="{1F962ECB-3A1A-44FE-818D-CB9B4A34412E}"/>
              </a:ext>
            </a:extLst>
          </p:cNvPr>
          <p:cNvGrpSpPr>
            <a:grpSpLocks/>
          </p:cNvGrpSpPr>
          <p:nvPr userDrawn="1"/>
        </p:nvGrpSpPr>
        <p:grpSpPr bwMode="ltGray">
          <a:xfrm>
            <a:off x="233258" y="106904"/>
            <a:ext cx="426000" cy="1448052"/>
            <a:chOff x="177800" y="104775"/>
            <a:chExt cx="417513" cy="1419225"/>
          </a:xfrm>
          <a:solidFill>
            <a:schemeClr val="tx2"/>
          </a:solidFill>
        </p:grpSpPr>
        <p:sp>
          <p:nvSpPr>
            <p:cNvPr id="48" name="Freeform 42">
              <a:extLst>
                <a:ext uri="{FF2B5EF4-FFF2-40B4-BE49-F238E27FC236}">
                  <a16:creationId xmlns:a16="http://schemas.microsoft.com/office/drawing/2014/main" id="{133798F6-4EEC-435A-9713-7BFDDC5FFB74}"/>
                </a:ext>
              </a:extLst>
            </p:cNvPr>
            <p:cNvSpPr>
              <a:spLocks/>
            </p:cNvSpPr>
            <p:nvPr userDrawn="1"/>
          </p:nvSpPr>
          <p:spPr bwMode="ltGray">
            <a:xfrm>
              <a:off x="177800" y="1108075"/>
              <a:ext cx="417513" cy="415925"/>
            </a:xfrm>
            <a:custGeom>
              <a:avLst/>
              <a:gdLst>
                <a:gd name="T0" fmla="*/ 0 w 263"/>
                <a:gd name="T1" fmla="*/ 209 h 262"/>
                <a:gd name="T2" fmla="*/ 80 w 263"/>
                <a:gd name="T3" fmla="*/ 131 h 262"/>
                <a:gd name="T4" fmla="*/ 0 w 263"/>
                <a:gd name="T5" fmla="*/ 52 h 262"/>
                <a:gd name="T6" fmla="*/ 53 w 263"/>
                <a:gd name="T7" fmla="*/ 0 h 262"/>
                <a:gd name="T8" fmla="*/ 132 w 263"/>
                <a:gd name="T9" fmla="*/ 78 h 262"/>
                <a:gd name="T10" fmla="*/ 210 w 263"/>
                <a:gd name="T11" fmla="*/ 0 h 262"/>
                <a:gd name="T12" fmla="*/ 263 w 263"/>
                <a:gd name="T13" fmla="*/ 52 h 262"/>
                <a:gd name="T14" fmla="*/ 185 w 263"/>
                <a:gd name="T15" fmla="*/ 131 h 262"/>
                <a:gd name="T16" fmla="*/ 263 w 263"/>
                <a:gd name="T17" fmla="*/ 209 h 262"/>
                <a:gd name="T18" fmla="*/ 210 w 263"/>
                <a:gd name="T19" fmla="*/ 262 h 262"/>
                <a:gd name="T20" fmla="*/ 132 w 263"/>
                <a:gd name="T21" fmla="*/ 183 h 262"/>
                <a:gd name="T22" fmla="*/ 53 w 263"/>
                <a:gd name="T23" fmla="*/ 262 h 262"/>
                <a:gd name="T24" fmla="*/ 0 w 263"/>
                <a:gd name="T25" fmla="*/ 20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2">
                  <a:moveTo>
                    <a:pt x="0" y="209"/>
                  </a:moveTo>
                  <a:lnTo>
                    <a:pt x="80" y="131"/>
                  </a:lnTo>
                  <a:lnTo>
                    <a:pt x="0" y="52"/>
                  </a:lnTo>
                  <a:lnTo>
                    <a:pt x="53" y="0"/>
                  </a:lnTo>
                  <a:lnTo>
                    <a:pt x="132" y="78"/>
                  </a:lnTo>
                  <a:lnTo>
                    <a:pt x="210" y="0"/>
                  </a:lnTo>
                  <a:lnTo>
                    <a:pt x="263" y="52"/>
                  </a:lnTo>
                  <a:lnTo>
                    <a:pt x="185" y="131"/>
                  </a:lnTo>
                  <a:lnTo>
                    <a:pt x="263" y="209"/>
                  </a:lnTo>
                  <a:lnTo>
                    <a:pt x="210" y="262"/>
                  </a:lnTo>
                  <a:lnTo>
                    <a:pt x="132" y="183"/>
                  </a:lnTo>
                  <a:lnTo>
                    <a:pt x="53" y="262"/>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49" name="Freeform 43">
              <a:extLst>
                <a:ext uri="{FF2B5EF4-FFF2-40B4-BE49-F238E27FC236}">
                  <a16:creationId xmlns:a16="http://schemas.microsoft.com/office/drawing/2014/main" id="{8E16C36D-5041-4E7E-A415-3F2271D253D9}"/>
                </a:ext>
              </a:extLst>
            </p:cNvPr>
            <p:cNvSpPr>
              <a:spLocks/>
            </p:cNvSpPr>
            <p:nvPr userDrawn="1"/>
          </p:nvSpPr>
          <p:spPr bwMode="ltGray">
            <a:xfrm>
              <a:off x="177800" y="104775"/>
              <a:ext cx="417513" cy="417513"/>
            </a:xfrm>
            <a:custGeom>
              <a:avLst/>
              <a:gdLst>
                <a:gd name="T0" fmla="*/ 0 w 263"/>
                <a:gd name="T1" fmla="*/ 211 h 263"/>
                <a:gd name="T2" fmla="*/ 80 w 263"/>
                <a:gd name="T3" fmla="*/ 132 h 263"/>
                <a:gd name="T4" fmla="*/ 0 w 263"/>
                <a:gd name="T5" fmla="*/ 53 h 263"/>
                <a:gd name="T6" fmla="*/ 53 w 263"/>
                <a:gd name="T7" fmla="*/ 0 h 263"/>
                <a:gd name="T8" fmla="*/ 132 w 263"/>
                <a:gd name="T9" fmla="*/ 80 h 263"/>
                <a:gd name="T10" fmla="*/ 210 w 263"/>
                <a:gd name="T11" fmla="*/ 0 h 263"/>
                <a:gd name="T12" fmla="*/ 263 w 263"/>
                <a:gd name="T13" fmla="*/ 53 h 263"/>
                <a:gd name="T14" fmla="*/ 185 w 263"/>
                <a:gd name="T15" fmla="*/ 132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2"/>
                  </a:lnTo>
                  <a:lnTo>
                    <a:pt x="0" y="53"/>
                  </a:lnTo>
                  <a:lnTo>
                    <a:pt x="53" y="0"/>
                  </a:lnTo>
                  <a:lnTo>
                    <a:pt x="132" y="80"/>
                  </a:lnTo>
                  <a:lnTo>
                    <a:pt x="210" y="0"/>
                  </a:lnTo>
                  <a:lnTo>
                    <a:pt x="263" y="53"/>
                  </a:lnTo>
                  <a:lnTo>
                    <a:pt x="185" y="132"/>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50" name="Freeform 44">
              <a:extLst>
                <a:ext uri="{FF2B5EF4-FFF2-40B4-BE49-F238E27FC236}">
                  <a16:creationId xmlns:a16="http://schemas.microsoft.com/office/drawing/2014/main" id="{F926A661-97B8-4B43-9A12-C9C8083A5839}"/>
                </a:ext>
              </a:extLst>
            </p:cNvPr>
            <p:cNvSpPr>
              <a:spLocks/>
            </p:cNvSpPr>
            <p:nvPr userDrawn="1"/>
          </p:nvSpPr>
          <p:spPr bwMode="ltGray">
            <a:xfrm>
              <a:off x="177800" y="606425"/>
              <a:ext cx="417513" cy="417513"/>
            </a:xfrm>
            <a:custGeom>
              <a:avLst/>
              <a:gdLst>
                <a:gd name="T0" fmla="*/ 0 w 263"/>
                <a:gd name="T1" fmla="*/ 211 h 263"/>
                <a:gd name="T2" fmla="*/ 80 w 263"/>
                <a:gd name="T3" fmla="*/ 131 h 263"/>
                <a:gd name="T4" fmla="*/ 0 w 263"/>
                <a:gd name="T5" fmla="*/ 53 h 263"/>
                <a:gd name="T6" fmla="*/ 53 w 263"/>
                <a:gd name="T7" fmla="*/ 0 h 263"/>
                <a:gd name="T8" fmla="*/ 132 w 263"/>
                <a:gd name="T9" fmla="*/ 79 h 263"/>
                <a:gd name="T10" fmla="*/ 210 w 263"/>
                <a:gd name="T11" fmla="*/ 0 h 263"/>
                <a:gd name="T12" fmla="*/ 263 w 263"/>
                <a:gd name="T13" fmla="*/ 53 h 263"/>
                <a:gd name="T14" fmla="*/ 185 w 263"/>
                <a:gd name="T15" fmla="*/ 131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1"/>
                  </a:lnTo>
                  <a:lnTo>
                    <a:pt x="0" y="53"/>
                  </a:lnTo>
                  <a:lnTo>
                    <a:pt x="53" y="0"/>
                  </a:lnTo>
                  <a:lnTo>
                    <a:pt x="132" y="79"/>
                  </a:lnTo>
                  <a:lnTo>
                    <a:pt x="210" y="0"/>
                  </a:lnTo>
                  <a:lnTo>
                    <a:pt x="263" y="53"/>
                  </a:lnTo>
                  <a:lnTo>
                    <a:pt x="185" y="131"/>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grpSp>
      <p:sp>
        <p:nvSpPr>
          <p:cNvPr id="36" name="Tijdelijke aanduiding voor voettekst 7">
            <a:extLst>
              <a:ext uri="{FF2B5EF4-FFF2-40B4-BE49-F238E27FC236}">
                <a16:creationId xmlns:a16="http://schemas.microsoft.com/office/drawing/2014/main" id="{4D86575A-F077-4046-86BF-F1AB9AC7BE5C}"/>
              </a:ext>
            </a:extLst>
          </p:cNvPr>
          <p:cNvSpPr>
            <a:spLocks noGrp="1"/>
          </p:cNvSpPr>
          <p:nvPr>
            <p:ph type="ftr" sz="quarter" idx="3"/>
          </p:nvPr>
        </p:nvSpPr>
        <p:spPr>
          <a:xfrm>
            <a:off x="890653" y="6268355"/>
            <a:ext cx="4427858" cy="372541"/>
          </a:xfrm>
          <a:prstGeom prst="rect">
            <a:avLst/>
          </a:prstGeom>
        </p:spPr>
        <p:txBody>
          <a:bodyPr vert="horz" lIns="91440" tIns="45720" rIns="91440" bIns="45720" rtlCol="0" anchor="ctr"/>
          <a:lstStyle>
            <a:lvl1pPr algn="l">
              <a:defRPr sz="1837" b="1">
                <a:solidFill>
                  <a:schemeClr val="tx1"/>
                </a:solidFill>
                <a:latin typeface="Arial" panose="020B0604020202020204" pitchFamily="34" charset="0"/>
                <a:cs typeface="Arial" panose="020B0604020202020204" pitchFamily="34" charset="0"/>
              </a:defRPr>
            </a:lvl1pPr>
          </a:lstStyle>
          <a:p>
            <a:r>
              <a:rPr lang="nl-NL">
                <a:solidFill>
                  <a:srgbClr val="FF0000"/>
                </a:solidFill>
              </a:rPr>
              <a:t>Informatiebijeenkomst 26 juli 2021 Europese Aanbesteding SVWI</a:t>
            </a:r>
            <a:endParaRPr lang="nl-NL" dirty="0"/>
          </a:p>
        </p:txBody>
      </p:sp>
      <p:grpSp>
        <p:nvGrpSpPr>
          <p:cNvPr id="39" name="Groep 38">
            <a:extLst>
              <a:ext uri="{FF2B5EF4-FFF2-40B4-BE49-F238E27FC236}">
                <a16:creationId xmlns:a16="http://schemas.microsoft.com/office/drawing/2014/main" id="{92508750-A92D-0D45-9BDC-6BACB987162C}"/>
              </a:ext>
            </a:extLst>
          </p:cNvPr>
          <p:cNvGrpSpPr/>
          <p:nvPr userDrawn="1"/>
        </p:nvGrpSpPr>
        <p:grpSpPr>
          <a:xfrm>
            <a:off x="8428467" y="3514615"/>
            <a:ext cx="3111020" cy="2536637"/>
            <a:chOff x="5242602" y="3581171"/>
            <a:chExt cx="3061800" cy="2486139"/>
          </a:xfrm>
        </p:grpSpPr>
        <p:pic>
          <p:nvPicPr>
            <p:cNvPr id="40" name="bg object 17">
              <a:extLst>
                <a:ext uri="{FF2B5EF4-FFF2-40B4-BE49-F238E27FC236}">
                  <a16:creationId xmlns:a16="http://schemas.microsoft.com/office/drawing/2014/main" id="{511EA5B7-BD17-B24C-A1FD-DCF98BE45AC0}"/>
                </a:ext>
              </a:extLst>
            </p:cNvPr>
            <p:cNvPicPr/>
            <p:nvPr/>
          </p:nvPicPr>
          <p:blipFill>
            <a:blip r:embed="rId6" cstate="print"/>
            <a:stretch>
              <a:fillRect/>
            </a:stretch>
          </p:blipFill>
          <p:spPr>
            <a:xfrm>
              <a:off x="5509347" y="4963937"/>
              <a:ext cx="204658" cy="200315"/>
            </a:xfrm>
            <a:prstGeom prst="rect">
              <a:avLst/>
            </a:prstGeom>
          </p:spPr>
        </p:pic>
        <p:pic>
          <p:nvPicPr>
            <p:cNvPr id="41" name="bg object 18">
              <a:extLst>
                <a:ext uri="{FF2B5EF4-FFF2-40B4-BE49-F238E27FC236}">
                  <a16:creationId xmlns:a16="http://schemas.microsoft.com/office/drawing/2014/main" id="{066495B9-BBE8-E74D-AC0A-CA391ED7A9D9}"/>
                </a:ext>
              </a:extLst>
            </p:cNvPr>
            <p:cNvPicPr/>
            <p:nvPr/>
          </p:nvPicPr>
          <p:blipFill>
            <a:blip r:embed="rId7" cstate="print"/>
            <a:stretch>
              <a:fillRect/>
            </a:stretch>
          </p:blipFill>
          <p:spPr>
            <a:xfrm>
              <a:off x="6450003" y="4287404"/>
              <a:ext cx="199694" cy="191888"/>
            </a:xfrm>
            <a:prstGeom prst="rect">
              <a:avLst/>
            </a:prstGeom>
          </p:spPr>
        </p:pic>
        <p:sp>
          <p:nvSpPr>
            <p:cNvPr id="42" name="bg object 19">
              <a:extLst>
                <a:ext uri="{FF2B5EF4-FFF2-40B4-BE49-F238E27FC236}">
                  <a16:creationId xmlns:a16="http://schemas.microsoft.com/office/drawing/2014/main" id="{882FE858-A207-B44F-8478-548F39A8A868}"/>
                </a:ext>
              </a:extLst>
            </p:cNvPr>
            <p:cNvSpPr/>
            <p:nvPr/>
          </p:nvSpPr>
          <p:spPr>
            <a:xfrm>
              <a:off x="6112330" y="4597401"/>
              <a:ext cx="256540" cy="93980"/>
            </a:xfrm>
            <a:custGeom>
              <a:avLst/>
              <a:gdLst/>
              <a:ahLst/>
              <a:cxnLst/>
              <a:rect l="l" t="t" r="r" b="b"/>
              <a:pathLst>
                <a:path w="256539" h="93979">
                  <a:moveTo>
                    <a:pt x="215239" y="0"/>
                  </a:moveTo>
                  <a:lnTo>
                    <a:pt x="25387" y="32715"/>
                  </a:lnTo>
                  <a:lnTo>
                    <a:pt x="0" y="67564"/>
                  </a:lnTo>
                  <a:lnTo>
                    <a:pt x="4026" y="78959"/>
                  </a:lnTo>
                  <a:lnTo>
                    <a:pt x="11799" y="87653"/>
                  </a:lnTo>
                  <a:lnTo>
                    <a:pt x="22233" y="92840"/>
                  </a:lnTo>
                  <a:lnTo>
                    <a:pt x="34239" y="93713"/>
                  </a:lnTo>
                  <a:lnTo>
                    <a:pt x="225577" y="71170"/>
                  </a:lnTo>
                  <a:lnTo>
                    <a:pt x="239043" y="66371"/>
                  </a:lnTo>
                  <a:lnTo>
                    <a:pt x="249261" y="57102"/>
                  </a:lnTo>
                  <a:lnTo>
                    <a:pt x="255247" y="44685"/>
                  </a:lnTo>
                  <a:lnTo>
                    <a:pt x="256019" y="30441"/>
                  </a:lnTo>
                  <a:lnTo>
                    <a:pt x="251220" y="16975"/>
                  </a:lnTo>
                  <a:lnTo>
                    <a:pt x="241949" y="6757"/>
                  </a:lnTo>
                  <a:lnTo>
                    <a:pt x="229517" y="772"/>
                  </a:lnTo>
                  <a:lnTo>
                    <a:pt x="215239" y="0"/>
                  </a:lnTo>
                  <a:close/>
                </a:path>
              </a:pathLst>
            </a:custGeom>
            <a:solidFill>
              <a:srgbClr val="000000"/>
            </a:solidFill>
          </p:spPr>
          <p:txBody>
            <a:bodyPr wrap="square" lIns="0" tIns="0" rIns="0" bIns="0" rtlCol="0"/>
            <a:lstStyle/>
            <a:p>
              <a:endParaRPr sz="1828"/>
            </a:p>
          </p:txBody>
        </p:sp>
        <p:pic>
          <p:nvPicPr>
            <p:cNvPr id="44" name="bg object 20">
              <a:extLst>
                <a:ext uri="{FF2B5EF4-FFF2-40B4-BE49-F238E27FC236}">
                  <a16:creationId xmlns:a16="http://schemas.microsoft.com/office/drawing/2014/main" id="{EBDA686C-8CD3-2146-9949-86B0C02409D1}"/>
                </a:ext>
              </a:extLst>
            </p:cNvPr>
            <p:cNvPicPr/>
            <p:nvPr/>
          </p:nvPicPr>
          <p:blipFill>
            <a:blip r:embed="rId8" cstate="print"/>
            <a:stretch>
              <a:fillRect/>
            </a:stretch>
          </p:blipFill>
          <p:spPr>
            <a:xfrm>
              <a:off x="6305741" y="4512394"/>
              <a:ext cx="251781" cy="154172"/>
            </a:xfrm>
            <a:prstGeom prst="rect">
              <a:avLst/>
            </a:prstGeom>
          </p:spPr>
        </p:pic>
        <p:sp>
          <p:nvSpPr>
            <p:cNvPr id="46" name="bg object 21">
              <a:extLst>
                <a:ext uri="{FF2B5EF4-FFF2-40B4-BE49-F238E27FC236}">
                  <a16:creationId xmlns:a16="http://schemas.microsoft.com/office/drawing/2014/main" id="{BE54E561-15C1-9541-BC37-D4AA62A0A44E}"/>
                </a:ext>
              </a:extLst>
            </p:cNvPr>
            <p:cNvSpPr/>
            <p:nvPr/>
          </p:nvSpPr>
          <p:spPr>
            <a:xfrm>
              <a:off x="6398450" y="4499330"/>
              <a:ext cx="327025" cy="925194"/>
            </a:xfrm>
            <a:custGeom>
              <a:avLst/>
              <a:gdLst/>
              <a:ahLst/>
              <a:cxnLst/>
              <a:rect l="l" t="t" r="r" b="b"/>
              <a:pathLst>
                <a:path w="327025" h="925195">
                  <a:moveTo>
                    <a:pt x="327012" y="876693"/>
                  </a:moveTo>
                  <a:lnTo>
                    <a:pt x="326428" y="873480"/>
                  </a:lnTo>
                  <a:lnTo>
                    <a:pt x="325488" y="869835"/>
                  </a:lnTo>
                  <a:lnTo>
                    <a:pt x="293243" y="618007"/>
                  </a:lnTo>
                  <a:lnTo>
                    <a:pt x="293903" y="613054"/>
                  </a:lnTo>
                  <a:lnTo>
                    <a:pt x="298030" y="349478"/>
                  </a:lnTo>
                  <a:lnTo>
                    <a:pt x="298843" y="342633"/>
                  </a:lnTo>
                  <a:lnTo>
                    <a:pt x="298373" y="335457"/>
                  </a:lnTo>
                  <a:lnTo>
                    <a:pt x="297535" y="332676"/>
                  </a:lnTo>
                  <a:lnTo>
                    <a:pt x="254762" y="39255"/>
                  </a:lnTo>
                  <a:lnTo>
                    <a:pt x="248285" y="22136"/>
                  </a:lnTo>
                  <a:lnTo>
                    <a:pt x="235496" y="9042"/>
                  </a:lnTo>
                  <a:lnTo>
                    <a:pt x="218211" y="1244"/>
                  </a:lnTo>
                  <a:lnTo>
                    <a:pt x="198247" y="0"/>
                  </a:lnTo>
                  <a:lnTo>
                    <a:pt x="131533" y="7988"/>
                  </a:lnTo>
                  <a:lnTo>
                    <a:pt x="98844" y="18148"/>
                  </a:lnTo>
                  <a:lnTo>
                    <a:pt x="73863" y="38201"/>
                  </a:lnTo>
                  <a:lnTo>
                    <a:pt x="58991" y="65265"/>
                  </a:lnTo>
                  <a:lnTo>
                    <a:pt x="56642" y="96507"/>
                  </a:lnTo>
                  <a:lnTo>
                    <a:pt x="95008" y="359943"/>
                  </a:lnTo>
                  <a:lnTo>
                    <a:pt x="96494" y="363893"/>
                  </a:lnTo>
                  <a:lnTo>
                    <a:pt x="67462" y="605561"/>
                  </a:lnTo>
                  <a:lnTo>
                    <a:pt x="67348" y="615035"/>
                  </a:lnTo>
                  <a:lnTo>
                    <a:pt x="68554" y="855154"/>
                  </a:lnTo>
                  <a:lnTo>
                    <a:pt x="43218" y="864362"/>
                  </a:lnTo>
                  <a:lnTo>
                    <a:pt x="25755" y="873887"/>
                  </a:lnTo>
                  <a:lnTo>
                    <a:pt x="12230" y="887844"/>
                  </a:lnTo>
                  <a:lnTo>
                    <a:pt x="3390" y="905154"/>
                  </a:lnTo>
                  <a:lnTo>
                    <a:pt x="0" y="924699"/>
                  </a:lnTo>
                  <a:lnTo>
                    <a:pt x="140804" y="924750"/>
                  </a:lnTo>
                  <a:lnTo>
                    <a:pt x="140754" y="878979"/>
                  </a:lnTo>
                  <a:lnTo>
                    <a:pt x="171792" y="616432"/>
                  </a:lnTo>
                  <a:lnTo>
                    <a:pt x="184302" y="565810"/>
                  </a:lnTo>
                  <a:lnTo>
                    <a:pt x="188645" y="605777"/>
                  </a:lnTo>
                  <a:lnTo>
                    <a:pt x="187667" y="611606"/>
                  </a:lnTo>
                  <a:lnTo>
                    <a:pt x="187617" y="617626"/>
                  </a:lnTo>
                  <a:lnTo>
                    <a:pt x="189572" y="627748"/>
                  </a:lnTo>
                  <a:lnTo>
                    <a:pt x="248513" y="857453"/>
                  </a:lnTo>
                  <a:lnTo>
                    <a:pt x="229425" y="864362"/>
                  </a:lnTo>
                  <a:lnTo>
                    <a:pt x="211963" y="873887"/>
                  </a:lnTo>
                  <a:lnTo>
                    <a:pt x="198437" y="887844"/>
                  </a:lnTo>
                  <a:lnTo>
                    <a:pt x="189598" y="905154"/>
                  </a:lnTo>
                  <a:lnTo>
                    <a:pt x="186207" y="924699"/>
                  </a:lnTo>
                  <a:lnTo>
                    <a:pt x="327012" y="924750"/>
                  </a:lnTo>
                  <a:lnTo>
                    <a:pt x="327012" y="876693"/>
                  </a:lnTo>
                  <a:close/>
                </a:path>
              </a:pathLst>
            </a:custGeom>
            <a:solidFill>
              <a:srgbClr val="000000"/>
            </a:solidFill>
          </p:spPr>
          <p:txBody>
            <a:bodyPr wrap="square" lIns="0" tIns="0" rIns="0" bIns="0" rtlCol="0"/>
            <a:lstStyle/>
            <a:p>
              <a:endParaRPr sz="1828"/>
            </a:p>
          </p:txBody>
        </p:sp>
        <p:pic>
          <p:nvPicPr>
            <p:cNvPr id="51" name="bg object 22">
              <a:extLst>
                <a:ext uri="{FF2B5EF4-FFF2-40B4-BE49-F238E27FC236}">
                  <a16:creationId xmlns:a16="http://schemas.microsoft.com/office/drawing/2014/main" id="{A17D859E-C42C-3842-A8F2-05F5EF9C6F24}"/>
                </a:ext>
              </a:extLst>
            </p:cNvPr>
            <p:cNvPicPr/>
            <p:nvPr/>
          </p:nvPicPr>
          <p:blipFill>
            <a:blip r:embed="rId9" cstate="print"/>
            <a:stretch>
              <a:fillRect/>
            </a:stretch>
          </p:blipFill>
          <p:spPr>
            <a:xfrm>
              <a:off x="6306067" y="4507638"/>
              <a:ext cx="346391" cy="331363"/>
            </a:xfrm>
            <a:prstGeom prst="rect">
              <a:avLst/>
            </a:prstGeom>
          </p:spPr>
        </p:pic>
        <p:sp>
          <p:nvSpPr>
            <p:cNvPr id="52" name="bg object 23">
              <a:extLst>
                <a:ext uri="{FF2B5EF4-FFF2-40B4-BE49-F238E27FC236}">
                  <a16:creationId xmlns:a16="http://schemas.microsoft.com/office/drawing/2014/main" id="{30BAC982-43B6-2641-AC4F-5D1A43411A69}"/>
                </a:ext>
              </a:extLst>
            </p:cNvPr>
            <p:cNvSpPr/>
            <p:nvPr/>
          </p:nvSpPr>
          <p:spPr>
            <a:xfrm>
              <a:off x="5545013" y="4423007"/>
              <a:ext cx="736600" cy="736600"/>
            </a:xfrm>
            <a:custGeom>
              <a:avLst/>
              <a:gdLst/>
              <a:ahLst/>
              <a:cxnLst/>
              <a:rect l="l" t="t" r="r" b="b"/>
              <a:pathLst>
                <a:path w="736600" h="736600">
                  <a:moveTo>
                    <a:pt x="368236" y="0"/>
                  </a:moveTo>
                  <a:lnTo>
                    <a:pt x="322086" y="2872"/>
                  </a:lnTo>
                  <a:lnTo>
                    <a:pt x="277636" y="11257"/>
                  </a:lnTo>
                  <a:lnTo>
                    <a:pt x="235231" y="24809"/>
                  </a:lnTo>
                  <a:lnTo>
                    <a:pt x="195219" y="43181"/>
                  </a:lnTo>
                  <a:lnTo>
                    <a:pt x="157946" y="66027"/>
                  </a:lnTo>
                  <a:lnTo>
                    <a:pt x="123760" y="93000"/>
                  </a:lnTo>
                  <a:lnTo>
                    <a:pt x="93006" y="123753"/>
                  </a:lnTo>
                  <a:lnTo>
                    <a:pt x="66032" y="157941"/>
                  </a:lnTo>
                  <a:lnTo>
                    <a:pt x="43185" y="195216"/>
                  </a:lnTo>
                  <a:lnTo>
                    <a:pt x="24812" y="235232"/>
                  </a:lnTo>
                  <a:lnTo>
                    <a:pt x="11258" y="277643"/>
                  </a:lnTo>
                  <a:lnTo>
                    <a:pt x="2872" y="322101"/>
                  </a:lnTo>
                  <a:lnTo>
                    <a:pt x="0" y="368261"/>
                  </a:lnTo>
                  <a:lnTo>
                    <a:pt x="2872" y="414413"/>
                  </a:lnTo>
                  <a:lnTo>
                    <a:pt x="11258" y="458864"/>
                  </a:lnTo>
                  <a:lnTo>
                    <a:pt x="24812" y="501268"/>
                  </a:lnTo>
                  <a:lnTo>
                    <a:pt x="43185" y="541278"/>
                  </a:lnTo>
                  <a:lnTo>
                    <a:pt x="66032" y="578548"/>
                  </a:lnTo>
                  <a:lnTo>
                    <a:pt x="93006" y="612732"/>
                  </a:lnTo>
                  <a:lnTo>
                    <a:pt x="123760" y="643482"/>
                  </a:lnTo>
                  <a:lnTo>
                    <a:pt x="157946" y="670451"/>
                  </a:lnTo>
                  <a:lnTo>
                    <a:pt x="195219" y="693295"/>
                  </a:lnTo>
                  <a:lnTo>
                    <a:pt x="235231" y="711665"/>
                  </a:lnTo>
                  <a:lnTo>
                    <a:pt x="277636" y="725216"/>
                  </a:lnTo>
                  <a:lnTo>
                    <a:pt x="322086" y="733601"/>
                  </a:lnTo>
                  <a:lnTo>
                    <a:pt x="368236" y="736473"/>
                  </a:lnTo>
                  <a:lnTo>
                    <a:pt x="414391" y="733601"/>
                  </a:lnTo>
                  <a:lnTo>
                    <a:pt x="458846" y="725216"/>
                  </a:lnTo>
                  <a:lnTo>
                    <a:pt x="501255" y="711665"/>
                  </a:lnTo>
                  <a:lnTo>
                    <a:pt x="541270" y="693295"/>
                  </a:lnTo>
                  <a:lnTo>
                    <a:pt x="578545" y="670451"/>
                  </a:lnTo>
                  <a:lnTo>
                    <a:pt x="612734" y="643482"/>
                  </a:lnTo>
                  <a:lnTo>
                    <a:pt x="643489" y="612732"/>
                  </a:lnTo>
                  <a:lnTo>
                    <a:pt x="670464" y="578548"/>
                  </a:lnTo>
                  <a:lnTo>
                    <a:pt x="693311" y="541278"/>
                  </a:lnTo>
                  <a:lnTo>
                    <a:pt x="711685" y="501268"/>
                  </a:lnTo>
                  <a:lnTo>
                    <a:pt x="725239" y="458864"/>
                  </a:lnTo>
                  <a:lnTo>
                    <a:pt x="733625" y="414413"/>
                  </a:lnTo>
                  <a:lnTo>
                    <a:pt x="736498" y="368261"/>
                  </a:lnTo>
                  <a:lnTo>
                    <a:pt x="733625" y="322101"/>
                  </a:lnTo>
                  <a:lnTo>
                    <a:pt x="725239" y="277643"/>
                  </a:lnTo>
                  <a:lnTo>
                    <a:pt x="711685" y="235232"/>
                  </a:lnTo>
                  <a:lnTo>
                    <a:pt x="693311" y="195216"/>
                  </a:lnTo>
                  <a:lnTo>
                    <a:pt x="670464" y="157941"/>
                  </a:lnTo>
                  <a:lnTo>
                    <a:pt x="643489" y="123753"/>
                  </a:lnTo>
                  <a:lnTo>
                    <a:pt x="612734" y="93000"/>
                  </a:lnTo>
                  <a:lnTo>
                    <a:pt x="578545" y="66027"/>
                  </a:lnTo>
                  <a:lnTo>
                    <a:pt x="541270" y="43181"/>
                  </a:lnTo>
                  <a:lnTo>
                    <a:pt x="501255" y="24809"/>
                  </a:lnTo>
                  <a:lnTo>
                    <a:pt x="458846" y="11257"/>
                  </a:lnTo>
                  <a:lnTo>
                    <a:pt x="414391" y="2872"/>
                  </a:lnTo>
                  <a:lnTo>
                    <a:pt x="368236" y="0"/>
                  </a:lnTo>
                  <a:close/>
                </a:path>
              </a:pathLst>
            </a:custGeom>
            <a:solidFill>
              <a:srgbClr val="FFFFFF"/>
            </a:solidFill>
          </p:spPr>
          <p:txBody>
            <a:bodyPr wrap="square" lIns="0" tIns="0" rIns="0" bIns="0" rtlCol="0"/>
            <a:lstStyle/>
            <a:p>
              <a:endParaRPr sz="1828"/>
            </a:p>
          </p:txBody>
        </p:sp>
        <p:pic>
          <p:nvPicPr>
            <p:cNvPr id="53" name="bg object 24">
              <a:extLst>
                <a:ext uri="{FF2B5EF4-FFF2-40B4-BE49-F238E27FC236}">
                  <a16:creationId xmlns:a16="http://schemas.microsoft.com/office/drawing/2014/main" id="{710C2A66-EFA2-B14F-8EC1-4666745165A3}"/>
                </a:ext>
              </a:extLst>
            </p:cNvPr>
            <p:cNvPicPr/>
            <p:nvPr/>
          </p:nvPicPr>
          <p:blipFill>
            <a:blip r:embed="rId10" cstate="print"/>
            <a:stretch>
              <a:fillRect/>
            </a:stretch>
          </p:blipFill>
          <p:spPr>
            <a:xfrm>
              <a:off x="7094023" y="3581171"/>
              <a:ext cx="208114" cy="191808"/>
            </a:xfrm>
            <a:prstGeom prst="rect">
              <a:avLst/>
            </a:prstGeom>
          </p:spPr>
        </p:pic>
        <p:sp>
          <p:nvSpPr>
            <p:cNvPr id="54" name="bg object 25">
              <a:extLst>
                <a:ext uri="{FF2B5EF4-FFF2-40B4-BE49-F238E27FC236}">
                  <a16:creationId xmlns:a16="http://schemas.microsoft.com/office/drawing/2014/main" id="{F9D10A2C-9A3C-814A-AC8D-667FCC66D492}"/>
                </a:ext>
              </a:extLst>
            </p:cNvPr>
            <p:cNvSpPr/>
            <p:nvPr/>
          </p:nvSpPr>
          <p:spPr>
            <a:xfrm>
              <a:off x="6906209" y="3710347"/>
              <a:ext cx="802640" cy="995680"/>
            </a:xfrm>
            <a:custGeom>
              <a:avLst/>
              <a:gdLst/>
              <a:ahLst/>
              <a:cxnLst/>
              <a:rect l="l" t="t" r="r" b="b"/>
              <a:pathLst>
                <a:path w="802640" h="995679">
                  <a:moveTo>
                    <a:pt x="767154" y="0"/>
                  </a:moveTo>
                  <a:lnTo>
                    <a:pt x="755832" y="4145"/>
                  </a:lnTo>
                  <a:lnTo>
                    <a:pt x="606277" y="94620"/>
                  </a:lnTo>
                  <a:lnTo>
                    <a:pt x="445787" y="59212"/>
                  </a:lnTo>
                  <a:lnTo>
                    <a:pt x="438127" y="55707"/>
                  </a:lnTo>
                  <a:lnTo>
                    <a:pt x="429961" y="53850"/>
                  </a:lnTo>
                  <a:lnTo>
                    <a:pt x="421564" y="53683"/>
                  </a:lnTo>
                  <a:lnTo>
                    <a:pt x="412551" y="55466"/>
                  </a:lnTo>
                  <a:lnTo>
                    <a:pt x="306811" y="87064"/>
                  </a:lnTo>
                  <a:lnTo>
                    <a:pt x="261978" y="120389"/>
                  </a:lnTo>
                  <a:lnTo>
                    <a:pt x="253585" y="136860"/>
                  </a:lnTo>
                  <a:lnTo>
                    <a:pt x="157522" y="289362"/>
                  </a:lnTo>
                  <a:lnTo>
                    <a:pt x="157078" y="290391"/>
                  </a:lnTo>
                  <a:lnTo>
                    <a:pt x="12145" y="398531"/>
                  </a:lnTo>
                  <a:lnTo>
                    <a:pt x="4010" y="407444"/>
                  </a:lnTo>
                  <a:lnTo>
                    <a:pt x="0" y="418388"/>
                  </a:lnTo>
                  <a:lnTo>
                    <a:pt x="335" y="430046"/>
                  </a:lnTo>
                  <a:lnTo>
                    <a:pt x="5237" y="441101"/>
                  </a:lnTo>
                  <a:lnTo>
                    <a:pt x="13995" y="449407"/>
                  </a:lnTo>
                  <a:lnTo>
                    <a:pt x="24868" y="453633"/>
                  </a:lnTo>
                  <a:lnTo>
                    <a:pt x="36526" y="453549"/>
                  </a:lnTo>
                  <a:lnTo>
                    <a:pt x="208030" y="342143"/>
                  </a:lnTo>
                  <a:lnTo>
                    <a:pt x="221568" y="323347"/>
                  </a:lnTo>
                  <a:lnTo>
                    <a:pt x="270832" y="253586"/>
                  </a:lnTo>
                  <a:lnTo>
                    <a:pt x="318774" y="413860"/>
                  </a:lnTo>
                  <a:lnTo>
                    <a:pt x="287189" y="676344"/>
                  </a:lnTo>
                  <a:lnTo>
                    <a:pt x="287075" y="685856"/>
                  </a:lnTo>
                  <a:lnTo>
                    <a:pt x="288269" y="925937"/>
                  </a:lnTo>
                  <a:lnTo>
                    <a:pt x="262932" y="935131"/>
                  </a:lnTo>
                  <a:lnTo>
                    <a:pt x="245510" y="944654"/>
                  </a:lnTo>
                  <a:lnTo>
                    <a:pt x="231989" y="958620"/>
                  </a:lnTo>
                  <a:lnTo>
                    <a:pt x="223135" y="975929"/>
                  </a:lnTo>
                  <a:lnTo>
                    <a:pt x="219714" y="995482"/>
                  </a:lnTo>
                  <a:lnTo>
                    <a:pt x="360583" y="995533"/>
                  </a:lnTo>
                  <a:lnTo>
                    <a:pt x="360468" y="949762"/>
                  </a:lnTo>
                  <a:lnTo>
                    <a:pt x="391507" y="687215"/>
                  </a:lnTo>
                  <a:lnTo>
                    <a:pt x="404067" y="636656"/>
                  </a:lnTo>
                  <a:lnTo>
                    <a:pt x="408373" y="676559"/>
                  </a:lnTo>
                  <a:lnTo>
                    <a:pt x="407395" y="682389"/>
                  </a:lnTo>
                  <a:lnTo>
                    <a:pt x="407344" y="688409"/>
                  </a:lnTo>
                  <a:lnTo>
                    <a:pt x="409338" y="698530"/>
                  </a:lnTo>
                  <a:lnTo>
                    <a:pt x="468279" y="928235"/>
                  </a:lnTo>
                  <a:lnTo>
                    <a:pt x="449140" y="935131"/>
                  </a:lnTo>
                  <a:lnTo>
                    <a:pt x="431687" y="944654"/>
                  </a:lnTo>
                  <a:lnTo>
                    <a:pt x="418152" y="958620"/>
                  </a:lnTo>
                  <a:lnTo>
                    <a:pt x="409303" y="975929"/>
                  </a:lnTo>
                  <a:lnTo>
                    <a:pt x="405909" y="995482"/>
                  </a:lnTo>
                  <a:lnTo>
                    <a:pt x="546727" y="995533"/>
                  </a:lnTo>
                  <a:lnTo>
                    <a:pt x="546803" y="947489"/>
                  </a:lnTo>
                  <a:lnTo>
                    <a:pt x="545228" y="940681"/>
                  </a:lnTo>
                  <a:lnTo>
                    <a:pt x="513033" y="688790"/>
                  </a:lnTo>
                  <a:lnTo>
                    <a:pt x="513668" y="683837"/>
                  </a:lnTo>
                  <a:lnTo>
                    <a:pt x="517758" y="420273"/>
                  </a:lnTo>
                  <a:lnTo>
                    <a:pt x="518634" y="413415"/>
                  </a:lnTo>
                  <a:lnTo>
                    <a:pt x="518088" y="406240"/>
                  </a:lnTo>
                  <a:lnTo>
                    <a:pt x="438700" y="140721"/>
                  </a:lnTo>
                  <a:lnTo>
                    <a:pt x="594796" y="166426"/>
                  </a:lnTo>
                  <a:lnTo>
                    <a:pt x="601119" y="168769"/>
                  </a:lnTo>
                  <a:lnTo>
                    <a:pt x="607744" y="169887"/>
                  </a:lnTo>
                  <a:lnTo>
                    <a:pt x="614502" y="169737"/>
                  </a:lnTo>
                  <a:lnTo>
                    <a:pt x="628769" y="166756"/>
                  </a:lnTo>
                  <a:lnTo>
                    <a:pt x="635563" y="162730"/>
                  </a:lnTo>
                  <a:lnTo>
                    <a:pt x="640694" y="157028"/>
                  </a:lnTo>
                  <a:lnTo>
                    <a:pt x="789157" y="56012"/>
                  </a:lnTo>
                  <a:lnTo>
                    <a:pt x="797646" y="47486"/>
                  </a:lnTo>
                  <a:lnTo>
                    <a:pt x="802117" y="36732"/>
                  </a:lnTo>
                  <a:lnTo>
                    <a:pt x="802284" y="25071"/>
                  </a:lnTo>
                  <a:lnTo>
                    <a:pt x="797856" y="13823"/>
                  </a:lnTo>
                  <a:lnTo>
                    <a:pt x="789470" y="5124"/>
                  </a:lnTo>
                  <a:lnTo>
                    <a:pt x="778802" y="421"/>
                  </a:lnTo>
                  <a:lnTo>
                    <a:pt x="767154" y="0"/>
                  </a:lnTo>
                  <a:close/>
                </a:path>
              </a:pathLst>
            </a:custGeom>
            <a:solidFill>
              <a:srgbClr val="000000"/>
            </a:solidFill>
          </p:spPr>
          <p:txBody>
            <a:bodyPr wrap="square" lIns="0" tIns="0" rIns="0" bIns="0" rtlCol="0"/>
            <a:lstStyle/>
            <a:p>
              <a:endParaRPr sz="1828"/>
            </a:p>
          </p:txBody>
        </p:sp>
        <p:sp>
          <p:nvSpPr>
            <p:cNvPr id="55" name="bg object 26">
              <a:extLst>
                <a:ext uri="{FF2B5EF4-FFF2-40B4-BE49-F238E27FC236}">
                  <a16:creationId xmlns:a16="http://schemas.microsoft.com/office/drawing/2014/main" id="{37B9F823-263E-6047-84E9-AB5BE434E0A1}"/>
                </a:ext>
              </a:extLst>
            </p:cNvPr>
            <p:cNvSpPr/>
            <p:nvPr/>
          </p:nvSpPr>
          <p:spPr>
            <a:xfrm>
              <a:off x="6225413" y="3987685"/>
              <a:ext cx="2078989" cy="2079625"/>
            </a:xfrm>
            <a:custGeom>
              <a:avLst/>
              <a:gdLst/>
              <a:ahLst/>
              <a:cxnLst/>
              <a:rect l="l" t="t" r="r" b="b"/>
              <a:pathLst>
                <a:path w="2078990" h="2079625">
                  <a:moveTo>
                    <a:pt x="642594" y="1436395"/>
                  </a:moveTo>
                  <a:lnTo>
                    <a:pt x="0" y="1436395"/>
                  </a:lnTo>
                  <a:lnTo>
                    <a:pt x="0" y="2078990"/>
                  </a:lnTo>
                  <a:lnTo>
                    <a:pt x="642594" y="2078990"/>
                  </a:lnTo>
                  <a:lnTo>
                    <a:pt x="642594" y="1436395"/>
                  </a:lnTo>
                  <a:close/>
                </a:path>
                <a:path w="2078990" h="2079625">
                  <a:moveTo>
                    <a:pt x="1360792" y="718197"/>
                  </a:moveTo>
                  <a:lnTo>
                    <a:pt x="718197" y="718197"/>
                  </a:lnTo>
                  <a:lnTo>
                    <a:pt x="718197" y="2079015"/>
                  </a:lnTo>
                  <a:lnTo>
                    <a:pt x="1360792" y="2079015"/>
                  </a:lnTo>
                  <a:lnTo>
                    <a:pt x="1360792" y="718197"/>
                  </a:lnTo>
                  <a:close/>
                </a:path>
                <a:path w="2078990" h="2079625">
                  <a:moveTo>
                    <a:pt x="2078990" y="0"/>
                  </a:moveTo>
                  <a:lnTo>
                    <a:pt x="1436395" y="0"/>
                  </a:lnTo>
                  <a:lnTo>
                    <a:pt x="1436395" y="2079015"/>
                  </a:lnTo>
                  <a:lnTo>
                    <a:pt x="2078990" y="2079015"/>
                  </a:lnTo>
                  <a:lnTo>
                    <a:pt x="2078990" y="0"/>
                  </a:lnTo>
                  <a:close/>
                </a:path>
              </a:pathLst>
            </a:custGeom>
            <a:solidFill>
              <a:srgbClr val="FFFFFF"/>
            </a:solidFill>
          </p:spPr>
          <p:txBody>
            <a:bodyPr wrap="square" lIns="0" tIns="0" rIns="0" bIns="0" rtlCol="0"/>
            <a:lstStyle/>
            <a:p>
              <a:endParaRPr sz="1828"/>
            </a:p>
          </p:txBody>
        </p:sp>
        <p:sp>
          <p:nvSpPr>
            <p:cNvPr id="56" name="bg object 27">
              <a:extLst>
                <a:ext uri="{FF2B5EF4-FFF2-40B4-BE49-F238E27FC236}">
                  <a16:creationId xmlns:a16="http://schemas.microsoft.com/office/drawing/2014/main" id="{997C1AB4-3965-E142-B797-3AAE1B73BEC2}"/>
                </a:ext>
              </a:extLst>
            </p:cNvPr>
            <p:cNvSpPr/>
            <p:nvPr/>
          </p:nvSpPr>
          <p:spPr>
            <a:xfrm>
              <a:off x="5315420" y="5149189"/>
              <a:ext cx="368300" cy="615950"/>
            </a:xfrm>
            <a:custGeom>
              <a:avLst/>
              <a:gdLst/>
              <a:ahLst/>
              <a:cxnLst/>
              <a:rect l="l" t="t" r="r" b="b"/>
              <a:pathLst>
                <a:path w="368300" h="615950">
                  <a:moveTo>
                    <a:pt x="367868" y="564172"/>
                  </a:moveTo>
                  <a:lnTo>
                    <a:pt x="245579" y="214630"/>
                  </a:lnTo>
                  <a:lnTo>
                    <a:pt x="218986" y="68402"/>
                  </a:lnTo>
                  <a:lnTo>
                    <a:pt x="205968" y="37680"/>
                  </a:lnTo>
                  <a:lnTo>
                    <a:pt x="181546" y="14579"/>
                  </a:lnTo>
                  <a:lnTo>
                    <a:pt x="149136" y="1282"/>
                  </a:lnTo>
                  <a:lnTo>
                    <a:pt x="112217" y="0"/>
                  </a:lnTo>
                  <a:lnTo>
                    <a:pt x="61214" y="7277"/>
                  </a:lnTo>
                  <a:lnTo>
                    <a:pt x="33731" y="16421"/>
                  </a:lnTo>
                  <a:lnTo>
                    <a:pt x="13068" y="33616"/>
                  </a:lnTo>
                  <a:lnTo>
                    <a:pt x="1168" y="56438"/>
                  </a:lnTo>
                  <a:lnTo>
                    <a:pt x="0" y="82473"/>
                  </a:lnTo>
                  <a:lnTo>
                    <a:pt x="51714" y="368731"/>
                  </a:lnTo>
                  <a:lnTo>
                    <a:pt x="47650" y="615873"/>
                  </a:lnTo>
                  <a:lnTo>
                    <a:pt x="89217" y="615226"/>
                  </a:lnTo>
                  <a:lnTo>
                    <a:pt x="145148" y="610120"/>
                  </a:lnTo>
                  <a:lnTo>
                    <a:pt x="208216" y="601522"/>
                  </a:lnTo>
                  <a:lnTo>
                    <a:pt x="271183" y="590359"/>
                  </a:lnTo>
                  <a:lnTo>
                    <a:pt x="326809" y="577596"/>
                  </a:lnTo>
                  <a:lnTo>
                    <a:pt x="367868" y="564172"/>
                  </a:lnTo>
                  <a:close/>
                </a:path>
              </a:pathLst>
            </a:custGeom>
            <a:solidFill>
              <a:srgbClr val="000000"/>
            </a:solidFill>
          </p:spPr>
          <p:txBody>
            <a:bodyPr wrap="square" lIns="0" tIns="0" rIns="0" bIns="0" rtlCol="0"/>
            <a:lstStyle/>
            <a:p>
              <a:endParaRPr sz="1828"/>
            </a:p>
          </p:txBody>
        </p:sp>
        <p:pic>
          <p:nvPicPr>
            <p:cNvPr id="57" name="bg object 28">
              <a:extLst>
                <a:ext uri="{FF2B5EF4-FFF2-40B4-BE49-F238E27FC236}">
                  <a16:creationId xmlns:a16="http://schemas.microsoft.com/office/drawing/2014/main" id="{C56F2699-2BF4-AF49-B331-546F104E8113}"/>
                </a:ext>
              </a:extLst>
            </p:cNvPr>
            <p:cNvPicPr/>
            <p:nvPr/>
          </p:nvPicPr>
          <p:blipFill>
            <a:blip r:embed="rId11" cstate="print"/>
            <a:stretch>
              <a:fillRect/>
            </a:stretch>
          </p:blipFill>
          <p:spPr>
            <a:xfrm>
              <a:off x="5328871" y="5092070"/>
              <a:ext cx="253538" cy="150189"/>
            </a:xfrm>
            <a:prstGeom prst="rect">
              <a:avLst/>
            </a:prstGeom>
          </p:spPr>
        </p:pic>
        <p:sp>
          <p:nvSpPr>
            <p:cNvPr id="58" name="bg object 29">
              <a:extLst>
                <a:ext uri="{FF2B5EF4-FFF2-40B4-BE49-F238E27FC236}">
                  <a16:creationId xmlns:a16="http://schemas.microsoft.com/office/drawing/2014/main" id="{A23ABF97-F498-1A46-8944-636A20062505}"/>
                </a:ext>
              </a:extLst>
            </p:cNvPr>
            <p:cNvSpPr/>
            <p:nvPr/>
          </p:nvSpPr>
          <p:spPr>
            <a:xfrm>
              <a:off x="5249634" y="5430837"/>
              <a:ext cx="347980" cy="631190"/>
            </a:xfrm>
            <a:custGeom>
              <a:avLst/>
              <a:gdLst/>
              <a:ahLst/>
              <a:cxnLst/>
              <a:rect l="l" t="t" r="r" b="b"/>
              <a:pathLst>
                <a:path w="347979" h="631189">
                  <a:moveTo>
                    <a:pt x="347446" y="332244"/>
                  </a:moveTo>
                  <a:lnTo>
                    <a:pt x="347345" y="328104"/>
                  </a:lnTo>
                  <a:lnTo>
                    <a:pt x="346646" y="325539"/>
                  </a:lnTo>
                  <a:lnTo>
                    <a:pt x="347014" y="320065"/>
                  </a:lnTo>
                  <a:lnTo>
                    <a:pt x="316572" y="59436"/>
                  </a:lnTo>
                  <a:lnTo>
                    <a:pt x="287070" y="10680"/>
                  </a:lnTo>
                  <a:lnTo>
                    <a:pt x="235724" y="0"/>
                  </a:lnTo>
                  <a:lnTo>
                    <a:pt x="217766" y="7315"/>
                  </a:lnTo>
                  <a:lnTo>
                    <a:pt x="203377" y="990"/>
                  </a:lnTo>
                  <a:lnTo>
                    <a:pt x="151777" y="10248"/>
                  </a:lnTo>
                  <a:lnTo>
                    <a:pt x="121843" y="53301"/>
                  </a:lnTo>
                  <a:lnTo>
                    <a:pt x="78676" y="315734"/>
                  </a:lnTo>
                  <a:lnTo>
                    <a:pt x="78778" y="320852"/>
                  </a:lnTo>
                  <a:lnTo>
                    <a:pt x="1676" y="564413"/>
                  </a:lnTo>
                  <a:lnTo>
                    <a:pt x="11430" y="601903"/>
                  </a:lnTo>
                  <a:lnTo>
                    <a:pt x="36690" y="611479"/>
                  </a:lnTo>
                  <a:lnTo>
                    <a:pt x="49555" y="608787"/>
                  </a:lnTo>
                  <a:lnTo>
                    <a:pt x="178257" y="351243"/>
                  </a:lnTo>
                  <a:lnTo>
                    <a:pt x="182092" y="333260"/>
                  </a:lnTo>
                  <a:lnTo>
                    <a:pt x="215392" y="220129"/>
                  </a:lnTo>
                  <a:lnTo>
                    <a:pt x="243141" y="333654"/>
                  </a:lnTo>
                  <a:lnTo>
                    <a:pt x="243001" y="334733"/>
                  </a:lnTo>
                  <a:lnTo>
                    <a:pt x="273558" y="599020"/>
                  </a:lnTo>
                  <a:lnTo>
                    <a:pt x="277672" y="612216"/>
                  </a:lnTo>
                  <a:lnTo>
                    <a:pt x="286131" y="622617"/>
                  </a:lnTo>
                  <a:lnTo>
                    <a:pt x="297827" y="629221"/>
                  </a:lnTo>
                  <a:lnTo>
                    <a:pt x="311619" y="631037"/>
                  </a:lnTo>
                  <a:lnTo>
                    <a:pt x="324777" y="627621"/>
                  </a:lnTo>
                  <a:lnTo>
                    <a:pt x="335394" y="619899"/>
                  </a:lnTo>
                  <a:lnTo>
                    <a:pt x="342544" y="608926"/>
                  </a:lnTo>
                  <a:lnTo>
                    <a:pt x="345274" y="595541"/>
                  </a:lnTo>
                  <a:lnTo>
                    <a:pt x="347446" y="332244"/>
                  </a:lnTo>
                  <a:close/>
                </a:path>
              </a:pathLst>
            </a:custGeom>
            <a:solidFill>
              <a:srgbClr val="000000"/>
            </a:solidFill>
          </p:spPr>
          <p:txBody>
            <a:bodyPr wrap="square" lIns="0" tIns="0" rIns="0" bIns="0" rtlCol="0"/>
            <a:lstStyle/>
            <a:p>
              <a:endParaRPr sz="1828"/>
            </a:p>
          </p:txBody>
        </p:sp>
        <p:pic>
          <p:nvPicPr>
            <p:cNvPr id="59" name="bg object 30">
              <a:extLst>
                <a:ext uri="{FF2B5EF4-FFF2-40B4-BE49-F238E27FC236}">
                  <a16:creationId xmlns:a16="http://schemas.microsoft.com/office/drawing/2014/main" id="{1148227A-975A-9F43-B0D3-60010E8447BE}"/>
                </a:ext>
              </a:extLst>
            </p:cNvPr>
            <p:cNvPicPr/>
            <p:nvPr/>
          </p:nvPicPr>
          <p:blipFill>
            <a:blip r:embed="rId12" cstate="print"/>
            <a:stretch>
              <a:fillRect/>
            </a:stretch>
          </p:blipFill>
          <p:spPr>
            <a:xfrm>
              <a:off x="5521418" y="5985564"/>
              <a:ext cx="141363" cy="81114"/>
            </a:xfrm>
            <a:prstGeom prst="rect">
              <a:avLst/>
            </a:prstGeom>
          </p:spPr>
        </p:pic>
        <p:pic>
          <p:nvPicPr>
            <p:cNvPr id="60" name="bg object 31">
              <a:extLst>
                <a:ext uri="{FF2B5EF4-FFF2-40B4-BE49-F238E27FC236}">
                  <a16:creationId xmlns:a16="http://schemas.microsoft.com/office/drawing/2014/main" id="{5FFC3A14-65FC-7F4C-80CA-9B1B91319A61}"/>
                </a:ext>
              </a:extLst>
            </p:cNvPr>
            <p:cNvPicPr/>
            <p:nvPr/>
          </p:nvPicPr>
          <p:blipFill>
            <a:blip r:embed="rId13" cstate="print"/>
            <a:stretch>
              <a:fillRect/>
            </a:stretch>
          </p:blipFill>
          <p:spPr>
            <a:xfrm>
              <a:off x="5242602" y="5985564"/>
              <a:ext cx="141312" cy="81114"/>
            </a:xfrm>
            <a:prstGeom prst="rect">
              <a:avLst/>
            </a:prstGeom>
          </p:spPr>
        </p:pic>
        <p:sp>
          <p:nvSpPr>
            <p:cNvPr id="61" name="bg object 32">
              <a:extLst>
                <a:ext uri="{FF2B5EF4-FFF2-40B4-BE49-F238E27FC236}">
                  <a16:creationId xmlns:a16="http://schemas.microsoft.com/office/drawing/2014/main" id="{A52A7D0C-F37C-D34F-9FB5-833D9A1EB88F}"/>
                </a:ext>
              </a:extLst>
            </p:cNvPr>
            <p:cNvSpPr/>
            <p:nvPr/>
          </p:nvSpPr>
          <p:spPr>
            <a:xfrm>
              <a:off x="5443266" y="5091718"/>
              <a:ext cx="258445" cy="136525"/>
            </a:xfrm>
            <a:custGeom>
              <a:avLst/>
              <a:gdLst/>
              <a:ahLst/>
              <a:cxnLst/>
              <a:rect l="l" t="t" r="r" b="b"/>
              <a:pathLst>
                <a:path w="258445" h="136525">
                  <a:moveTo>
                    <a:pt x="226184" y="0"/>
                  </a:moveTo>
                  <a:lnTo>
                    <a:pt x="28191" y="55949"/>
                  </a:lnTo>
                  <a:lnTo>
                    <a:pt x="0" y="91556"/>
                  </a:lnTo>
                  <a:lnTo>
                    <a:pt x="1889" y="107765"/>
                  </a:lnTo>
                  <a:lnTo>
                    <a:pt x="9921" y="121995"/>
                  </a:lnTo>
                  <a:lnTo>
                    <a:pt x="22337" y="131687"/>
                  </a:lnTo>
                  <a:lnTo>
                    <a:pt x="37481" y="136010"/>
                  </a:lnTo>
                  <a:lnTo>
                    <a:pt x="53692" y="134131"/>
                  </a:lnTo>
                  <a:lnTo>
                    <a:pt x="234566" y="69703"/>
                  </a:lnTo>
                  <a:lnTo>
                    <a:pt x="246613" y="62529"/>
                  </a:lnTo>
                  <a:lnTo>
                    <a:pt x="254792" y="51701"/>
                  </a:lnTo>
                  <a:lnTo>
                    <a:pt x="258392" y="38607"/>
                  </a:lnTo>
                  <a:lnTo>
                    <a:pt x="256702" y="24631"/>
                  </a:lnTo>
                  <a:lnTo>
                    <a:pt x="249802" y="12358"/>
                  </a:lnTo>
                  <a:lnTo>
                    <a:pt x="239169" y="3914"/>
                  </a:lnTo>
                  <a:lnTo>
                    <a:pt x="226184" y="0"/>
                  </a:lnTo>
                  <a:close/>
                </a:path>
              </a:pathLst>
            </a:custGeom>
            <a:solidFill>
              <a:srgbClr val="000000"/>
            </a:solidFill>
          </p:spPr>
          <p:txBody>
            <a:bodyPr wrap="square" lIns="0" tIns="0" rIns="0" bIns="0" rtlCol="0"/>
            <a:lstStyle/>
            <a:p>
              <a:endParaRPr sz="1828"/>
            </a:p>
          </p:txBody>
        </p:sp>
        <p:pic>
          <p:nvPicPr>
            <p:cNvPr id="62" name="bg object 33">
              <a:extLst>
                <a:ext uri="{FF2B5EF4-FFF2-40B4-BE49-F238E27FC236}">
                  <a16:creationId xmlns:a16="http://schemas.microsoft.com/office/drawing/2014/main" id="{C5F6C2E1-E0F6-8F45-AE43-C03D44F30296}"/>
                </a:ext>
              </a:extLst>
            </p:cNvPr>
            <p:cNvPicPr/>
            <p:nvPr/>
          </p:nvPicPr>
          <p:blipFill>
            <a:blip r:embed="rId14" cstate="print"/>
            <a:stretch>
              <a:fillRect/>
            </a:stretch>
          </p:blipFill>
          <p:spPr>
            <a:xfrm>
              <a:off x="5630870" y="4955335"/>
              <a:ext cx="195664" cy="208888"/>
            </a:xfrm>
            <a:prstGeom prst="rect">
              <a:avLst/>
            </a:prstGeom>
          </p:spPr>
        </p:pic>
        <p:pic>
          <p:nvPicPr>
            <p:cNvPr id="63" name="bg object 34">
              <a:extLst>
                <a:ext uri="{FF2B5EF4-FFF2-40B4-BE49-F238E27FC236}">
                  <a16:creationId xmlns:a16="http://schemas.microsoft.com/office/drawing/2014/main" id="{7AACC29E-BAD2-1C46-A437-A38C4D7B5002}"/>
                </a:ext>
              </a:extLst>
            </p:cNvPr>
            <p:cNvPicPr/>
            <p:nvPr/>
          </p:nvPicPr>
          <p:blipFill>
            <a:blip r:embed="rId15" cstate="print"/>
            <a:stretch>
              <a:fillRect/>
            </a:stretch>
          </p:blipFill>
          <p:spPr>
            <a:xfrm>
              <a:off x="5250002" y="4933618"/>
              <a:ext cx="192553" cy="223654"/>
            </a:xfrm>
            <a:prstGeom prst="rect">
              <a:avLst/>
            </a:prstGeom>
          </p:spPr>
        </p:pic>
      </p:grpSp>
    </p:spTree>
    <p:extLst>
      <p:ext uri="{BB962C8B-B14F-4D97-AF65-F5344CB8AC3E}">
        <p14:creationId xmlns:p14="http://schemas.microsoft.com/office/powerpoint/2010/main" val="196946502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28958815"/>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F24D61-5313-4F14-A557-902DE0AAEE23}"/>
              </a:ext>
            </a:extLst>
          </p:cNvPr>
          <p:cNvSpPr/>
          <p:nvPr userDrawn="1">
            <p:custDataLst>
              <p:tags r:id="rId2"/>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5" name="Title Placeholder 2">
            <a:extLst>
              <a:ext uri="{FF2B5EF4-FFF2-40B4-BE49-F238E27FC236}">
                <a16:creationId xmlns:a16="http://schemas.microsoft.com/office/drawing/2014/main" id="{1CF00FC1-77FF-48FD-8945-D432EB9754D9}"/>
              </a:ext>
            </a:extLst>
          </p:cNvPr>
          <p:cNvSpPr>
            <a:spLocks noGrp="1" noChangeArrowheads="1"/>
          </p:cNvSpPr>
          <p:nvPr>
            <p:ph type="title"/>
          </p:nvPr>
        </p:nvSpPr>
        <p:spPr bwMode="gray">
          <a:xfrm>
            <a:off x="839041" y="283037"/>
            <a:ext cx="1111970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tabLst>
                <a:tab pos="549088" algn="l"/>
              </a:tabLst>
              <a:defRPr/>
            </a:lvl1pPr>
          </a:lstStyle>
          <a:p>
            <a:pPr lvl="0"/>
            <a:r>
              <a:rPr lang="nl-NL" noProof="0" dirty="0"/>
              <a:t>Click to edit Master title style</a:t>
            </a:r>
          </a:p>
        </p:txBody>
      </p:sp>
    </p:spTree>
    <p:extLst>
      <p:ext uri="{BB962C8B-B14F-4D97-AF65-F5344CB8AC3E}">
        <p14:creationId xmlns:p14="http://schemas.microsoft.com/office/powerpoint/2010/main" val="14535876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5BE47-2A2B-43B2-A85F-74DF39EFD07D}"/>
              </a:ext>
            </a:extLst>
          </p:cNvPr>
          <p:cNvGraphicFramePr>
            <a:graphicFrameLocks noChangeAspect="1"/>
          </p:cNvGraphicFramePr>
          <p:nvPr userDrawn="1">
            <p:custDataLst>
              <p:tags r:id="rId1"/>
            </p:custDataLst>
            <p:extLst>
              <p:ext uri="{D42A27DB-BD31-4B8C-83A1-F6EECF244321}">
                <p14:modId xmlns:p14="http://schemas.microsoft.com/office/powerpoint/2010/main" val="465367885"/>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4" name="Object 3" hidden="1">
                        <a:extLst>
                          <a:ext uri="{FF2B5EF4-FFF2-40B4-BE49-F238E27FC236}">
                            <a16:creationId xmlns:a16="http://schemas.microsoft.com/office/drawing/2014/main" id="{E055BE47-2A2B-43B2-A85F-74DF39EFD07D}"/>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90D1DBB-A7F0-4A4F-96ED-21071423E3AB}"/>
              </a:ext>
            </a:extLst>
          </p:cNvPr>
          <p:cNvSpPr/>
          <p:nvPr userDrawn="1">
            <p:custDataLst>
              <p:tags r:id="rId2"/>
            </p:custDataLst>
          </p:nvPr>
        </p:nvSpPr>
        <p:spPr>
          <a:xfrm>
            <a:off x="0" y="0"/>
            <a:ext cx="161977" cy="16197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2" name="Title 1">
            <a:extLst>
              <a:ext uri="{FF2B5EF4-FFF2-40B4-BE49-F238E27FC236}">
                <a16:creationId xmlns:a16="http://schemas.microsoft.com/office/drawing/2014/main" id="{9734B9BF-C3B0-4969-8EE3-D3897CB3D972}"/>
              </a:ext>
            </a:extLst>
          </p:cNvPr>
          <p:cNvSpPr>
            <a:spLocks noGrp="1"/>
          </p:cNvSpPr>
          <p:nvPr>
            <p:ph type="title"/>
          </p:nvPr>
        </p:nvSpPr>
        <p:spPr/>
        <p:txBody>
          <a:bodyPr/>
          <a:lstStyle/>
          <a:p>
            <a:r>
              <a:rPr lang="nl-NL" dirty="0"/>
              <a:t>Click to edit Master title style</a:t>
            </a:r>
          </a:p>
        </p:txBody>
      </p:sp>
    </p:spTree>
    <p:extLst>
      <p:ext uri="{BB962C8B-B14F-4D97-AF65-F5344CB8AC3E}">
        <p14:creationId xmlns:p14="http://schemas.microsoft.com/office/powerpoint/2010/main" val="1313662370"/>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sp>
        <p:nvSpPr>
          <p:cNvPr id="6" name="Rectangle 5"/>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CA" sz="1800" dirty="0"/>
          </a:p>
        </p:txBody>
      </p:sp>
      <p:sp>
        <p:nvSpPr>
          <p:cNvPr id="7" name="Tijdelijke aanduiding voor titel 1"/>
          <p:cNvSpPr>
            <a:spLocks noGrp="1"/>
          </p:cNvSpPr>
          <p:nvPr>
            <p:ph type="ctrTitle" hasCustomPrompt="1"/>
          </p:nvPr>
        </p:nvSpPr>
        <p:spPr>
          <a:xfrm>
            <a:off x="989446" y="1758950"/>
            <a:ext cx="4728967" cy="1835151"/>
          </a:xfrm>
          <a:prstGeom prst="rect">
            <a:avLst/>
          </a:prstGeom>
        </p:spPr>
        <p:txBody>
          <a:bodyPr>
            <a:noAutofit/>
          </a:bodyPr>
          <a:lstStyle>
            <a:lvl1pPr>
              <a:defRPr sz="4051"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6" y="3602039"/>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userDrawn="1"/>
        </p:nvSpPr>
        <p:spPr>
          <a:xfrm>
            <a:off x="1308103" y="197126"/>
            <a:ext cx="7818231" cy="1123399"/>
          </a:xfrm>
          <a:prstGeom prst="rect">
            <a:avLst/>
          </a:prstGeom>
        </p:spPr>
        <p:txBody>
          <a:bodyPr vert="horz" lIns="68580" tIns="34291" rIns="68580" bIns="34291"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userDrawn="1"/>
        </p:nvSpPr>
        <p:spPr>
          <a:xfrm>
            <a:off x="11533189"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CA" sz="1800"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dirty="0"/>
              <a:t>Click icon to add picture</a:t>
            </a:r>
            <a:endParaRPr lang="nl-NL"/>
          </a:p>
        </p:txBody>
      </p:sp>
    </p:spTree>
    <p:extLst>
      <p:ext uri="{BB962C8B-B14F-4D97-AF65-F5344CB8AC3E}">
        <p14:creationId xmlns:p14="http://schemas.microsoft.com/office/powerpoint/2010/main" val="426804668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3"/>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r>
              <a:rPr lang="nl-NL"/>
              <a:t>Informatiebijeenkomst 26 juli 2021 Europese Aanbesteding SVWI</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1" y="1228725"/>
            <a:ext cx="10872000" cy="247651"/>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712862860"/>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9" y="1592263"/>
            <a:ext cx="5332401" cy="47164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9" y="1592263"/>
            <a:ext cx="5332401" cy="47164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382027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9" y="1592263"/>
            <a:ext cx="5332401" cy="47164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9" cy="247651"/>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9" y="1947863"/>
            <a:ext cx="5332401" cy="43608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046254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noProof="0"/>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endParaRPr lang="nl-NL" noProof="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endParaRPr lang="nl-NL" noProof="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endParaRPr lang="nl-NL" noProof="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endParaRPr lang="nl-NL" noProof="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endParaRPr lang="nl-NL" noProof="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endParaRPr lang="nl-NL" noProof="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endParaRPr lang="nl-NL" noProof="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endParaRPr lang="nl-NL" noProof="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endParaRPr lang="nl-NL" noProof="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endParaRPr lang="nl-NL" noProof="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172431" y="1670050"/>
            <a:ext cx="2320190" cy="791465"/>
          </a:xfrm>
        </p:spPr>
        <p:txBody>
          <a:bodyPr/>
          <a:lstStyle>
            <a:lvl1pPr>
              <a:defRPr/>
            </a:lvl1pPr>
          </a:lstStyle>
          <a:p>
            <a:pPr lvl="0"/>
            <a:r>
              <a:rPr lang="nl-NL" noProof="0"/>
              <a:t>Klik om tekst in te voegen</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hasCustomPrompt="1"/>
          </p:nvPr>
        </p:nvSpPr>
        <p:spPr>
          <a:xfrm>
            <a:off x="5172431" y="2612782"/>
            <a:ext cx="2320190" cy="791465"/>
          </a:xfrm>
        </p:spPr>
        <p:txBody>
          <a:bodyPr/>
          <a:lstStyle>
            <a:lvl1pPr>
              <a:defRPr/>
            </a:lvl1pPr>
          </a:lstStyle>
          <a:p>
            <a:pPr lvl="0"/>
            <a:r>
              <a:rPr lang="nl-NL" noProof="0"/>
              <a:t>Klik om tekst in te voegen</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hasCustomPrompt="1"/>
          </p:nvPr>
        </p:nvSpPr>
        <p:spPr>
          <a:xfrm>
            <a:off x="5172431" y="3554761"/>
            <a:ext cx="2320190" cy="791465"/>
          </a:xfrm>
        </p:spPr>
        <p:txBody>
          <a:bodyPr/>
          <a:lstStyle>
            <a:lvl1pPr>
              <a:defRPr/>
            </a:lvl1pPr>
          </a:lstStyle>
          <a:p>
            <a:pPr lvl="0"/>
            <a:r>
              <a:rPr lang="nl-NL" noProof="0"/>
              <a:t>Klik om tekst in te voegen</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hasCustomPrompt="1"/>
          </p:nvPr>
        </p:nvSpPr>
        <p:spPr>
          <a:xfrm>
            <a:off x="5172431" y="4496740"/>
            <a:ext cx="2320190" cy="791465"/>
          </a:xfrm>
        </p:spPr>
        <p:txBody>
          <a:bodyPr/>
          <a:lstStyle>
            <a:lvl1pPr>
              <a:defRPr/>
            </a:lvl1pPr>
          </a:lstStyle>
          <a:p>
            <a:pPr lvl="0"/>
            <a:r>
              <a:rPr lang="nl-NL" noProof="0"/>
              <a:t>Klik om tekst in te voegen</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hasCustomPrompt="1"/>
          </p:nvPr>
        </p:nvSpPr>
        <p:spPr>
          <a:xfrm>
            <a:off x="5172431" y="5438719"/>
            <a:ext cx="2320190" cy="791465"/>
          </a:xfrm>
        </p:spPr>
        <p:txBody>
          <a:bodyPr/>
          <a:lstStyle>
            <a:lvl1pPr>
              <a:defRPr/>
            </a:lvl1pPr>
          </a:lstStyle>
          <a:p>
            <a:pPr lvl="0"/>
            <a:r>
              <a:rPr lang="nl-NL" noProof="0"/>
              <a:t>Klik om tekst in te voegen</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hasCustomPrompt="1"/>
          </p:nvPr>
        </p:nvSpPr>
        <p:spPr>
          <a:xfrm>
            <a:off x="8876823" y="1670050"/>
            <a:ext cx="2320190" cy="791465"/>
          </a:xfrm>
        </p:spPr>
        <p:txBody>
          <a:bodyPr/>
          <a:lstStyle>
            <a:lvl1pPr>
              <a:defRPr/>
            </a:lvl1pPr>
          </a:lstStyle>
          <a:p>
            <a:pPr lvl="0"/>
            <a:r>
              <a:rPr lang="nl-NL" noProof="0"/>
              <a:t>Klik om tekst in te voegen</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hasCustomPrompt="1"/>
          </p:nvPr>
        </p:nvSpPr>
        <p:spPr>
          <a:xfrm>
            <a:off x="8876823" y="2612782"/>
            <a:ext cx="2320190" cy="791465"/>
          </a:xfrm>
        </p:spPr>
        <p:txBody>
          <a:bodyPr/>
          <a:lstStyle>
            <a:lvl1pPr>
              <a:defRPr/>
            </a:lvl1pPr>
          </a:lstStyle>
          <a:p>
            <a:pPr lvl="0"/>
            <a:r>
              <a:rPr lang="nl-NL" noProof="0"/>
              <a:t>Klik om tekst in te voegen</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hasCustomPrompt="1"/>
          </p:nvPr>
        </p:nvSpPr>
        <p:spPr>
          <a:xfrm>
            <a:off x="8876823" y="3554761"/>
            <a:ext cx="2320190" cy="791465"/>
          </a:xfrm>
        </p:spPr>
        <p:txBody>
          <a:bodyPr/>
          <a:lstStyle>
            <a:lvl1pPr>
              <a:defRPr/>
            </a:lvl1pPr>
          </a:lstStyle>
          <a:p>
            <a:pPr lvl="0"/>
            <a:r>
              <a:rPr lang="nl-NL" noProof="0"/>
              <a:t>Klik om tekst in te voegen</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hasCustomPrompt="1"/>
          </p:nvPr>
        </p:nvSpPr>
        <p:spPr>
          <a:xfrm>
            <a:off x="8876823" y="4496740"/>
            <a:ext cx="2320190" cy="791465"/>
          </a:xfrm>
        </p:spPr>
        <p:txBody>
          <a:bodyPr/>
          <a:lstStyle>
            <a:lvl1pPr>
              <a:defRPr/>
            </a:lvl1pPr>
          </a:lstStyle>
          <a:p>
            <a:pPr lvl="0"/>
            <a:r>
              <a:rPr lang="nl-NL" noProof="0"/>
              <a:t>Klik om tekst in te voegen</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hasCustomPrompt="1"/>
          </p:nvPr>
        </p:nvSpPr>
        <p:spPr>
          <a:xfrm>
            <a:off x="8876823" y="5438719"/>
            <a:ext cx="2320190" cy="791465"/>
          </a:xfrm>
        </p:spPr>
        <p:txBody>
          <a:bodyPr/>
          <a:lstStyle>
            <a:lvl1pPr marL="0" marR="0" indent="0" algn="l" defTabSz="685800" rtl="0" eaLnBrk="1" fontAlgn="auto" latinLnBrk="0" hangingPunct="1">
              <a:lnSpc>
                <a:spcPct val="90000"/>
              </a:lnSpc>
              <a:spcBef>
                <a:spcPts val="750"/>
              </a:spcBef>
              <a:spcAft>
                <a:spcPts val="0"/>
              </a:spcAft>
              <a:buClr>
                <a:srgbClr val="FF0000"/>
              </a:buClr>
              <a:buSzTx/>
              <a:buFontTx/>
              <a:buNone/>
              <a:tabLst/>
              <a:defRPr/>
            </a:lvl1pPr>
          </a:lstStyle>
          <a:p>
            <a:pPr lvl="0"/>
            <a:r>
              <a:rPr lang="nl-NL" noProof="0"/>
              <a:t>Klik om tekst in te voegen</a:t>
            </a:r>
          </a:p>
        </p:txBody>
      </p:sp>
    </p:spTree>
    <p:extLst>
      <p:ext uri="{BB962C8B-B14F-4D97-AF65-F5344CB8AC3E}">
        <p14:creationId xmlns:p14="http://schemas.microsoft.com/office/powerpoint/2010/main" val="126939801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9" y="1592263"/>
            <a:ext cx="3121481" cy="47164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5" cy="247651"/>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9" cy="43608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1028618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9" y="1610863"/>
            <a:ext cx="5332401" cy="46978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50" y="1610862"/>
            <a:ext cx="5332399" cy="247651"/>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9" y="1947863"/>
            <a:ext cx="5332401" cy="43608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696048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0"/>
            <a:ext cx="5332399" cy="247651"/>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9" y="1947863"/>
            <a:ext cx="5332401" cy="43608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0"/>
            <a:ext cx="5332399" cy="247651"/>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9" y="1947863"/>
            <a:ext cx="5332401" cy="4360863"/>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682650013"/>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9" y="1921146"/>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9" y="1921146"/>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3741109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7"/>
            <a:ext cx="3516683"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7"/>
            <a:ext cx="3516683"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5" y="1610437"/>
            <a:ext cx="3516683"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193360805"/>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1"/>
            <a:ext cx="3516683"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1"/>
            <a:ext cx="3516683"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5" y="1943101"/>
            <a:ext cx="3516683"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1" y="1611880"/>
            <a:ext cx="3516680" cy="247651"/>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0"/>
            <a:ext cx="3516680" cy="247651"/>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0"/>
            <a:ext cx="3516680" cy="247651"/>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67910532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3" cy="4411687"/>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3" cy="4411687"/>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69" y="1897039"/>
            <a:ext cx="3516683" cy="4411687"/>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3"/>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3"/>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69" y="1600533"/>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5314923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9" y="1897039"/>
            <a:ext cx="2645795" cy="4411687"/>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8" y="1600533"/>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9" y="1897039"/>
            <a:ext cx="2645795" cy="4411687"/>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8" y="1600533"/>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1" y="1897039"/>
            <a:ext cx="2645795" cy="4411687"/>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40" y="1600533"/>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5" y="1897039"/>
            <a:ext cx="2645795" cy="4411687"/>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3"/>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808936082"/>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9"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3"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9" y="4051242"/>
            <a:ext cx="5332401" cy="224540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3" y="4051242"/>
            <a:ext cx="5332401" cy="224540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94603163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9" y="1893456"/>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3" y="1893456"/>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9" y="4318002"/>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3" y="4318002"/>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0"/>
            <a:ext cx="5332399" cy="247651"/>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3" y="1611880"/>
            <a:ext cx="5332399" cy="247651"/>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9" cy="247651"/>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3" y="4034805"/>
            <a:ext cx="5332399" cy="247651"/>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1"/>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1" y="1228725"/>
            <a:ext cx="10872000" cy="247651"/>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42082299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Blank Slide" type="blank">
  <p:cSld name="Blank Slide">
    <p:spTree>
      <p:nvGrpSpPr>
        <p:cNvPr id="1" name="Shape 134"/>
        <p:cNvGrpSpPr/>
        <p:nvPr/>
      </p:nvGrpSpPr>
      <p:grpSpPr>
        <a:xfrm>
          <a:off x="0" y="0"/>
          <a:ext cx="0" cy="0"/>
          <a:chOff x="0" y="0"/>
          <a:chExt cx="0" cy="0"/>
        </a:xfrm>
      </p:grpSpPr>
    </p:spTree>
    <p:extLst>
      <p:ext uri="{BB962C8B-B14F-4D97-AF65-F5344CB8AC3E}">
        <p14:creationId xmlns:p14="http://schemas.microsoft.com/office/powerpoint/2010/main" val="123106534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9"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3"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9" y="438492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3" y="438492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1" y="1228725"/>
            <a:ext cx="10872000" cy="247651"/>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8120902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9" y="1614179"/>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9" y="4065752"/>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1" y="1228725"/>
            <a:ext cx="10872000" cy="247651"/>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419696856"/>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7" y="1909823"/>
            <a:ext cx="3517200" cy="193412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3"/>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3"/>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7" y="4373880"/>
            <a:ext cx="3517200" cy="1921643"/>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1" y="1228725"/>
            <a:ext cx="10872000" cy="247651"/>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1" y="1611880"/>
            <a:ext cx="3516680" cy="247651"/>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0"/>
            <a:ext cx="3516680" cy="247651"/>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0"/>
            <a:ext cx="3516680" cy="247651"/>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1" y="4065752"/>
            <a:ext cx="3516680" cy="247651"/>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1"/>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1"/>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494924"/>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3"/>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3"/>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1" y="1920567"/>
            <a:ext cx="3517200" cy="1923383"/>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69" y="1614179"/>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3"/>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3"/>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1" y="4385343"/>
            <a:ext cx="3517200" cy="1923383"/>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69" y="4078955"/>
            <a:ext cx="3516683"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1" y="1228725"/>
            <a:ext cx="10872000" cy="247651"/>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032023256"/>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ver Base Frame">
    <p:spTree>
      <p:nvGrpSpPr>
        <p:cNvPr id="1" name=""/>
        <p:cNvGrpSpPr/>
        <p:nvPr/>
      </p:nvGrpSpPr>
      <p:grpSpPr>
        <a:xfrm>
          <a:off x="0" y="0"/>
          <a:ext cx="0" cy="0"/>
          <a:chOff x="0" y="0"/>
          <a:chExt cx="0" cy="0"/>
        </a:xfrm>
      </p:grpSpPr>
      <p:sp>
        <p:nvSpPr>
          <p:cNvPr id="6" name="Rectangle 5"/>
          <p:cNvSpPr/>
          <p:nvPr userDrawn="1"/>
        </p:nvSpPr>
        <p:spPr>
          <a:xfrm>
            <a:off x="658813" y="3429000"/>
            <a:ext cx="11533187"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CA" sz="1800" dirty="0"/>
          </a:p>
        </p:txBody>
      </p:sp>
      <p:sp>
        <p:nvSpPr>
          <p:cNvPr id="7" name="Tijdelijke aanduiding voor titel 1"/>
          <p:cNvSpPr>
            <a:spLocks noGrp="1"/>
          </p:cNvSpPr>
          <p:nvPr>
            <p:ph type="ctrTitle" hasCustomPrompt="1"/>
          </p:nvPr>
        </p:nvSpPr>
        <p:spPr>
          <a:xfrm>
            <a:off x="989446" y="3454877"/>
            <a:ext cx="4728967" cy="1263771"/>
          </a:xfrm>
          <a:prstGeom prst="rect">
            <a:avLst/>
          </a:prstGeom>
        </p:spPr>
        <p:txBody>
          <a:bodyPr anchor="t">
            <a:noAutofit/>
          </a:bodyPr>
          <a:lstStyle>
            <a:lvl1pPr>
              <a:defRPr sz="4051"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6"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userDrawn="1"/>
        </p:nvSpPr>
        <p:spPr>
          <a:xfrm>
            <a:off x="1308103" y="197126"/>
            <a:ext cx="7818231" cy="1123399"/>
          </a:xfrm>
          <a:prstGeom prst="rect">
            <a:avLst/>
          </a:prstGeom>
        </p:spPr>
        <p:txBody>
          <a:bodyPr vert="horz" lIns="68580" tIns="34291" rIns="68580" bIns="34291"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userDrawn="1"/>
        </p:nvSpPr>
        <p:spPr>
          <a:xfrm>
            <a:off x="0" y="3429000"/>
            <a:ext cx="658813" cy="28797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CA" sz="1800" dirty="0"/>
          </a:p>
        </p:txBody>
      </p:sp>
    </p:spTree>
    <p:extLst>
      <p:ext uri="{BB962C8B-B14F-4D97-AF65-F5344CB8AC3E}">
        <p14:creationId xmlns:p14="http://schemas.microsoft.com/office/powerpoint/2010/main" val="414420885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sp>
        <p:nvSpPr>
          <p:cNvPr id="13" name="Tijdelijke aanduiding voor titel 1"/>
          <p:cNvSpPr txBox="1">
            <a:spLocks/>
          </p:cNvSpPr>
          <p:nvPr userDrawn="1"/>
        </p:nvSpPr>
        <p:spPr>
          <a:xfrm>
            <a:off x="1308103" y="197126"/>
            <a:ext cx="7818231" cy="1123399"/>
          </a:xfrm>
          <a:prstGeom prst="rect">
            <a:avLst/>
          </a:prstGeom>
        </p:spPr>
        <p:txBody>
          <a:bodyPr vert="horz" lIns="68580" tIns="34291" rIns="68580" bIns="34291"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dirty="0"/>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7" y="2373745"/>
            <a:ext cx="4747120" cy="1220355"/>
          </a:xfrm>
          <a:prstGeom prst="rect">
            <a:avLst/>
          </a:prstGeom>
          <a:solidFill>
            <a:schemeClr val="tx2">
              <a:alpha val="90000"/>
            </a:schemeClr>
          </a:solidFill>
        </p:spPr>
        <p:txBody>
          <a:bodyPr>
            <a:noAutofit/>
          </a:bodyPr>
          <a:lstStyle>
            <a:lvl1pPr>
              <a:defRPr sz="4051"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7" y="3664437"/>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81668018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9" y="6619876"/>
            <a:ext cx="1023140" cy="168275"/>
          </a:xfrm>
          <a:prstGeom prst="rect">
            <a:avLst/>
          </a:prstGeom>
        </p:spPr>
        <p:txBody>
          <a:bodyPr/>
          <a:lstStyle/>
          <a:p>
            <a:fld id="{992CD0B2-8AB2-4C6C-8876-E15753662C9B}" type="slidenum">
              <a:rPr lang="nl-NL" smtClean="0"/>
              <a:pPr/>
              <a:t>‹nr.›</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1"/>
            <a:ext cx="10874375"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4" y="2514600"/>
            <a:ext cx="10874375"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116236781"/>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9"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5"/>
            <a:ext cx="2520000" cy="3015211"/>
          </a:xfrm>
          <a:ln w="28575">
            <a:solidFill>
              <a:schemeClr val="accent1"/>
            </a:solidFill>
          </a:ln>
        </p:spPr>
        <p:txBody>
          <a:bodyPr/>
          <a:lstStyle/>
          <a:p>
            <a:r>
              <a:rPr lang="en-US" dirty="0"/>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5"/>
            <a:ext cx="2520000" cy="3015211"/>
          </a:xfrm>
          <a:ln w="28575">
            <a:solidFill>
              <a:schemeClr val="accent1"/>
            </a:solidFill>
          </a:ln>
        </p:spPr>
        <p:txBody>
          <a:bodyPr/>
          <a:lstStyle/>
          <a:p>
            <a:r>
              <a:rPr lang="en-US" dirty="0"/>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5"/>
            <a:ext cx="2520000" cy="3015211"/>
          </a:xfrm>
          <a:ln w="28575">
            <a:solidFill>
              <a:schemeClr val="accent1"/>
            </a:solidFill>
          </a:ln>
        </p:spPr>
        <p:txBody>
          <a:bodyPr/>
          <a:lstStyle/>
          <a:p>
            <a:r>
              <a:rPr lang="en-US" dirty="0"/>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5"/>
            <a:ext cx="2520000" cy="3015211"/>
          </a:xfrm>
          <a:ln w="28575">
            <a:solidFill>
              <a:schemeClr val="accent1"/>
            </a:solidFill>
          </a:ln>
        </p:spPr>
        <p:txBody>
          <a:bodyPr/>
          <a:lstStyle/>
          <a:p>
            <a:r>
              <a:rPr lang="en-US" dirty="0"/>
              <a:t>Click icon to add picture</a:t>
            </a:r>
            <a:endParaRPr lang="nl-NL"/>
          </a:p>
        </p:txBody>
      </p:sp>
    </p:spTree>
    <p:extLst>
      <p:ext uri="{BB962C8B-B14F-4D97-AF65-F5344CB8AC3E}">
        <p14:creationId xmlns:p14="http://schemas.microsoft.com/office/powerpoint/2010/main" val="803925648"/>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9"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5"/>
            <a:ext cx="3420000" cy="3015211"/>
          </a:xfrm>
          <a:ln w="28575">
            <a:solidFill>
              <a:schemeClr val="accent1"/>
            </a:solidFill>
          </a:ln>
        </p:spPr>
        <p:txBody>
          <a:bodyPr/>
          <a:lstStyle/>
          <a:p>
            <a:r>
              <a:rPr lang="en-US" dirty="0"/>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5"/>
            <a:ext cx="3420000" cy="3015211"/>
          </a:xfrm>
          <a:ln w="28575">
            <a:solidFill>
              <a:schemeClr val="accent1"/>
            </a:solidFill>
          </a:ln>
        </p:spPr>
        <p:txBody>
          <a:bodyPr/>
          <a:lstStyle/>
          <a:p>
            <a:r>
              <a:rPr lang="en-US" dirty="0"/>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5"/>
            <a:ext cx="3420000" cy="3015211"/>
          </a:xfrm>
          <a:ln w="28575">
            <a:solidFill>
              <a:schemeClr val="accent1"/>
            </a:solidFill>
          </a:ln>
        </p:spPr>
        <p:txBody>
          <a:bodyPr/>
          <a:lstStyle/>
          <a:p>
            <a:r>
              <a:rPr lang="en-US" dirty="0"/>
              <a:t>Click icon to add picture</a:t>
            </a:r>
            <a:endParaRPr lang="nl-NL"/>
          </a:p>
        </p:txBody>
      </p:sp>
    </p:spTree>
    <p:extLst>
      <p:ext uri="{BB962C8B-B14F-4D97-AF65-F5344CB8AC3E}">
        <p14:creationId xmlns:p14="http://schemas.microsoft.com/office/powerpoint/2010/main" val="3613199658"/>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9"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5" y="1785144"/>
            <a:ext cx="468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5" y="2880765"/>
            <a:ext cx="4680000" cy="3015211"/>
          </a:xfrm>
          <a:ln w="28575">
            <a:solidFill>
              <a:schemeClr val="accent1"/>
            </a:solidFill>
          </a:ln>
        </p:spPr>
        <p:txBody>
          <a:bodyPr/>
          <a:lstStyle/>
          <a:p>
            <a:r>
              <a:rPr lang="en-US" dirty="0"/>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783">
              <a:lnSpc>
                <a:spcPct val="90000"/>
              </a:lnSpc>
              <a:spcBef>
                <a:spcPts val="751"/>
              </a:spcBef>
              <a:buClr>
                <a:srgbClr val="FF0000"/>
              </a:buClr>
              <a:defRPr/>
            </a:lvl1pPr>
          </a:lstStyle>
          <a:p>
            <a:pPr lvl="0" algn="ctr" defTabSz="685783">
              <a:lnSpc>
                <a:spcPct val="90000"/>
              </a:lnSpc>
              <a:spcBef>
                <a:spcPts val="751"/>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783">
              <a:lnSpc>
                <a:spcPct val="90000"/>
              </a:lnSpc>
              <a:spcBef>
                <a:spcPts val="751"/>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783">
              <a:lnSpc>
                <a:spcPct val="90000"/>
              </a:lnSpc>
              <a:spcBef>
                <a:spcPts val="751"/>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5"/>
            <a:ext cx="4680000" cy="3015211"/>
          </a:xfrm>
          <a:ln w="28575">
            <a:solidFill>
              <a:schemeClr val="accent1"/>
            </a:solidFill>
          </a:ln>
        </p:spPr>
        <p:txBody>
          <a:bodyPr/>
          <a:lstStyle/>
          <a:p>
            <a:r>
              <a:rPr lang="en-US" dirty="0"/>
              <a:t>Click icon to add picture</a:t>
            </a:r>
            <a:endParaRPr lang="nl-NL"/>
          </a:p>
        </p:txBody>
      </p:sp>
    </p:spTree>
    <p:extLst>
      <p:ext uri="{BB962C8B-B14F-4D97-AF65-F5344CB8AC3E}">
        <p14:creationId xmlns:p14="http://schemas.microsoft.com/office/powerpoint/2010/main" val="28593673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59" y="1595"/>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p:nvPr/>
                    </p:nvPicPr>
                    <p:blipFill>
                      <a:blip r:embed="rId4"/>
                      <a:stretch>
                        <a:fillRect/>
                      </a:stretch>
                    </p:blipFill>
                    <p:spPr>
                      <a:xfrm>
                        <a:off x="1959" y="1595"/>
                        <a:ext cx="1953" cy="1587"/>
                      </a:xfrm>
                      <a:prstGeom prst="rect">
                        <a:avLst/>
                      </a:prstGeom>
                    </p:spPr>
                  </p:pic>
                </p:oleObj>
              </mc:Fallback>
            </mc:AlternateContent>
          </a:graphicData>
        </a:graphic>
      </p:graphicFrame>
    </p:spTree>
    <p:extLst>
      <p:ext uri="{BB962C8B-B14F-4D97-AF65-F5344CB8AC3E}">
        <p14:creationId xmlns:p14="http://schemas.microsoft.com/office/powerpoint/2010/main" val="404441181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userDrawn="1"/>
        </p:nvSpPr>
        <p:spPr>
          <a:xfrm>
            <a:off x="679013" y="-3"/>
            <a:ext cx="11512987"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sz="1800"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3"/>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5" y="296863"/>
            <a:ext cx="4127444" cy="6011863"/>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3" y="296863"/>
            <a:ext cx="4127444" cy="6011863"/>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033557580"/>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dirty="0"/>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9" y="6619876"/>
            <a:ext cx="1023140" cy="168275"/>
          </a:xfrm>
          <a:prstGeom prst="rect">
            <a:avLst/>
          </a:prstGeom>
        </p:spPr>
        <p:txBody>
          <a:bodyPr/>
          <a:lstStyle/>
          <a:p>
            <a:fld id="{992CD0B2-8AB2-4C6C-8876-E15753662C9B}" type="slidenum">
              <a:rPr lang="nl-NL" smtClean="0"/>
              <a:pPr/>
              <a:t>‹nr.›</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9"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26814985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dirty="0"/>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9" y="6619876"/>
            <a:ext cx="1023140" cy="168275"/>
          </a:xfrm>
          <a:prstGeom prst="rect">
            <a:avLst/>
          </a:prstGeom>
        </p:spPr>
        <p:txBody>
          <a:bodyPr/>
          <a:lstStyle/>
          <a:p>
            <a:fld id="{992CD0B2-8AB2-4C6C-8876-E15753662C9B}" type="slidenum">
              <a:rPr lang="nl-NL" smtClean="0"/>
              <a:pPr/>
              <a:t>‹nr.›</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1"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06928157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9"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dirty="0"/>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dirty="0"/>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dirty="0"/>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dirty="0"/>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dirty="0"/>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dirty="0"/>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dirty="0"/>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dirty="0"/>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dirty="0"/>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dirty="0"/>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dirty="0"/>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dirty="0"/>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260698481"/>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9"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1" y="927511"/>
            <a:ext cx="5403652" cy="2687637"/>
          </a:xfrm>
          <a:ln w="76200">
            <a:solidFill>
              <a:schemeClr val="bg1"/>
            </a:solidFill>
          </a:ln>
        </p:spPr>
        <p:txBody>
          <a:bodyPr/>
          <a:lstStyle/>
          <a:p>
            <a:r>
              <a:rPr lang="en-US" dirty="0"/>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1" y="3615148"/>
            <a:ext cx="5403652" cy="2687637"/>
          </a:xfrm>
          <a:ln w="76200">
            <a:solidFill>
              <a:schemeClr val="bg1"/>
            </a:solidFill>
          </a:ln>
        </p:spPr>
        <p:txBody>
          <a:bodyPr/>
          <a:lstStyle/>
          <a:p>
            <a:r>
              <a:rPr lang="en-US" dirty="0"/>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3" y="927511"/>
            <a:ext cx="5403652" cy="2687637"/>
          </a:xfrm>
          <a:ln w="76200">
            <a:solidFill>
              <a:schemeClr val="bg1"/>
            </a:solidFill>
          </a:ln>
        </p:spPr>
        <p:txBody>
          <a:bodyPr/>
          <a:lstStyle/>
          <a:p>
            <a:r>
              <a:rPr lang="en-US" dirty="0"/>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3" y="3615148"/>
            <a:ext cx="5403652" cy="2687637"/>
          </a:xfrm>
          <a:ln w="76200">
            <a:solidFill>
              <a:schemeClr val="bg1"/>
            </a:solidFill>
          </a:ln>
        </p:spPr>
        <p:txBody>
          <a:bodyPr/>
          <a:lstStyle/>
          <a:p>
            <a:r>
              <a:rPr lang="en-US" dirty="0"/>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5" y="2343718"/>
            <a:ext cx="5403652" cy="2687637"/>
          </a:xfrm>
          <a:ln w="76200">
            <a:solidFill>
              <a:schemeClr val="bg1"/>
            </a:solidFill>
          </a:ln>
        </p:spPr>
        <p:txBody>
          <a:bodyPr/>
          <a:lstStyle/>
          <a:p>
            <a:r>
              <a:rPr lang="en-US" dirty="0"/>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39655314"/>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9"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4" y="927511"/>
            <a:ext cx="3477759" cy="5381215"/>
          </a:xfrm>
          <a:ln w="76200">
            <a:solidFill>
              <a:schemeClr val="bg1"/>
            </a:solidFill>
          </a:ln>
        </p:spPr>
        <p:txBody>
          <a:bodyPr/>
          <a:lstStyle/>
          <a:p>
            <a:r>
              <a:rPr lang="en-US" dirty="0"/>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3" cy="1800000"/>
          </a:xfrm>
          <a:ln w="76200">
            <a:solidFill>
              <a:schemeClr val="bg1"/>
            </a:solidFill>
          </a:ln>
        </p:spPr>
        <p:txBody>
          <a:bodyPr/>
          <a:lstStyle/>
          <a:p>
            <a:r>
              <a:rPr lang="en-US" dirty="0"/>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3" cy="1800000"/>
          </a:xfrm>
          <a:ln w="76200">
            <a:solidFill>
              <a:schemeClr val="bg1"/>
            </a:solidFill>
          </a:ln>
        </p:spPr>
        <p:txBody>
          <a:bodyPr/>
          <a:lstStyle/>
          <a:p>
            <a:r>
              <a:rPr lang="en-US" dirty="0"/>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3" cy="1800000"/>
          </a:xfrm>
          <a:ln w="76200">
            <a:solidFill>
              <a:schemeClr val="bg1"/>
            </a:solidFill>
          </a:ln>
        </p:spPr>
        <p:txBody>
          <a:bodyPr/>
          <a:lstStyle/>
          <a:p>
            <a:r>
              <a:rPr lang="en-US" dirty="0"/>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4" y="927511"/>
            <a:ext cx="3314375" cy="5400000"/>
          </a:xfrm>
          <a:ln w="76200">
            <a:solidFill>
              <a:schemeClr val="bg1"/>
            </a:solidFill>
          </a:ln>
        </p:spPr>
        <p:txBody>
          <a:bodyPr/>
          <a:lstStyle/>
          <a:p>
            <a:r>
              <a:rPr lang="en-US" dirty="0"/>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175922072"/>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9"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1" y="927511"/>
            <a:ext cx="5403652" cy="3628575"/>
          </a:xfrm>
          <a:ln w="76200">
            <a:solidFill>
              <a:schemeClr val="bg1"/>
            </a:solidFill>
          </a:ln>
        </p:spPr>
        <p:txBody>
          <a:bodyPr/>
          <a:lstStyle/>
          <a:p>
            <a:r>
              <a:rPr lang="en-US" dirty="0"/>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dirty="0"/>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dirty="0"/>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dirty="0"/>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dirty="0"/>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5"/>
          </a:xfrm>
          <a:ln w="76200">
            <a:solidFill>
              <a:schemeClr val="bg1"/>
            </a:solidFill>
          </a:ln>
        </p:spPr>
        <p:txBody>
          <a:bodyPr/>
          <a:lstStyle/>
          <a:p>
            <a:r>
              <a:rPr lang="en-US" dirty="0"/>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75219648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4" y="2727511"/>
            <a:ext cx="3018471" cy="1800000"/>
          </a:xfrm>
          <a:ln w="76200">
            <a:solidFill>
              <a:schemeClr val="bg1"/>
            </a:solidFill>
          </a:ln>
        </p:spPr>
        <p:txBody>
          <a:bodyPr/>
          <a:lstStyle/>
          <a:p>
            <a:r>
              <a:rPr lang="en-US" dirty="0"/>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dirty="0"/>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9"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dirty="0"/>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7" cy="1800000"/>
          </a:xfrm>
          <a:ln w="76200">
            <a:solidFill>
              <a:schemeClr val="bg1"/>
            </a:solidFill>
          </a:ln>
        </p:spPr>
        <p:txBody>
          <a:bodyPr/>
          <a:lstStyle/>
          <a:p>
            <a:r>
              <a:rPr lang="en-US" dirty="0"/>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4" y="927511"/>
            <a:ext cx="3314375" cy="1800000"/>
          </a:xfrm>
          <a:ln w="76200">
            <a:solidFill>
              <a:schemeClr val="bg1"/>
            </a:solidFill>
          </a:ln>
        </p:spPr>
        <p:txBody>
          <a:bodyPr/>
          <a:lstStyle/>
          <a:p>
            <a:r>
              <a:rPr lang="en-US" dirty="0"/>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4" y="4527511"/>
            <a:ext cx="3314375" cy="1800000"/>
          </a:xfrm>
          <a:ln w="76200">
            <a:solidFill>
              <a:schemeClr val="bg1"/>
            </a:solidFill>
          </a:ln>
        </p:spPr>
        <p:txBody>
          <a:bodyPr/>
          <a:lstStyle/>
          <a:p>
            <a:r>
              <a:rPr lang="en-US" dirty="0"/>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69918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9"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9" y="3947945"/>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5"/>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5"/>
            <a:ext cx="3495055" cy="2229771"/>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3"/>
            <a:ext cx="1978923" cy="1978923"/>
          </a:xfrm>
          <a:prstGeom prst="ellipse">
            <a:avLst/>
          </a:prstGeom>
          <a:ln w="76200">
            <a:noFill/>
          </a:ln>
        </p:spPr>
        <p:txBody>
          <a:bodyPr/>
          <a:lstStyle/>
          <a:p>
            <a:r>
              <a:rPr lang="en-US" dirty="0"/>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3" y="1751833"/>
            <a:ext cx="1978923" cy="1978923"/>
          </a:xfrm>
          <a:prstGeom prst="ellipse">
            <a:avLst/>
          </a:prstGeom>
          <a:ln w="76200">
            <a:noFill/>
          </a:ln>
        </p:spPr>
        <p:txBody>
          <a:bodyPr/>
          <a:lstStyle/>
          <a:p>
            <a:r>
              <a:rPr lang="en-US" dirty="0"/>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2" y="1751833"/>
            <a:ext cx="1978923" cy="1978923"/>
          </a:xfrm>
          <a:prstGeom prst="ellipse">
            <a:avLst/>
          </a:prstGeom>
          <a:ln w="76200">
            <a:noFill/>
          </a:ln>
        </p:spPr>
        <p:txBody>
          <a:bodyPr/>
          <a:lstStyle/>
          <a:p>
            <a:r>
              <a:rPr lang="en-US" dirty="0"/>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48104828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9"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9" y="1592263"/>
            <a:ext cx="3121481" cy="4716463"/>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1" cy="791571"/>
          </a:xfrm>
          <a:prstGeom prst="ellipse">
            <a:avLst/>
          </a:prstGeom>
          <a:ln w="76200">
            <a:noFill/>
          </a:ln>
        </p:spPr>
        <p:txBody>
          <a:bodyPr/>
          <a:lstStyle/>
          <a:p>
            <a:r>
              <a:rPr lang="en-US" dirty="0"/>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1"/>
            <a:ext cx="791571" cy="791571"/>
          </a:xfrm>
          <a:prstGeom prst="ellipse">
            <a:avLst/>
          </a:prstGeom>
          <a:ln w="76200">
            <a:noFill/>
          </a:ln>
        </p:spPr>
        <p:txBody>
          <a:bodyPr/>
          <a:lstStyle/>
          <a:p>
            <a:r>
              <a:rPr lang="en-US" dirty="0"/>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1" cy="791571"/>
          </a:xfrm>
          <a:prstGeom prst="ellipse">
            <a:avLst/>
          </a:prstGeom>
          <a:ln w="76200">
            <a:noFill/>
          </a:ln>
        </p:spPr>
        <p:txBody>
          <a:bodyPr/>
          <a:lstStyle/>
          <a:p>
            <a:r>
              <a:rPr lang="en-US" dirty="0"/>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1" cy="791571"/>
          </a:xfrm>
          <a:prstGeom prst="ellipse">
            <a:avLst/>
          </a:prstGeom>
          <a:ln w="76200">
            <a:noFill/>
          </a:ln>
        </p:spPr>
        <p:txBody>
          <a:bodyPr/>
          <a:lstStyle/>
          <a:p>
            <a:r>
              <a:rPr lang="en-US" dirty="0"/>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1" cy="791571"/>
          </a:xfrm>
          <a:prstGeom prst="ellipse">
            <a:avLst/>
          </a:prstGeom>
          <a:ln w="76200">
            <a:noFill/>
          </a:ln>
        </p:spPr>
        <p:txBody>
          <a:bodyPr/>
          <a:lstStyle/>
          <a:p>
            <a:r>
              <a:rPr lang="en-US" dirty="0"/>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1" cy="791571"/>
          </a:xfrm>
          <a:prstGeom prst="ellipse">
            <a:avLst/>
          </a:prstGeom>
          <a:ln w="76200">
            <a:noFill/>
          </a:ln>
        </p:spPr>
        <p:txBody>
          <a:bodyPr/>
          <a:lstStyle/>
          <a:p>
            <a:r>
              <a:rPr lang="en-US" dirty="0"/>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1"/>
            <a:ext cx="791571" cy="791571"/>
          </a:xfrm>
          <a:prstGeom prst="ellipse">
            <a:avLst/>
          </a:prstGeom>
          <a:ln w="76200">
            <a:noFill/>
          </a:ln>
        </p:spPr>
        <p:txBody>
          <a:bodyPr/>
          <a:lstStyle/>
          <a:p>
            <a:r>
              <a:rPr lang="en-US" dirty="0"/>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1" cy="791571"/>
          </a:xfrm>
          <a:prstGeom prst="ellipse">
            <a:avLst/>
          </a:prstGeom>
          <a:ln w="76200">
            <a:noFill/>
          </a:ln>
        </p:spPr>
        <p:txBody>
          <a:bodyPr/>
          <a:lstStyle/>
          <a:p>
            <a:r>
              <a:rPr lang="en-US" dirty="0"/>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1" cy="791571"/>
          </a:xfrm>
          <a:prstGeom prst="ellipse">
            <a:avLst/>
          </a:prstGeom>
          <a:ln w="76200">
            <a:noFill/>
          </a:ln>
        </p:spPr>
        <p:txBody>
          <a:bodyPr/>
          <a:lstStyle/>
          <a:p>
            <a:r>
              <a:rPr lang="en-US" dirty="0"/>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1" cy="791571"/>
          </a:xfrm>
          <a:prstGeom prst="ellipse">
            <a:avLst/>
          </a:prstGeom>
          <a:ln w="76200">
            <a:noFill/>
          </a:ln>
        </p:spPr>
        <p:txBody>
          <a:bodyPr/>
          <a:lstStyle/>
          <a:p>
            <a:r>
              <a:rPr lang="en-US" dirty="0"/>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1"/>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4"/>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2"/>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1"/>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21"/>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1"/>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4"/>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2"/>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1"/>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21"/>
            <a:ext cx="2320191"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9" y="6619877"/>
            <a:ext cx="1023140" cy="163513"/>
          </a:xfrm>
          <a:prstGeom prst="rect">
            <a:avLst/>
          </a:prstGeom>
        </p:spPr>
        <p:txBody>
          <a:bodyPr/>
          <a:lstStyle/>
          <a:p>
            <a:fld id="{992CD0B2-8AB2-4C6C-8876-E15753662C9B}" type="slidenum">
              <a:rPr lang="nl-NL" noProof="0" smtClean="0"/>
              <a:pPr/>
              <a:t>‹nr.›</a:t>
            </a:fld>
            <a:endParaRPr lang="nl-NL" noProof="0"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4" y="6619875"/>
            <a:ext cx="9799639" cy="163512"/>
          </a:xfrm>
          <a:prstGeom prst="rect">
            <a:avLst/>
          </a:prstGeom>
        </p:spPr>
        <p:txBody>
          <a:bodyPr vert="horz" lIns="36000" tIns="36000" rIns="36000" bIns="36000" rtlCol="0" anchor="ctr"/>
          <a:lstStyle>
            <a:lvl1pPr>
              <a:defRPr lang="nl-NL" smtClean="0"/>
            </a:lvl1pPr>
          </a:lstStyle>
          <a:p>
            <a:r>
              <a:rPr lang="nl-NL"/>
              <a:t>Informatiebijeenkomst 26 juli 2021 Europese Aanbesteding SVWI</a:t>
            </a:r>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1"/>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0939379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9FF8D5-D5F8-9E4D-ACC6-6531B83637C6}"/>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9CB0FC60-93F6-B347-95C1-B5B24E54A09B}"/>
              </a:ext>
            </a:extLst>
          </p:cNvPr>
          <p:cNvSpPr>
            <a:spLocks noGrp="1"/>
          </p:cNvSpPr>
          <p:nvPr>
            <p:ph type="dt" sz="half" idx="10"/>
          </p:nvPr>
        </p:nvSpPr>
        <p:spPr/>
        <p:txBody>
          <a:bodyPr/>
          <a:lstStyle/>
          <a:p>
            <a:endParaRPr lang="nl-NL"/>
          </a:p>
        </p:txBody>
      </p:sp>
      <p:sp>
        <p:nvSpPr>
          <p:cNvPr id="4" name="Tijdelijke aanduiding voor voettekst 3">
            <a:extLst>
              <a:ext uri="{FF2B5EF4-FFF2-40B4-BE49-F238E27FC236}">
                <a16:creationId xmlns:a16="http://schemas.microsoft.com/office/drawing/2014/main" id="{6ADE00D3-CE92-704E-9097-9357EF9FC4C1}"/>
              </a:ext>
            </a:extLst>
          </p:cNvPr>
          <p:cNvSpPr>
            <a:spLocks noGrp="1"/>
          </p:cNvSpPr>
          <p:nvPr>
            <p:ph type="ftr" sz="quarter" idx="11"/>
          </p:nvPr>
        </p:nvSpPr>
        <p:spPr/>
        <p:txBody>
          <a:bodyPr/>
          <a:lstStyle/>
          <a:p>
            <a:r>
              <a:rPr lang="nl-NL"/>
              <a:t>Informatiebijeenkomst 26 juli 2021 Europese Aanbesteding SVWI</a:t>
            </a:r>
          </a:p>
        </p:txBody>
      </p:sp>
      <p:sp>
        <p:nvSpPr>
          <p:cNvPr id="5" name="Tijdelijke aanduiding voor dianummer 4">
            <a:extLst>
              <a:ext uri="{FF2B5EF4-FFF2-40B4-BE49-F238E27FC236}">
                <a16:creationId xmlns:a16="http://schemas.microsoft.com/office/drawing/2014/main" id="{62C0268B-4268-0B4D-9087-9B443A9770B4}"/>
              </a:ext>
            </a:extLst>
          </p:cNvPr>
          <p:cNvSpPr>
            <a:spLocks noGrp="1"/>
          </p:cNvSpPr>
          <p:nvPr>
            <p:ph type="sldNum" sz="quarter" idx="12"/>
          </p:nvPr>
        </p:nvSpPr>
        <p:spPr/>
        <p:txBody>
          <a:bodyPr/>
          <a:lstStyle/>
          <a:p>
            <a:fld id="{9F40359A-1FA2-1F41-AF38-1AB46E5EA960}" type="slidenum">
              <a:rPr lang="nl-NL" smtClean="0"/>
              <a:t>‹nr.›</a:t>
            </a:fld>
            <a:endParaRPr lang="nl-NL"/>
          </a:p>
        </p:txBody>
      </p:sp>
    </p:spTree>
    <p:extLst>
      <p:ext uri="{BB962C8B-B14F-4D97-AF65-F5344CB8AC3E}">
        <p14:creationId xmlns:p14="http://schemas.microsoft.com/office/powerpoint/2010/main" val="284706117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5" name="Titel Chapaza"/>
          <p:cNvSpPr>
            <a:spLocks noGrp="1"/>
          </p:cNvSpPr>
          <p:nvPr>
            <p:ph type="body" idx="13" hasCustomPrompt="1"/>
          </p:nvPr>
        </p:nvSpPr>
        <p:spPr>
          <a:xfrm>
            <a:off x="719668" y="1756569"/>
            <a:ext cx="11040533" cy="294302"/>
          </a:xfrm>
        </p:spPr>
        <p:txBody>
          <a:bodyPr wrap="square" anchor="b">
            <a:spAutoFit/>
          </a:bodyPr>
          <a:lstStyle>
            <a:lvl1pPr marL="0" indent="0">
              <a:buNone/>
              <a:defRPr sz="1600" b="0">
                <a:solidFill>
                  <a:schemeClr val="tx2"/>
                </a:solidFill>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GB" dirty="0"/>
              <a:t>Edit Master text styles</a:t>
            </a:r>
          </a:p>
        </p:txBody>
      </p:sp>
      <p:sp>
        <p:nvSpPr>
          <p:cNvPr id="7" name="Title 6"/>
          <p:cNvSpPr>
            <a:spLocks noGrp="1"/>
          </p:cNvSpPr>
          <p:nvPr>
            <p:ph type="title" hasCustomPrompt="1"/>
          </p:nvPr>
        </p:nvSpPr>
        <p:spPr>
          <a:xfrm>
            <a:off x="719668" y="452967"/>
            <a:ext cx="11040533" cy="479551"/>
          </a:xfrm>
        </p:spPr>
        <p:txBody>
          <a:bodyPr/>
          <a:lstStyle/>
          <a:p>
            <a:r>
              <a:rPr lang="en-GB" dirty="0"/>
              <a:t>Click to edit Master title style</a:t>
            </a:r>
          </a:p>
        </p:txBody>
      </p:sp>
    </p:spTree>
    <p:extLst>
      <p:ext uri="{BB962C8B-B14F-4D97-AF65-F5344CB8AC3E}">
        <p14:creationId xmlns:p14="http://schemas.microsoft.com/office/powerpoint/2010/main" val="421738650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cSld name="Titel en kader">
    <p:spTree>
      <p:nvGrpSpPr>
        <p:cNvPr id="1" name=""/>
        <p:cNvGrpSpPr/>
        <p:nvPr/>
      </p:nvGrpSpPr>
      <p:grpSpPr>
        <a:xfrm>
          <a:off x="0" y="0"/>
          <a:ext cx="0" cy="0"/>
          <a:chOff x="0" y="0"/>
          <a:chExt cx="0" cy="0"/>
        </a:xfrm>
      </p:grpSpPr>
      <p:sp>
        <p:nvSpPr>
          <p:cNvPr id="2" name="Titel 1"/>
          <p:cNvSpPr>
            <a:spLocks noGrp="1" noSelect="1"/>
          </p:cNvSpPr>
          <p:nvPr>
            <p:ph type="title"/>
          </p:nvPr>
        </p:nvSpPr>
        <p:spPr bwMode="gray"/>
        <p:txBody>
          <a:bodyPr/>
          <a:lstStyle/>
          <a:p>
            <a:r>
              <a:rPr lang="nl-NL" noProof="1"/>
              <a:t>Klik om de stijl te bewerken</a:t>
            </a:r>
          </a:p>
        </p:txBody>
      </p:sp>
      <p:sp>
        <p:nvSpPr>
          <p:cNvPr id="3" name="Tijdelijke aanduiding voor inhoud 2"/>
          <p:cNvSpPr>
            <a:spLocks noGrp="1" noSelect="1"/>
          </p:cNvSpPr>
          <p:nvPr>
            <p:ph idx="1"/>
          </p:nvPr>
        </p:nvSpPr>
        <p:spPr bwMode="gray"/>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4" name="Tijdelijke aanduiding voor datum 3"/>
          <p:cNvSpPr>
            <a:spLocks noGrp="1" noSelect="1"/>
          </p:cNvSpPr>
          <p:nvPr>
            <p:ph type="dt" sz="half" idx="10"/>
          </p:nvPr>
        </p:nvSpPr>
        <p:spPr bwMode="gray"/>
        <p:txBody>
          <a:bodyPr/>
          <a:lstStyle/>
          <a:p>
            <a:endParaRPr lang="nl-NL" dirty="0"/>
          </a:p>
        </p:txBody>
      </p:sp>
      <p:sp>
        <p:nvSpPr>
          <p:cNvPr id="5" name="Tijdelijke aanduiding voor voettekst 4"/>
          <p:cNvSpPr>
            <a:spLocks noGrp="1" noSelect="1"/>
          </p:cNvSpPr>
          <p:nvPr>
            <p:ph type="ftr" sz="quarter" idx="11"/>
          </p:nvPr>
        </p:nvSpPr>
        <p:spPr bwMode="gray"/>
        <p:txBody>
          <a:bodyPr/>
          <a:lstStyle/>
          <a:p>
            <a:r>
              <a:rPr lang="nl-NL"/>
              <a:t>Informatiebijeenkomst 26 juli 2021 Europese Aanbesteding SVWI</a:t>
            </a:r>
            <a:endParaRPr lang="nl-NL" dirty="0"/>
          </a:p>
        </p:txBody>
      </p:sp>
      <p:sp>
        <p:nvSpPr>
          <p:cNvPr id="6" name="Tijdelijke aanduiding voor dianummer 5"/>
          <p:cNvSpPr>
            <a:spLocks noGrp="1" noSelect="1"/>
          </p:cNvSpPr>
          <p:nvPr>
            <p:ph type="sldNum" sz="quarter" idx="12"/>
          </p:nvPr>
        </p:nvSpPr>
        <p:spPr bwMode="gray"/>
        <p:txBody>
          <a:bodyPr/>
          <a:lstStyle/>
          <a:p>
            <a:pPr algn="l"/>
            <a:r>
              <a:rPr lang="nl-NL" dirty="0"/>
              <a:t>| </a:t>
            </a:r>
            <a:fld id="{6C885DEC-5AE5-4403-A92E-278225061E43}" type="slidenum">
              <a:rPr lang="nl-NL" smtClean="0"/>
              <a:pPr algn="l"/>
              <a:t>‹nr.›</a:t>
            </a:fld>
            <a:endParaRPr lang="nl-NL" dirty="0"/>
          </a:p>
        </p:txBody>
      </p:sp>
    </p:spTree>
    <p:extLst>
      <p:ext uri="{BB962C8B-B14F-4D97-AF65-F5344CB8AC3E}">
        <p14:creationId xmlns:p14="http://schemas.microsoft.com/office/powerpoint/2010/main" val="2304135211"/>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type="title" preserve="1">
  <p:cSld name="Titeldia met ruimte voor eigen foto">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0" name="Rechthoek 29"/>
          <p:cNvSpPr>
            <a:spLocks noSelect="1"/>
          </p:cNvSpPr>
          <p:nvPr userDrawn="1"/>
        </p:nvSpPr>
        <p:spPr bwMode="white">
          <a:xfrm>
            <a:off x="0" y="0"/>
            <a:ext cx="1051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dirty="0"/>
          </a:p>
        </p:txBody>
      </p:sp>
      <p:grpSp>
        <p:nvGrpSpPr>
          <p:cNvPr id="5" name="Groep 8"/>
          <p:cNvGrpSpPr>
            <a:grpSpLocks noSelect="1"/>
          </p:cNvGrpSpPr>
          <p:nvPr userDrawn="1"/>
        </p:nvGrpSpPr>
        <p:grpSpPr bwMode="black">
          <a:xfrm>
            <a:off x="243417" y="108649"/>
            <a:ext cx="3418416" cy="1447800"/>
            <a:chOff x="182563" y="163513"/>
            <a:chExt cx="2563812" cy="1447800"/>
          </a:xfrm>
        </p:grpSpPr>
        <p:sp>
          <p:nvSpPr>
            <p:cNvPr id="10" name="Freeform 7"/>
            <p:cNvSpPr>
              <a:spLocks noSelect="1"/>
            </p:cNvSpPr>
            <p:nvPr/>
          </p:nvSpPr>
          <p:spPr bwMode="black">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1" name="Freeform 8"/>
            <p:cNvSpPr>
              <a:spLocks noSelect="1"/>
            </p:cNvSpPr>
            <p:nvPr/>
          </p:nvSpPr>
          <p:spPr bwMode="black">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2" name="Freeform 9"/>
            <p:cNvSpPr>
              <a:spLocks noSelect="1"/>
            </p:cNvSpPr>
            <p:nvPr/>
          </p:nvSpPr>
          <p:spPr bwMode="black">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3" name="Freeform 10"/>
            <p:cNvSpPr>
              <a:spLocks noSelect="1"/>
            </p:cNvSpPr>
            <p:nvPr/>
          </p:nvSpPr>
          <p:spPr bwMode="black">
            <a:xfrm>
              <a:off x="1031875" y="184151"/>
              <a:ext cx="214313" cy="241300"/>
            </a:xfrm>
            <a:custGeom>
              <a:avLst/>
              <a:gdLst/>
              <a:ahLst/>
              <a:cxnLst>
                <a:cxn ang="0">
                  <a:pos x="966" y="976"/>
                </a:cxn>
                <a:cxn ang="0">
                  <a:pos x="542" y="1077"/>
                </a:cxn>
                <a:cxn ang="0">
                  <a:pos x="0" y="543"/>
                </a:cxn>
                <a:cxn ang="0">
                  <a:pos x="542" y="0"/>
                </a:cxn>
                <a:cxn ang="0">
                  <a:pos x="946" y="129"/>
                </a:cxn>
                <a:cxn ang="0">
                  <a:pos x="811" y="265"/>
                </a:cxn>
                <a:cxn ang="0">
                  <a:pos x="543" y="165"/>
                </a:cxn>
                <a:cxn ang="0">
                  <a:pos x="191" y="531"/>
                </a:cxn>
                <a:cxn ang="0">
                  <a:pos x="543" y="912"/>
                </a:cxn>
                <a:cxn ang="0">
                  <a:pos x="784" y="859"/>
                </a:cxn>
                <a:cxn ang="0">
                  <a:pos x="784" y="617"/>
                </a:cxn>
                <a:cxn ang="0">
                  <a:pos x="574" y="617"/>
                </a:cxn>
                <a:cxn ang="0">
                  <a:pos x="574" y="452"/>
                </a:cxn>
                <a:cxn ang="0">
                  <a:pos x="966" y="452"/>
                </a:cxn>
                <a:cxn ang="0">
                  <a:pos x="966" y="976"/>
                </a:cxn>
              </a:cxnLst>
              <a:rect l="0" t="0" r="r" b="b"/>
              <a:pathLst>
                <a:path w="966" h="1077">
                  <a:moveTo>
                    <a:pt x="966" y="976"/>
                  </a:moveTo>
                  <a:cubicBezTo>
                    <a:pt x="842" y="1043"/>
                    <a:pt x="700" y="1077"/>
                    <a:pt x="542" y="1077"/>
                  </a:cubicBezTo>
                  <a:cubicBezTo>
                    <a:pt x="226" y="1077"/>
                    <a:pt x="0" y="863"/>
                    <a:pt x="0" y="543"/>
                  </a:cubicBezTo>
                  <a:cubicBezTo>
                    <a:pt x="0" y="214"/>
                    <a:pt x="226" y="0"/>
                    <a:pt x="542" y="0"/>
                  </a:cubicBezTo>
                  <a:cubicBezTo>
                    <a:pt x="698" y="0"/>
                    <a:pt x="839" y="33"/>
                    <a:pt x="946" y="129"/>
                  </a:cubicBezTo>
                  <a:cubicBezTo>
                    <a:pt x="811" y="265"/>
                    <a:pt x="811" y="265"/>
                    <a:pt x="811" y="265"/>
                  </a:cubicBezTo>
                  <a:cubicBezTo>
                    <a:pt x="746" y="201"/>
                    <a:pt x="646" y="165"/>
                    <a:pt x="543" y="165"/>
                  </a:cubicBezTo>
                  <a:cubicBezTo>
                    <a:pt x="332" y="165"/>
                    <a:pt x="191" y="327"/>
                    <a:pt x="191" y="531"/>
                  </a:cubicBezTo>
                  <a:cubicBezTo>
                    <a:pt x="191" y="750"/>
                    <a:pt x="332" y="912"/>
                    <a:pt x="543" y="912"/>
                  </a:cubicBezTo>
                  <a:cubicBezTo>
                    <a:pt x="636" y="912"/>
                    <a:pt x="720" y="895"/>
                    <a:pt x="784" y="859"/>
                  </a:cubicBezTo>
                  <a:cubicBezTo>
                    <a:pt x="784" y="617"/>
                    <a:pt x="784" y="617"/>
                    <a:pt x="784" y="617"/>
                  </a:cubicBezTo>
                  <a:cubicBezTo>
                    <a:pt x="574" y="617"/>
                    <a:pt x="574" y="617"/>
                    <a:pt x="574" y="617"/>
                  </a:cubicBezTo>
                  <a:cubicBezTo>
                    <a:pt x="574" y="452"/>
                    <a:pt x="574" y="452"/>
                    <a:pt x="574" y="452"/>
                  </a:cubicBezTo>
                  <a:cubicBezTo>
                    <a:pt x="966" y="452"/>
                    <a:pt x="966" y="452"/>
                    <a:pt x="966" y="452"/>
                  </a:cubicBezTo>
                  <a:lnTo>
                    <a:pt x="966" y="9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4" name="Freeform 11"/>
            <p:cNvSpPr>
              <a:spLocks noSelect="1"/>
            </p:cNvSpPr>
            <p:nvPr/>
          </p:nvSpPr>
          <p:spPr bwMode="black">
            <a:xfrm>
              <a:off x="1284288" y="260351"/>
              <a:ext cx="157163" cy="163513"/>
            </a:xfrm>
            <a:custGeom>
              <a:avLst/>
              <a:gdLst/>
              <a:ahLst/>
              <a:cxnLst>
                <a:cxn ang="0">
                  <a:pos x="174" y="426"/>
                </a:cxn>
                <a:cxn ang="0">
                  <a:pos x="361"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1"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5" name="Freeform 12"/>
            <p:cNvSpPr>
              <a:spLocks noSelect="1"/>
            </p:cNvSpPr>
            <p:nvPr/>
          </p:nvSpPr>
          <p:spPr bwMode="black">
            <a:xfrm>
              <a:off x="1476375" y="260351"/>
              <a:ext cx="239713" cy="158750"/>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2"/>
                </a:cxn>
                <a:cxn ang="0">
                  <a:pos x="904" y="712"/>
                </a:cxn>
                <a:cxn ang="0">
                  <a:pos x="904" y="318"/>
                </a:cxn>
                <a:cxn ang="0">
                  <a:pos x="775" y="156"/>
                </a:cxn>
                <a:cxn ang="0">
                  <a:pos x="626" y="336"/>
                </a:cxn>
                <a:cxn ang="0">
                  <a:pos x="626" y="712"/>
                </a:cxn>
                <a:cxn ang="0">
                  <a:pos x="452" y="712"/>
                </a:cxn>
                <a:cxn ang="0">
                  <a:pos x="452" y="298"/>
                </a:cxn>
                <a:cxn ang="0">
                  <a:pos x="333" y="156"/>
                </a:cxn>
                <a:cxn ang="0">
                  <a:pos x="174" y="333"/>
                </a:cxn>
                <a:cxn ang="0">
                  <a:pos x="174" y="712"/>
                </a:cxn>
                <a:cxn ang="0">
                  <a:pos x="0" y="712"/>
                </a:cxn>
                <a:cxn ang="0">
                  <a:pos x="0" y="17"/>
                </a:cxn>
              </a:cxnLst>
              <a:rect l="0" t="0" r="r" b="b"/>
              <a:pathLst>
                <a:path w="1078" h="712">
                  <a:moveTo>
                    <a:pt x="0" y="17"/>
                  </a:moveTo>
                  <a:cubicBezTo>
                    <a:pt x="165" y="17"/>
                    <a:pt x="165" y="17"/>
                    <a:pt x="165" y="17"/>
                  </a:cubicBezTo>
                  <a:cubicBezTo>
                    <a:pt x="165" y="126"/>
                    <a:pt x="165" y="126"/>
                    <a:pt x="165" y="126"/>
                  </a:cubicBezTo>
                  <a:cubicBezTo>
                    <a:pt x="168" y="126"/>
                    <a:pt x="168" y="126"/>
                    <a:pt x="168" y="126"/>
                  </a:cubicBezTo>
                  <a:cubicBezTo>
                    <a:pt x="198" y="61"/>
                    <a:pt x="265" y="0"/>
                    <a:pt x="381" y="0"/>
                  </a:cubicBezTo>
                  <a:cubicBezTo>
                    <a:pt x="488" y="0"/>
                    <a:pt x="562" y="42"/>
                    <a:pt x="598" y="129"/>
                  </a:cubicBezTo>
                  <a:cubicBezTo>
                    <a:pt x="649" y="40"/>
                    <a:pt x="723" y="0"/>
                    <a:pt x="827" y="0"/>
                  </a:cubicBezTo>
                  <a:cubicBezTo>
                    <a:pt x="1013" y="0"/>
                    <a:pt x="1078" y="132"/>
                    <a:pt x="1078" y="298"/>
                  </a:cubicBezTo>
                  <a:cubicBezTo>
                    <a:pt x="1078" y="712"/>
                    <a:pt x="1078" y="712"/>
                    <a:pt x="1078" y="712"/>
                  </a:cubicBezTo>
                  <a:cubicBezTo>
                    <a:pt x="904" y="712"/>
                    <a:pt x="904" y="712"/>
                    <a:pt x="904" y="712"/>
                  </a:cubicBezTo>
                  <a:cubicBezTo>
                    <a:pt x="904" y="318"/>
                    <a:pt x="904" y="318"/>
                    <a:pt x="904" y="318"/>
                  </a:cubicBezTo>
                  <a:cubicBezTo>
                    <a:pt x="904" y="231"/>
                    <a:pt x="878" y="156"/>
                    <a:pt x="775" y="156"/>
                  </a:cubicBezTo>
                  <a:cubicBezTo>
                    <a:pt x="666" y="156"/>
                    <a:pt x="626" y="246"/>
                    <a:pt x="626" y="336"/>
                  </a:cubicBezTo>
                  <a:cubicBezTo>
                    <a:pt x="626" y="712"/>
                    <a:pt x="626" y="712"/>
                    <a:pt x="626" y="712"/>
                  </a:cubicBezTo>
                  <a:cubicBezTo>
                    <a:pt x="452" y="712"/>
                    <a:pt x="452" y="712"/>
                    <a:pt x="452" y="712"/>
                  </a:cubicBezTo>
                  <a:cubicBezTo>
                    <a:pt x="452" y="298"/>
                    <a:pt x="452" y="298"/>
                    <a:pt x="452" y="298"/>
                  </a:cubicBezTo>
                  <a:cubicBezTo>
                    <a:pt x="452" y="213"/>
                    <a:pt x="417"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6" name="Freeform 13"/>
            <p:cNvSpPr>
              <a:spLocks noSelect="1"/>
            </p:cNvSpPr>
            <p:nvPr/>
          </p:nvSpPr>
          <p:spPr bwMode="black">
            <a:xfrm>
              <a:off x="1751013" y="260351"/>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5" y="528"/>
                    <a:pt x="264" y="591"/>
                    <a:pt x="361" y="591"/>
                  </a:cubicBezTo>
                  <a:cubicBezTo>
                    <a:pt x="448" y="591"/>
                    <a:pt x="504" y="550"/>
                    <a:pt x="548"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7" name="Freeform 14"/>
            <p:cNvSpPr>
              <a:spLocks noSelect="1"/>
            </p:cNvSpPr>
            <p:nvPr/>
          </p:nvSpPr>
          <p:spPr bwMode="black">
            <a:xfrm>
              <a:off x="1936750" y="260351"/>
              <a:ext cx="157163" cy="163513"/>
            </a:xfrm>
            <a:custGeom>
              <a:avLst/>
              <a:gdLst/>
              <a:ahLst/>
              <a:cxnLst>
                <a:cxn ang="0">
                  <a:pos x="174" y="426"/>
                </a:cxn>
                <a:cxn ang="0">
                  <a:pos x="360"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8"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8" name="Freeform 15"/>
            <p:cNvSpPr>
              <a:spLocks noSelect="1"/>
            </p:cNvSpPr>
            <p:nvPr/>
          </p:nvSpPr>
          <p:spPr bwMode="black">
            <a:xfrm>
              <a:off x="2128838" y="260351"/>
              <a:ext cx="142875" cy="158750"/>
            </a:xfrm>
            <a:custGeom>
              <a:avLst/>
              <a:gdLst/>
              <a:ahLst/>
              <a:cxnLst>
                <a:cxn ang="0">
                  <a:pos x="0" y="17"/>
                </a:cxn>
                <a:cxn ang="0">
                  <a:pos x="165" y="17"/>
                </a:cxn>
                <a:cxn ang="0">
                  <a:pos x="165" y="129"/>
                </a:cxn>
                <a:cxn ang="0">
                  <a:pos x="168" y="129"/>
                </a:cxn>
                <a:cxn ang="0">
                  <a:pos x="381" y="0"/>
                </a:cxn>
                <a:cxn ang="0">
                  <a:pos x="635" y="273"/>
                </a:cxn>
                <a:cxn ang="0">
                  <a:pos x="635" y="712"/>
                </a:cxn>
                <a:cxn ang="0">
                  <a:pos x="461" y="712"/>
                </a:cxn>
                <a:cxn ang="0">
                  <a:pos x="461" y="360"/>
                </a:cxn>
                <a:cxn ang="0">
                  <a:pos x="333" y="156"/>
                </a:cxn>
                <a:cxn ang="0">
                  <a:pos x="174" y="333"/>
                </a:cxn>
                <a:cxn ang="0">
                  <a:pos x="174" y="712"/>
                </a:cxn>
                <a:cxn ang="0">
                  <a:pos x="0" y="712"/>
                </a:cxn>
                <a:cxn ang="0">
                  <a:pos x="0" y="17"/>
                </a:cxn>
              </a:cxnLst>
              <a:rect l="0" t="0" r="r" b="b"/>
              <a:pathLst>
                <a:path w="635" h="712">
                  <a:moveTo>
                    <a:pt x="0" y="17"/>
                  </a:moveTo>
                  <a:cubicBezTo>
                    <a:pt x="165" y="17"/>
                    <a:pt x="165" y="17"/>
                    <a:pt x="165" y="17"/>
                  </a:cubicBezTo>
                  <a:cubicBezTo>
                    <a:pt x="165" y="129"/>
                    <a:pt x="165" y="129"/>
                    <a:pt x="165" y="129"/>
                  </a:cubicBezTo>
                  <a:cubicBezTo>
                    <a:pt x="168" y="129"/>
                    <a:pt x="168" y="129"/>
                    <a:pt x="168" y="129"/>
                  </a:cubicBezTo>
                  <a:cubicBezTo>
                    <a:pt x="200" y="59"/>
                    <a:pt x="265" y="0"/>
                    <a:pt x="381" y="0"/>
                  </a:cubicBezTo>
                  <a:cubicBezTo>
                    <a:pt x="568" y="0"/>
                    <a:pt x="635" y="132"/>
                    <a:pt x="635" y="273"/>
                  </a:cubicBezTo>
                  <a:cubicBezTo>
                    <a:pt x="635" y="712"/>
                    <a:pt x="635" y="712"/>
                    <a:pt x="635" y="712"/>
                  </a:cubicBezTo>
                  <a:cubicBezTo>
                    <a:pt x="461" y="712"/>
                    <a:pt x="461" y="712"/>
                    <a:pt x="461" y="712"/>
                  </a:cubicBezTo>
                  <a:cubicBezTo>
                    <a:pt x="461" y="360"/>
                    <a:pt x="461" y="360"/>
                    <a:pt x="461" y="360"/>
                  </a:cubicBezTo>
                  <a:cubicBezTo>
                    <a:pt x="461" y="284"/>
                    <a:pt x="455"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9" name="Freeform 16"/>
            <p:cNvSpPr>
              <a:spLocks noSelect="1"/>
            </p:cNvSpPr>
            <p:nvPr/>
          </p:nvSpPr>
          <p:spPr bwMode="black">
            <a:xfrm>
              <a:off x="2297113" y="219076"/>
              <a:ext cx="112713" cy="204788"/>
            </a:xfrm>
            <a:custGeom>
              <a:avLst/>
              <a:gdLst/>
              <a:ahLst/>
              <a:cxnLst>
                <a:cxn ang="0">
                  <a:pos x="0" y="349"/>
                </a:cxn>
                <a:cxn ang="0">
                  <a:pos x="0" y="201"/>
                </a:cxn>
                <a:cxn ang="0">
                  <a:pos x="143" y="201"/>
                </a:cxn>
                <a:cxn ang="0">
                  <a:pos x="143" y="0"/>
                </a:cxn>
                <a:cxn ang="0">
                  <a:pos x="317" y="0"/>
                </a:cxn>
                <a:cxn ang="0">
                  <a:pos x="317" y="201"/>
                </a:cxn>
                <a:cxn ang="0">
                  <a:pos x="508" y="201"/>
                </a:cxn>
                <a:cxn ang="0">
                  <a:pos x="508" y="349"/>
                </a:cxn>
                <a:cxn ang="0">
                  <a:pos x="317" y="349"/>
                </a:cxn>
                <a:cxn ang="0">
                  <a:pos x="317" y="653"/>
                </a:cxn>
                <a:cxn ang="0">
                  <a:pos x="414" y="766"/>
                </a:cxn>
                <a:cxn ang="0">
                  <a:pos x="508" y="744"/>
                </a:cxn>
                <a:cxn ang="0">
                  <a:pos x="508" y="891"/>
                </a:cxn>
                <a:cxn ang="0">
                  <a:pos x="371" y="914"/>
                </a:cxn>
                <a:cxn ang="0">
                  <a:pos x="143" y="668"/>
                </a:cxn>
                <a:cxn ang="0">
                  <a:pos x="143" y="349"/>
                </a:cxn>
                <a:cxn ang="0">
                  <a:pos x="0" y="349"/>
                </a:cxn>
              </a:cxnLst>
              <a:rect l="0" t="0" r="r" b="b"/>
              <a:pathLst>
                <a:path w="508"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8" y="201"/>
                    <a:pt x="508" y="201"/>
                    <a:pt x="508" y="201"/>
                  </a:cubicBezTo>
                  <a:cubicBezTo>
                    <a:pt x="508" y="349"/>
                    <a:pt x="508" y="349"/>
                    <a:pt x="508" y="349"/>
                  </a:cubicBezTo>
                  <a:cubicBezTo>
                    <a:pt x="317" y="349"/>
                    <a:pt x="317" y="349"/>
                    <a:pt x="317" y="349"/>
                  </a:cubicBezTo>
                  <a:cubicBezTo>
                    <a:pt x="317" y="653"/>
                    <a:pt x="317" y="653"/>
                    <a:pt x="317" y="653"/>
                  </a:cubicBezTo>
                  <a:cubicBezTo>
                    <a:pt x="317" y="723"/>
                    <a:pt x="337" y="766"/>
                    <a:pt x="414" y="766"/>
                  </a:cubicBezTo>
                  <a:cubicBezTo>
                    <a:pt x="444" y="766"/>
                    <a:pt x="486" y="760"/>
                    <a:pt x="508" y="744"/>
                  </a:cubicBezTo>
                  <a:cubicBezTo>
                    <a:pt x="508" y="891"/>
                    <a:pt x="508" y="891"/>
                    <a:pt x="508" y="891"/>
                  </a:cubicBezTo>
                  <a:cubicBezTo>
                    <a:pt x="472" y="908"/>
                    <a:pt x="411" y="914"/>
                    <a:pt x="371" y="914"/>
                  </a:cubicBezTo>
                  <a:cubicBezTo>
                    <a:pt x="186"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0" name="Freeform 17"/>
            <p:cNvSpPr>
              <a:spLocks noSelect="1"/>
            </p:cNvSpPr>
            <p:nvPr/>
          </p:nvSpPr>
          <p:spPr bwMode="black">
            <a:xfrm>
              <a:off x="2433638" y="260351"/>
              <a:ext cx="157163" cy="163513"/>
            </a:xfrm>
            <a:custGeom>
              <a:avLst/>
              <a:gdLst/>
              <a:ahLst/>
              <a:cxnLst>
                <a:cxn ang="0">
                  <a:pos x="173" y="426"/>
                </a:cxn>
                <a:cxn ang="0">
                  <a:pos x="360" y="591"/>
                </a:cxn>
                <a:cxn ang="0">
                  <a:pos x="547" y="497"/>
                </a:cxn>
                <a:cxn ang="0">
                  <a:pos x="672" y="591"/>
                </a:cxn>
                <a:cxn ang="0">
                  <a:pos x="378" y="730"/>
                </a:cxn>
                <a:cxn ang="0">
                  <a:pos x="0" y="365"/>
                </a:cxn>
                <a:cxn ang="0">
                  <a:pos x="378" y="0"/>
                </a:cxn>
                <a:cxn ang="0">
                  <a:pos x="704" y="378"/>
                </a:cxn>
                <a:cxn ang="0">
                  <a:pos x="704" y="426"/>
                </a:cxn>
                <a:cxn ang="0">
                  <a:pos x="173" y="426"/>
                </a:cxn>
                <a:cxn ang="0">
                  <a:pos x="530" y="295"/>
                </a:cxn>
                <a:cxn ang="0">
                  <a:pos x="353" y="130"/>
                </a:cxn>
                <a:cxn ang="0">
                  <a:pos x="173" y="295"/>
                </a:cxn>
                <a:cxn ang="0">
                  <a:pos x="530" y="295"/>
                </a:cxn>
              </a:cxnLst>
              <a:rect l="0" t="0" r="r" b="b"/>
              <a:pathLst>
                <a:path w="704" h="730">
                  <a:moveTo>
                    <a:pt x="173"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3" y="426"/>
                  </a:lnTo>
                  <a:close/>
                  <a:moveTo>
                    <a:pt x="530" y="295"/>
                  </a:moveTo>
                  <a:cubicBezTo>
                    <a:pt x="528" y="194"/>
                    <a:pt x="462" y="130"/>
                    <a:pt x="353" y="130"/>
                  </a:cubicBezTo>
                  <a:cubicBezTo>
                    <a:pt x="250" y="130"/>
                    <a:pt x="186" y="195"/>
                    <a:pt x="173"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1" name="Freeform 18"/>
            <p:cNvSpPr>
              <a:spLocks noSelect="1"/>
            </p:cNvSpPr>
            <p:nvPr/>
          </p:nvSpPr>
          <p:spPr bwMode="black">
            <a:xfrm>
              <a:off x="1017588" y="530226"/>
              <a:ext cx="233363" cy="230188"/>
            </a:xfrm>
            <a:custGeom>
              <a:avLst/>
              <a:gdLst/>
              <a:ahLst/>
              <a:cxnLst>
                <a:cxn ang="0">
                  <a:pos x="63" y="0"/>
                </a:cxn>
                <a:cxn ang="0">
                  <a:pos x="85" y="0"/>
                </a:cxn>
                <a:cxn ang="0">
                  <a:pos x="147" y="145"/>
                </a:cxn>
                <a:cxn ang="0">
                  <a:pos x="118" y="145"/>
                </a:cxn>
                <a:cxn ang="0">
                  <a:pos x="105" y="112"/>
                </a:cxn>
                <a:cxn ang="0">
                  <a:pos x="42" y="112"/>
                </a:cxn>
                <a:cxn ang="0">
                  <a:pos x="29" y="145"/>
                </a:cxn>
                <a:cxn ang="0">
                  <a:pos x="0" y="145"/>
                </a:cxn>
                <a:cxn ang="0">
                  <a:pos x="63" y="0"/>
                </a:cxn>
                <a:cxn ang="0">
                  <a:pos x="96" y="90"/>
                </a:cxn>
                <a:cxn ang="0">
                  <a:pos x="74" y="31"/>
                </a:cxn>
                <a:cxn ang="0">
                  <a:pos x="51" y="90"/>
                </a:cxn>
                <a:cxn ang="0">
                  <a:pos x="96" y="90"/>
                </a:cxn>
              </a:cxnLst>
              <a:rect l="0" t="0" r="r" b="b"/>
              <a:pathLst>
                <a:path w="147" h="145">
                  <a:moveTo>
                    <a:pt x="63" y="0"/>
                  </a:moveTo>
                  <a:lnTo>
                    <a:pt x="85" y="0"/>
                  </a:lnTo>
                  <a:lnTo>
                    <a:pt x="147" y="145"/>
                  </a:lnTo>
                  <a:lnTo>
                    <a:pt x="118" y="145"/>
                  </a:lnTo>
                  <a:lnTo>
                    <a:pt x="105" y="112"/>
                  </a:lnTo>
                  <a:lnTo>
                    <a:pt x="42" y="112"/>
                  </a:lnTo>
                  <a:lnTo>
                    <a:pt x="29" y="145"/>
                  </a:lnTo>
                  <a:lnTo>
                    <a:pt x="0" y="145"/>
                  </a:lnTo>
                  <a:lnTo>
                    <a:pt x="63" y="0"/>
                  </a:lnTo>
                  <a:close/>
                  <a:moveTo>
                    <a:pt x="96" y="90"/>
                  </a:moveTo>
                  <a:lnTo>
                    <a:pt x="74" y="31"/>
                  </a:lnTo>
                  <a:lnTo>
                    <a:pt x="51" y="90"/>
                  </a:lnTo>
                  <a:lnTo>
                    <a:pt x="96" y="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2" name="Freeform 19"/>
            <p:cNvSpPr>
              <a:spLocks noSelect="1"/>
            </p:cNvSpPr>
            <p:nvPr/>
          </p:nvSpPr>
          <p:spPr bwMode="black">
            <a:xfrm>
              <a:off x="1271588" y="600076"/>
              <a:ext cx="241300" cy="160338"/>
            </a:xfrm>
            <a:custGeom>
              <a:avLst/>
              <a:gdLst/>
              <a:ahLst/>
              <a:cxnLst>
                <a:cxn ang="0">
                  <a:pos x="0" y="17"/>
                </a:cxn>
                <a:cxn ang="0">
                  <a:pos x="165" y="17"/>
                </a:cxn>
                <a:cxn ang="0">
                  <a:pos x="165" y="126"/>
                </a:cxn>
                <a:cxn ang="0">
                  <a:pos x="168" y="126"/>
                </a:cxn>
                <a:cxn ang="0">
                  <a:pos x="381" y="0"/>
                </a:cxn>
                <a:cxn ang="0">
                  <a:pos x="599"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9"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7"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3" name="Freeform 20"/>
            <p:cNvSpPr>
              <a:spLocks noSelect="1"/>
            </p:cNvSpPr>
            <p:nvPr/>
          </p:nvSpPr>
          <p:spPr bwMode="black">
            <a:xfrm>
              <a:off x="1541463" y="600076"/>
              <a:ext cx="127000" cy="163513"/>
            </a:xfrm>
            <a:custGeom>
              <a:avLst/>
              <a:gdLst/>
              <a:ahLst/>
              <a:cxnLst>
                <a:cxn ang="0">
                  <a:pos x="433" y="210"/>
                </a:cxn>
                <a:cxn ang="0">
                  <a:pos x="297" y="139"/>
                </a:cxn>
                <a:cxn ang="0">
                  <a:pos x="195" y="213"/>
                </a:cxn>
                <a:cxn ang="0">
                  <a:pos x="570" y="507"/>
                </a:cxn>
                <a:cxn ang="0">
                  <a:pos x="271" y="730"/>
                </a:cxn>
                <a:cxn ang="0">
                  <a:pos x="0" y="623"/>
                </a:cxn>
                <a:cxn ang="0">
                  <a:pos x="116" y="514"/>
                </a:cxn>
                <a:cxn ang="0">
                  <a:pos x="281" y="600"/>
                </a:cxn>
                <a:cxn ang="0">
                  <a:pos x="397" y="520"/>
                </a:cxn>
                <a:cxn ang="0">
                  <a:pos x="21" y="224"/>
                </a:cxn>
                <a:cxn ang="0">
                  <a:pos x="301" y="0"/>
                </a:cxn>
                <a:cxn ang="0">
                  <a:pos x="549" y="106"/>
                </a:cxn>
                <a:cxn ang="0">
                  <a:pos x="433" y="210"/>
                </a:cxn>
              </a:cxnLst>
              <a:rect l="0" t="0" r="r" b="b"/>
              <a:pathLst>
                <a:path w="570" h="730">
                  <a:moveTo>
                    <a:pt x="433" y="210"/>
                  </a:moveTo>
                  <a:cubicBezTo>
                    <a:pt x="399" y="164"/>
                    <a:pt x="356" y="139"/>
                    <a:pt x="297" y="139"/>
                  </a:cubicBezTo>
                  <a:cubicBezTo>
                    <a:pt x="250" y="139"/>
                    <a:pt x="195" y="161"/>
                    <a:pt x="195" y="213"/>
                  </a:cubicBezTo>
                  <a:cubicBezTo>
                    <a:pt x="195" y="337"/>
                    <a:pt x="570" y="236"/>
                    <a:pt x="570" y="507"/>
                  </a:cubicBezTo>
                  <a:cubicBezTo>
                    <a:pt x="570" y="672"/>
                    <a:pt x="413" y="730"/>
                    <a:pt x="271" y="730"/>
                  </a:cubicBezTo>
                  <a:cubicBezTo>
                    <a:pt x="163" y="730"/>
                    <a:pt x="71" y="702"/>
                    <a:pt x="0" y="623"/>
                  </a:cubicBezTo>
                  <a:cubicBezTo>
                    <a:pt x="116" y="514"/>
                    <a:pt x="116" y="514"/>
                    <a:pt x="116" y="514"/>
                  </a:cubicBezTo>
                  <a:cubicBezTo>
                    <a:pt x="161" y="563"/>
                    <a:pt x="207" y="600"/>
                    <a:pt x="281" y="600"/>
                  </a:cubicBezTo>
                  <a:cubicBezTo>
                    <a:pt x="331" y="600"/>
                    <a:pt x="397" y="575"/>
                    <a:pt x="397" y="520"/>
                  </a:cubicBezTo>
                  <a:cubicBezTo>
                    <a:pt x="397" y="376"/>
                    <a:pt x="21" y="489"/>
                    <a:pt x="21" y="224"/>
                  </a:cubicBezTo>
                  <a:cubicBezTo>
                    <a:pt x="21" y="69"/>
                    <a:pt x="161" y="0"/>
                    <a:pt x="301" y="0"/>
                  </a:cubicBezTo>
                  <a:cubicBezTo>
                    <a:pt x="394" y="0"/>
                    <a:pt x="492" y="29"/>
                    <a:pt x="549" y="106"/>
                  </a:cubicBezTo>
                  <a:lnTo>
                    <a:pt x="433" y="2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4" name="Freeform 21"/>
            <p:cNvSpPr>
              <a:spLocks noSelect="1"/>
            </p:cNvSpPr>
            <p:nvPr/>
          </p:nvSpPr>
          <p:spPr bwMode="black">
            <a:xfrm>
              <a:off x="1679575" y="560388"/>
              <a:ext cx="114300" cy="203200"/>
            </a:xfrm>
            <a:custGeom>
              <a:avLst/>
              <a:gdLst/>
              <a:ahLst/>
              <a:cxnLst>
                <a:cxn ang="0">
                  <a:pos x="0" y="349"/>
                </a:cxn>
                <a:cxn ang="0">
                  <a:pos x="0" y="201"/>
                </a:cxn>
                <a:cxn ang="0">
                  <a:pos x="143" y="201"/>
                </a:cxn>
                <a:cxn ang="0">
                  <a:pos x="143" y="0"/>
                </a:cxn>
                <a:cxn ang="0">
                  <a:pos x="317" y="0"/>
                </a:cxn>
                <a:cxn ang="0">
                  <a:pos x="317" y="201"/>
                </a:cxn>
                <a:cxn ang="0">
                  <a:pos x="509" y="201"/>
                </a:cxn>
                <a:cxn ang="0">
                  <a:pos x="509" y="349"/>
                </a:cxn>
                <a:cxn ang="0">
                  <a:pos x="317" y="349"/>
                </a:cxn>
                <a:cxn ang="0">
                  <a:pos x="317" y="653"/>
                </a:cxn>
                <a:cxn ang="0">
                  <a:pos x="414" y="766"/>
                </a:cxn>
                <a:cxn ang="0">
                  <a:pos x="509" y="744"/>
                </a:cxn>
                <a:cxn ang="0">
                  <a:pos x="509" y="891"/>
                </a:cxn>
                <a:cxn ang="0">
                  <a:pos x="371" y="914"/>
                </a:cxn>
                <a:cxn ang="0">
                  <a:pos x="143" y="668"/>
                </a:cxn>
                <a:cxn ang="0">
                  <a:pos x="143" y="349"/>
                </a:cxn>
                <a:cxn ang="0">
                  <a:pos x="0" y="349"/>
                </a:cxn>
              </a:cxnLst>
              <a:rect l="0" t="0" r="r" b="b"/>
              <a:pathLst>
                <a:path w="509"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9" y="201"/>
                    <a:pt x="509" y="201"/>
                    <a:pt x="509" y="201"/>
                  </a:cubicBezTo>
                  <a:cubicBezTo>
                    <a:pt x="509" y="349"/>
                    <a:pt x="509" y="349"/>
                    <a:pt x="509" y="349"/>
                  </a:cubicBezTo>
                  <a:cubicBezTo>
                    <a:pt x="317" y="349"/>
                    <a:pt x="317" y="349"/>
                    <a:pt x="317" y="349"/>
                  </a:cubicBezTo>
                  <a:cubicBezTo>
                    <a:pt x="317" y="653"/>
                    <a:pt x="317" y="653"/>
                    <a:pt x="317" y="653"/>
                  </a:cubicBezTo>
                  <a:cubicBezTo>
                    <a:pt x="317" y="723"/>
                    <a:pt x="338" y="766"/>
                    <a:pt x="414" y="766"/>
                  </a:cubicBezTo>
                  <a:cubicBezTo>
                    <a:pt x="445" y="766"/>
                    <a:pt x="487" y="760"/>
                    <a:pt x="509" y="744"/>
                  </a:cubicBezTo>
                  <a:cubicBezTo>
                    <a:pt x="509" y="891"/>
                    <a:pt x="509" y="891"/>
                    <a:pt x="509" y="891"/>
                  </a:cubicBezTo>
                  <a:cubicBezTo>
                    <a:pt x="472" y="908"/>
                    <a:pt x="412" y="914"/>
                    <a:pt x="371" y="914"/>
                  </a:cubicBezTo>
                  <a:cubicBezTo>
                    <a:pt x="187"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5" name="Freeform 22"/>
            <p:cNvSpPr>
              <a:spLocks noSelect="1"/>
            </p:cNvSpPr>
            <p:nvPr/>
          </p:nvSpPr>
          <p:spPr bwMode="black">
            <a:xfrm>
              <a:off x="1816100" y="600076"/>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6" y="529"/>
                    <a:pt x="264" y="591"/>
                    <a:pt x="361" y="591"/>
                  </a:cubicBezTo>
                  <a:cubicBezTo>
                    <a:pt x="448" y="591"/>
                    <a:pt x="504" y="550"/>
                    <a:pt x="548" y="497"/>
                  </a:cubicBezTo>
                  <a:cubicBezTo>
                    <a:pt x="672" y="591"/>
                    <a:pt x="672" y="591"/>
                    <a:pt x="672" y="591"/>
                  </a:cubicBezTo>
                  <a:cubicBezTo>
                    <a:pt x="591" y="691"/>
                    <a:pt x="488" y="730"/>
                    <a:pt x="378" y="730"/>
                  </a:cubicBezTo>
                  <a:cubicBezTo>
                    <a:pt x="168" y="730"/>
                    <a:pt x="0" y="584"/>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6" name="Freeform 23"/>
            <p:cNvSpPr>
              <a:spLocks noSelect="1"/>
            </p:cNvSpPr>
            <p:nvPr/>
          </p:nvSpPr>
          <p:spPr bwMode="black">
            <a:xfrm>
              <a:off x="2009775" y="600076"/>
              <a:ext cx="98425" cy="160338"/>
            </a:xfrm>
            <a:custGeom>
              <a:avLst/>
              <a:gdLst/>
              <a:ahLst/>
              <a:cxnLst>
                <a:cxn ang="0">
                  <a:pos x="0" y="17"/>
                </a:cxn>
                <a:cxn ang="0">
                  <a:pos x="174" y="17"/>
                </a:cxn>
                <a:cxn ang="0">
                  <a:pos x="174" y="127"/>
                </a:cxn>
                <a:cxn ang="0">
                  <a:pos x="177" y="127"/>
                </a:cxn>
                <a:cxn ang="0">
                  <a:pos x="383" y="0"/>
                </a:cxn>
                <a:cxn ang="0">
                  <a:pos x="445" y="10"/>
                </a:cxn>
                <a:cxn ang="0">
                  <a:pos x="445" y="178"/>
                </a:cxn>
                <a:cxn ang="0">
                  <a:pos x="361" y="165"/>
                </a:cxn>
                <a:cxn ang="0">
                  <a:pos x="174" y="340"/>
                </a:cxn>
                <a:cxn ang="0">
                  <a:pos x="174" y="713"/>
                </a:cxn>
                <a:cxn ang="0">
                  <a:pos x="0" y="713"/>
                </a:cxn>
                <a:cxn ang="0">
                  <a:pos x="0" y="17"/>
                </a:cxn>
              </a:cxnLst>
              <a:rect l="0" t="0" r="r" b="b"/>
              <a:pathLst>
                <a:path w="445" h="713">
                  <a:moveTo>
                    <a:pt x="0" y="17"/>
                  </a:moveTo>
                  <a:cubicBezTo>
                    <a:pt x="174" y="17"/>
                    <a:pt x="174" y="17"/>
                    <a:pt x="174" y="17"/>
                  </a:cubicBezTo>
                  <a:cubicBezTo>
                    <a:pt x="174" y="127"/>
                    <a:pt x="174" y="127"/>
                    <a:pt x="174" y="127"/>
                  </a:cubicBezTo>
                  <a:cubicBezTo>
                    <a:pt x="177" y="127"/>
                    <a:pt x="177" y="127"/>
                    <a:pt x="177" y="127"/>
                  </a:cubicBezTo>
                  <a:cubicBezTo>
                    <a:pt x="215" y="48"/>
                    <a:pt x="292" y="0"/>
                    <a:pt x="383" y="0"/>
                  </a:cubicBezTo>
                  <a:cubicBezTo>
                    <a:pt x="405" y="0"/>
                    <a:pt x="425" y="4"/>
                    <a:pt x="445" y="10"/>
                  </a:cubicBezTo>
                  <a:cubicBezTo>
                    <a:pt x="445" y="178"/>
                    <a:pt x="445" y="178"/>
                    <a:pt x="445" y="178"/>
                  </a:cubicBezTo>
                  <a:cubicBezTo>
                    <a:pt x="416" y="171"/>
                    <a:pt x="389" y="165"/>
                    <a:pt x="361" y="165"/>
                  </a:cubicBezTo>
                  <a:cubicBezTo>
                    <a:pt x="198" y="165"/>
                    <a:pt x="174" y="303"/>
                    <a:pt x="174" y="340"/>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7" name="Freeform 24"/>
            <p:cNvSpPr>
              <a:spLocks noSelect="1"/>
            </p:cNvSpPr>
            <p:nvPr/>
          </p:nvSpPr>
          <p:spPr bwMode="black">
            <a:xfrm>
              <a:off x="2122488" y="515938"/>
              <a:ext cx="166688" cy="247650"/>
            </a:xfrm>
            <a:custGeom>
              <a:avLst/>
              <a:gdLst/>
              <a:ahLst/>
              <a:cxnLst>
                <a:cxn ang="0">
                  <a:pos x="585" y="991"/>
                </a:cxn>
                <a:cxn ang="0">
                  <a:pos x="582" y="991"/>
                </a:cxn>
                <a:cxn ang="0">
                  <a:pos x="343" y="1113"/>
                </a:cxn>
                <a:cxn ang="0">
                  <a:pos x="0" y="748"/>
                </a:cxn>
                <a:cxn ang="0">
                  <a:pos x="336" y="383"/>
                </a:cxn>
                <a:cxn ang="0">
                  <a:pos x="572" y="489"/>
                </a:cxn>
                <a:cxn ang="0">
                  <a:pos x="576" y="489"/>
                </a:cxn>
                <a:cxn ang="0">
                  <a:pos x="576" y="0"/>
                </a:cxn>
                <a:cxn ang="0">
                  <a:pos x="750" y="0"/>
                </a:cxn>
                <a:cxn ang="0">
                  <a:pos x="750" y="1096"/>
                </a:cxn>
                <a:cxn ang="0">
                  <a:pos x="585" y="1096"/>
                </a:cxn>
                <a:cxn ang="0">
                  <a:pos x="585" y="991"/>
                </a:cxn>
                <a:cxn ang="0">
                  <a:pos x="378" y="956"/>
                </a:cxn>
                <a:cxn ang="0">
                  <a:pos x="582" y="748"/>
                </a:cxn>
                <a:cxn ang="0">
                  <a:pos x="378" y="539"/>
                </a:cxn>
                <a:cxn ang="0">
                  <a:pos x="174" y="748"/>
                </a:cxn>
                <a:cxn ang="0">
                  <a:pos x="378" y="956"/>
                </a:cxn>
              </a:cxnLst>
              <a:rect l="0" t="0" r="r" b="b"/>
              <a:pathLst>
                <a:path w="750" h="1113">
                  <a:moveTo>
                    <a:pt x="585" y="991"/>
                  </a:moveTo>
                  <a:cubicBezTo>
                    <a:pt x="582" y="991"/>
                    <a:pt x="582" y="991"/>
                    <a:pt x="582" y="991"/>
                  </a:cubicBezTo>
                  <a:cubicBezTo>
                    <a:pt x="531" y="1075"/>
                    <a:pt x="440" y="1113"/>
                    <a:pt x="343" y="1113"/>
                  </a:cubicBezTo>
                  <a:cubicBezTo>
                    <a:pt x="129" y="1113"/>
                    <a:pt x="0" y="954"/>
                    <a:pt x="0" y="748"/>
                  </a:cubicBezTo>
                  <a:cubicBezTo>
                    <a:pt x="0" y="542"/>
                    <a:pt x="137" y="383"/>
                    <a:pt x="336" y="383"/>
                  </a:cubicBezTo>
                  <a:cubicBezTo>
                    <a:pt x="466" y="383"/>
                    <a:pt x="536" y="444"/>
                    <a:pt x="572" y="489"/>
                  </a:cubicBezTo>
                  <a:cubicBezTo>
                    <a:pt x="576" y="489"/>
                    <a:pt x="576" y="489"/>
                    <a:pt x="576" y="489"/>
                  </a:cubicBezTo>
                  <a:cubicBezTo>
                    <a:pt x="576" y="0"/>
                    <a:pt x="576" y="0"/>
                    <a:pt x="576" y="0"/>
                  </a:cubicBezTo>
                  <a:cubicBezTo>
                    <a:pt x="750" y="0"/>
                    <a:pt x="750" y="0"/>
                    <a:pt x="750" y="0"/>
                  </a:cubicBezTo>
                  <a:cubicBezTo>
                    <a:pt x="750" y="1096"/>
                    <a:pt x="750" y="1096"/>
                    <a:pt x="750" y="1096"/>
                  </a:cubicBezTo>
                  <a:cubicBezTo>
                    <a:pt x="585" y="1096"/>
                    <a:pt x="585" y="1096"/>
                    <a:pt x="585" y="1096"/>
                  </a:cubicBezTo>
                  <a:lnTo>
                    <a:pt x="585" y="991"/>
                  </a:lnTo>
                  <a:close/>
                  <a:moveTo>
                    <a:pt x="378" y="956"/>
                  </a:moveTo>
                  <a:cubicBezTo>
                    <a:pt x="505" y="956"/>
                    <a:pt x="582" y="857"/>
                    <a:pt x="582" y="748"/>
                  </a:cubicBezTo>
                  <a:cubicBezTo>
                    <a:pt x="582" y="639"/>
                    <a:pt x="505" y="539"/>
                    <a:pt x="378" y="539"/>
                  </a:cubicBezTo>
                  <a:cubicBezTo>
                    <a:pt x="250" y="539"/>
                    <a:pt x="174" y="639"/>
                    <a:pt x="174" y="748"/>
                  </a:cubicBezTo>
                  <a:cubicBezTo>
                    <a:pt x="174" y="857"/>
                    <a:pt x="250" y="956"/>
                    <a:pt x="378" y="956"/>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8" name="Freeform 25"/>
            <p:cNvSpPr>
              <a:spLocks noSelect="1"/>
            </p:cNvSpPr>
            <p:nvPr/>
          </p:nvSpPr>
          <p:spPr bwMode="black">
            <a:xfrm>
              <a:off x="2322513" y="600076"/>
              <a:ext cx="142875" cy="163513"/>
            </a:xfrm>
            <a:custGeom>
              <a:avLst/>
              <a:gdLst/>
              <a:ahLst/>
              <a:cxnLst>
                <a:cxn ang="0">
                  <a:pos x="481" y="617"/>
                </a:cxn>
                <a:cxn ang="0">
                  <a:pos x="477" y="617"/>
                </a:cxn>
                <a:cxn ang="0">
                  <a:pos x="254" y="730"/>
                </a:cxn>
                <a:cxn ang="0">
                  <a:pos x="0" y="521"/>
                </a:cxn>
                <a:cxn ang="0">
                  <a:pos x="437" y="279"/>
                </a:cxn>
                <a:cxn ang="0">
                  <a:pos x="481" y="279"/>
                </a:cxn>
                <a:cxn ang="0">
                  <a:pos x="481" y="261"/>
                </a:cxn>
                <a:cxn ang="0">
                  <a:pos x="322" y="130"/>
                </a:cxn>
                <a:cxn ang="0">
                  <a:pos x="136" y="203"/>
                </a:cxn>
                <a:cxn ang="0">
                  <a:pos x="45" y="111"/>
                </a:cxn>
                <a:cxn ang="0">
                  <a:pos x="340" y="0"/>
                </a:cxn>
                <a:cxn ang="0">
                  <a:pos x="637" y="313"/>
                </a:cxn>
                <a:cxn ang="0">
                  <a:pos x="637" y="713"/>
                </a:cxn>
                <a:cxn ang="0">
                  <a:pos x="481" y="713"/>
                </a:cxn>
                <a:cxn ang="0">
                  <a:pos x="481" y="617"/>
                </a:cxn>
                <a:cxn ang="0">
                  <a:pos x="471" y="401"/>
                </a:cxn>
                <a:cxn ang="0">
                  <a:pos x="435" y="401"/>
                </a:cxn>
                <a:cxn ang="0">
                  <a:pos x="174" y="508"/>
                </a:cxn>
                <a:cxn ang="0">
                  <a:pos x="295" y="600"/>
                </a:cxn>
                <a:cxn ang="0">
                  <a:pos x="471" y="440"/>
                </a:cxn>
                <a:cxn ang="0">
                  <a:pos x="471" y="401"/>
                </a:cxn>
              </a:cxnLst>
              <a:rect l="0" t="0" r="r" b="b"/>
              <a:pathLst>
                <a:path w="637" h="730">
                  <a:moveTo>
                    <a:pt x="481" y="617"/>
                  </a:moveTo>
                  <a:cubicBezTo>
                    <a:pt x="477" y="617"/>
                    <a:pt x="477" y="617"/>
                    <a:pt x="477" y="617"/>
                  </a:cubicBezTo>
                  <a:cubicBezTo>
                    <a:pt x="427" y="695"/>
                    <a:pt x="346" y="730"/>
                    <a:pt x="254" y="730"/>
                  </a:cubicBezTo>
                  <a:cubicBezTo>
                    <a:pt x="125" y="730"/>
                    <a:pt x="0" y="659"/>
                    <a:pt x="0" y="521"/>
                  </a:cubicBezTo>
                  <a:cubicBezTo>
                    <a:pt x="0" y="295"/>
                    <a:pt x="264" y="279"/>
                    <a:pt x="437" y="279"/>
                  </a:cubicBezTo>
                  <a:cubicBezTo>
                    <a:pt x="481" y="279"/>
                    <a:pt x="481" y="279"/>
                    <a:pt x="481" y="279"/>
                  </a:cubicBezTo>
                  <a:cubicBezTo>
                    <a:pt x="481" y="261"/>
                    <a:pt x="481" y="261"/>
                    <a:pt x="481" y="261"/>
                  </a:cubicBezTo>
                  <a:cubicBezTo>
                    <a:pt x="481" y="175"/>
                    <a:pt x="414" y="130"/>
                    <a:pt x="322" y="130"/>
                  </a:cubicBezTo>
                  <a:cubicBezTo>
                    <a:pt x="249" y="130"/>
                    <a:pt x="182" y="159"/>
                    <a:pt x="136" y="203"/>
                  </a:cubicBezTo>
                  <a:cubicBezTo>
                    <a:pt x="45" y="111"/>
                    <a:pt x="45" y="111"/>
                    <a:pt x="45" y="111"/>
                  </a:cubicBezTo>
                  <a:cubicBezTo>
                    <a:pt x="122" y="33"/>
                    <a:pt x="230" y="0"/>
                    <a:pt x="340" y="0"/>
                  </a:cubicBezTo>
                  <a:cubicBezTo>
                    <a:pt x="637" y="0"/>
                    <a:pt x="637" y="214"/>
                    <a:pt x="637" y="313"/>
                  </a:cubicBezTo>
                  <a:cubicBezTo>
                    <a:pt x="637" y="713"/>
                    <a:pt x="637" y="713"/>
                    <a:pt x="637" y="713"/>
                  </a:cubicBezTo>
                  <a:cubicBezTo>
                    <a:pt x="481" y="713"/>
                    <a:pt x="481" y="713"/>
                    <a:pt x="481" y="713"/>
                  </a:cubicBezTo>
                  <a:lnTo>
                    <a:pt x="481" y="617"/>
                  </a:lnTo>
                  <a:close/>
                  <a:moveTo>
                    <a:pt x="471" y="401"/>
                  </a:moveTo>
                  <a:cubicBezTo>
                    <a:pt x="435" y="401"/>
                    <a:pt x="435" y="401"/>
                    <a:pt x="435" y="401"/>
                  </a:cubicBezTo>
                  <a:cubicBezTo>
                    <a:pt x="339" y="401"/>
                    <a:pt x="174" y="408"/>
                    <a:pt x="174" y="508"/>
                  </a:cubicBezTo>
                  <a:cubicBezTo>
                    <a:pt x="174" y="572"/>
                    <a:pt x="239" y="600"/>
                    <a:pt x="295" y="600"/>
                  </a:cubicBezTo>
                  <a:cubicBezTo>
                    <a:pt x="414" y="600"/>
                    <a:pt x="471" y="537"/>
                    <a:pt x="471" y="440"/>
                  </a:cubicBezTo>
                  <a:lnTo>
                    <a:pt x="471" y="40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9" name="Freeform 26"/>
            <p:cNvSpPr>
              <a:spLocks noSelect="1"/>
            </p:cNvSpPr>
            <p:nvPr/>
          </p:nvSpPr>
          <p:spPr bwMode="black">
            <a:xfrm>
              <a:off x="2505075" y="600076"/>
              <a:ext cx="241300" cy="160338"/>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8"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6"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grpSp>
      <p:sp>
        <p:nvSpPr>
          <p:cNvPr id="2" name="Titel 1"/>
          <p:cNvSpPr>
            <a:spLocks noGrp="1" noSelect="1"/>
          </p:cNvSpPr>
          <p:nvPr userDrawn="1">
            <p:ph type="ctrTitle" hasCustomPrompt="1"/>
          </p:nvPr>
        </p:nvSpPr>
        <p:spPr bwMode="gray">
          <a:xfrm>
            <a:off x="1308060" y="1758949"/>
            <a:ext cx="9792000" cy="1836000"/>
          </a:xfrm>
        </p:spPr>
        <p:txBody>
          <a:bodyPr anchor="t" anchorCtr="0"/>
          <a:lstStyle>
            <a:lvl1pPr algn="l">
              <a:defRPr sz="5500">
                <a:solidFill>
                  <a:schemeClr val="bg1"/>
                </a:solidFill>
              </a:defRPr>
            </a:lvl1pPr>
          </a:lstStyle>
          <a:p>
            <a:r>
              <a:rPr lang="nl-NL" noProof="1"/>
              <a:t>Titel</a:t>
            </a:r>
          </a:p>
        </p:txBody>
      </p:sp>
      <p:sp>
        <p:nvSpPr>
          <p:cNvPr id="3" name="Ondertitel 2"/>
          <p:cNvSpPr>
            <a:spLocks noGrp="1" noSelect="1"/>
          </p:cNvSpPr>
          <p:nvPr userDrawn="1">
            <p:ph type="subTitle" idx="1" hasCustomPrompt="1"/>
          </p:nvPr>
        </p:nvSpPr>
        <p:spPr bwMode="gray">
          <a:xfrm>
            <a:off x="1308060" y="3603786"/>
            <a:ext cx="9792000" cy="1752600"/>
          </a:xfrm>
        </p:spPr>
        <p:txBody>
          <a:bodyPr/>
          <a:lstStyle>
            <a:lvl1pPr marL="0" indent="0" algn="l">
              <a:buNone/>
              <a:defRPr sz="3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jaar / subtitel</a:t>
            </a:r>
          </a:p>
        </p:txBody>
      </p:sp>
      <p:sp>
        <p:nvSpPr>
          <p:cNvPr id="4" name="***Tijdelijke aanduiding voor datum 3"/>
          <p:cNvSpPr>
            <a:spLocks noGrp="1" noSelect="1"/>
          </p:cNvSpPr>
          <p:nvPr userDrawn="1">
            <p:ph type="dt" sz="half" idx="10"/>
          </p:nvPr>
        </p:nvSpPr>
        <p:spPr bwMode="gray">
          <a:xfrm>
            <a:off x="1182800" y="6357010"/>
            <a:ext cx="2844800" cy="365125"/>
          </a:xfrm>
          <a:prstGeom prst="rect">
            <a:avLst/>
          </a:prstGeom>
        </p:spPr>
        <p:txBody>
          <a:bodyPr/>
          <a:lstStyle>
            <a:lvl1pPr algn="l">
              <a:defRPr sz="1750" b="1">
                <a:solidFill>
                  <a:schemeClr val="bg1"/>
                </a:solidFill>
              </a:defRPr>
            </a:lvl1pPr>
          </a:lstStyle>
          <a:p>
            <a:endParaRPr lang="nl-NL" noProof="1"/>
          </a:p>
        </p:txBody>
      </p:sp>
      <p:sp>
        <p:nvSpPr>
          <p:cNvPr id="33" name="Afgeronde rechthoek 32"/>
          <p:cNvSpPr>
            <a:spLocks noSelect="1"/>
          </p:cNvSpPr>
          <p:nvPr userDrawn="1"/>
        </p:nvSpPr>
        <p:spPr bwMode="gray">
          <a:xfrm>
            <a:off x="-2308591" y="98556"/>
            <a:ext cx="2146029" cy="4770636"/>
          </a:xfrm>
          <a:prstGeom prst="roundRect">
            <a:avLst>
              <a:gd name="adj" fmla="val 970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r>
              <a:rPr lang="nl-NL" sz="1000" noProof="1">
                <a:solidFill>
                  <a:schemeClr val="tx1"/>
                </a:solidFill>
              </a:rPr>
              <a:t>Deze dia  is zo gemaakt dat je zelf een afbeelding kan invoegen. </a:t>
            </a:r>
          </a:p>
          <a:p>
            <a:pPr algn="l"/>
            <a:endParaRPr lang="nl-NL" sz="1000" noProof="1">
              <a:solidFill>
                <a:schemeClr val="tx1"/>
              </a:solidFill>
            </a:endParaRPr>
          </a:p>
          <a:p>
            <a:pPr algn="l"/>
            <a:r>
              <a:rPr lang="nl-NL" sz="1000" noProof="1">
                <a:solidFill>
                  <a:schemeClr val="tx1"/>
                </a:solidFill>
              </a:rPr>
              <a:t>Klik met de rechtermuisknop in de achtergrond en kies Achtergrond opmaken. Klik op Opvulling met figuur of bitmappatroon en dan op Invoegen uit bestand. Kies de afbeelding en klik op Invoegen en Sluiten.</a:t>
            </a:r>
          </a:p>
          <a:p>
            <a:pPr algn="l"/>
            <a:endParaRPr lang="nl-NL" sz="1000" noProof="1">
              <a:solidFill>
                <a:schemeClr val="tx1"/>
              </a:solidFill>
            </a:endParaRPr>
          </a:p>
          <a:p>
            <a:pPr algn="l"/>
            <a:r>
              <a:rPr lang="nl-NL" sz="1000" noProof="1">
                <a:solidFill>
                  <a:schemeClr val="tx1"/>
                </a:solidFill>
              </a:rPr>
              <a:t>Klik niet op Overal toepassen omdat de afbeelding dan op alle dia’s komt. Met ctrl + z kan je dit ongedaan maken.</a:t>
            </a:r>
          </a:p>
          <a:p>
            <a:pPr algn="l"/>
            <a:endParaRPr lang="nl-NL" sz="1000" noProof="1">
              <a:solidFill>
                <a:schemeClr val="tx1"/>
              </a:solidFill>
            </a:endParaRPr>
          </a:p>
          <a:p>
            <a:pPr algn="l"/>
            <a:r>
              <a:rPr lang="nl-NL" sz="1000" noProof="1">
                <a:solidFill>
                  <a:schemeClr val="tx1"/>
                </a:solidFill>
              </a:rPr>
              <a:t>Voor het mooiste resultaat is de beeldverhouding 1024 x 768 pixels. Het beeld blijft dan scherp en vervormt niet.</a:t>
            </a:r>
          </a:p>
          <a:p>
            <a:pPr algn="l"/>
            <a:endParaRPr lang="nl-NL" sz="1000" noProof="1">
              <a:solidFill>
                <a:schemeClr val="tx1"/>
              </a:solidFill>
            </a:endParaRPr>
          </a:p>
        </p:txBody>
      </p:sp>
    </p:spTree>
    <p:extLst>
      <p:ext uri="{BB962C8B-B14F-4D97-AF65-F5344CB8AC3E}">
        <p14:creationId xmlns:p14="http://schemas.microsoft.com/office/powerpoint/2010/main" val="2575312472"/>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obj" preserve="1">
  <p:cSld name="Titel en kader">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lvl1pPr>
              <a:defRPr/>
            </a:lvl1pPr>
          </a:lstStyle>
          <a:p>
            <a:r>
              <a:rPr lang="nl-NL" noProof="1"/>
              <a:t>Titel</a:t>
            </a:r>
          </a:p>
        </p:txBody>
      </p:sp>
      <p:sp>
        <p:nvSpPr>
          <p:cNvPr id="3" name="Tijdelijke aanduiding voor inhoud 2"/>
          <p:cNvSpPr>
            <a:spLocks noGrp="1" noSelect="1"/>
          </p:cNvSpPr>
          <p:nvPr>
            <p:ph idx="1"/>
          </p:nvPr>
        </p:nvSpPr>
        <p:spPr bwMode="gray"/>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4" name="Tijdelijke aanduiding voor datum 3"/>
          <p:cNvSpPr>
            <a:spLocks noGrp="1" noSelect="1"/>
          </p:cNvSpPr>
          <p:nvPr>
            <p:ph type="dt" sz="half" idx="10"/>
          </p:nvPr>
        </p:nvSpPr>
        <p:spPr bwMode="gray"/>
        <p:txBody>
          <a:bodyPr/>
          <a:lstStyle/>
          <a:p>
            <a:endParaRPr lang="nl-NL" dirty="0"/>
          </a:p>
        </p:txBody>
      </p:sp>
      <p:sp>
        <p:nvSpPr>
          <p:cNvPr id="5" name="Tijdelijke aanduiding voor voettekst 4"/>
          <p:cNvSpPr>
            <a:spLocks noGrp="1" noSelect="1"/>
          </p:cNvSpPr>
          <p:nvPr>
            <p:ph type="ftr" sz="quarter" idx="11"/>
          </p:nvPr>
        </p:nvSpPr>
        <p:spPr bwMode="gray"/>
        <p:txBody>
          <a:bodyPr/>
          <a:lstStyle/>
          <a:p>
            <a:r>
              <a:rPr lang="nl-NL"/>
              <a:t>Informatiebijeenkomst 26 juli 2021 Europese Aanbesteding SVWI</a:t>
            </a:r>
            <a:endParaRPr lang="nl-NL" dirty="0"/>
          </a:p>
        </p:txBody>
      </p:sp>
      <p:sp>
        <p:nvSpPr>
          <p:cNvPr id="6" name="Tijdelijke aanduiding voor dianummer 5"/>
          <p:cNvSpPr>
            <a:spLocks noGrp="1" noSelect="1"/>
          </p:cNvSpPr>
          <p:nvPr>
            <p:ph type="sldNum" sz="quarter" idx="12"/>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139420362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type="title" preserve="1">
  <p:cSld name="Titeldia rood">
    <p:spTree>
      <p:nvGrpSpPr>
        <p:cNvPr id="1" name=""/>
        <p:cNvGrpSpPr/>
        <p:nvPr/>
      </p:nvGrpSpPr>
      <p:grpSpPr>
        <a:xfrm>
          <a:off x="0" y="0"/>
          <a:ext cx="0" cy="0"/>
          <a:chOff x="0" y="0"/>
          <a:chExt cx="0" cy="0"/>
        </a:xfrm>
      </p:grpSpPr>
      <p:sp>
        <p:nvSpPr>
          <p:cNvPr id="9" name="Rectangle 5"/>
          <p:cNvSpPr>
            <a:spLocks noSelect="1" noChangeArrowheads="1"/>
          </p:cNvSpPr>
          <p:nvPr/>
        </p:nvSpPr>
        <p:spPr bwMode="ltGray">
          <a:xfrm>
            <a:off x="0" y="1"/>
            <a:ext cx="12183533" cy="6854825"/>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0" name="Rectangle 6"/>
          <p:cNvSpPr>
            <a:spLocks noSelect="1" noChangeArrowheads="1"/>
          </p:cNvSpPr>
          <p:nvPr/>
        </p:nvSpPr>
        <p:spPr bwMode="white">
          <a:xfrm>
            <a:off x="0" y="1589"/>
            <a:ext cx="1049867" cy="68548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sz="1800" dirty="0"/>
          </a:p>
        </p:txBody>
      </p:sp>
      <p:grpSp>
        <p:nvGrpSpPr>
          <p:cNvPr id="5" name="Groep 4"/>
          <p:cNvGrpSpPr>
            <a:grpSpLocks noSelect="1"/>
          </p:cNvGrpSpPr>
          <p:nvPr userDrawn="1"/>
        </p:nvGrpSpPr>
        <p:grpSpPr bwMode="black">
          <a:xfrm>
            <a:off x="243417" y="163513"/>
            <a:ext cx="3418416" cy="1447800"/>
            <a:chOff x="182563" y="163513"/>
            <a:chExt cx="2563812" cy="1447800"/>
          </a:xfrm>
        </p:grpSpPr>
        <p:sp>
          <p:nvSpPr>
            <p:cNvPr id="11" name="Freeform 7"/>
            <p:cNvSpPr>
              <a:spLocks noSelect="1"/>
            </p:cNvSpPr>
            <p:nvPr/>
          </p:nvSpPr>
          <p:spPr bwMode="black">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2" name="Freeform 8"/>
            <p:cNvSpPr>
              <a:spLocks noSelect="1"/>
            </p:cNvSpPr>
            <p:nvPr/>
          </p:nvSpPr>
          <p:spPr bwMode="black">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3" name="Freeform 9"/>
            <p:cNvSpPr>
              <a:spLocks noSelect="1"/>
            </p:cNvSpPr>
            <p:nvPr/>
          </p:nvSpPr>
          <p:spPr bwMode="black">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4" name="Freeform 10"/>
            <p:cNvSpPr>
              <a:spLocks noSelect="1"/>
            </p:cNvSpPr>
            <p:nvPr/>
          </p:nvSpPr>
          <p:spPr bwMode="black">
            <a:xfrm>
              <a:off x="1031875" y="184151"/>
              <a:ext cx="214313" cy="241300"/>
            </a:xfrm>
            <a:custGeom>
              <a:avLst/>
              <a:gdLst/>
              <a:ahLst/>
              <a:cxnLst>
                <a:cxn ang="0">
                  <a:pos x="966" y="976"/>
                </a:cxn>
                <a:cxn ang="0">
                  <a:pos x="542" y="1077"/>
                </a:cxn>
                <a:cxn ang="0">
                  <a:pos x="0" y="543"/>
                </a:cxn>
                <a:cxn ang="0">
                  <a:pos x="542" y="0"/>
                </a:cxn>
                <a:cxn ang="0">
                  <a:pos x="946" y="129"/>
                </a:cxn>
                <a:cxn ang="0">
                  <a:pos x="811" y="265"/>
                </a:cxn>
                <a:cxn ang="0">
                  <a:pos x="543" y="165"/>
                </a:cxn>
                <a:cxn ang="0">
                  <a:pos x="191" y="531"/>
                </a:cxn>
                <a:cxn ang="0">
                  <a:pos x="543" y="912"/>
                </a:cxn>
                <a:cxn ang="0">
                  <a:pos x="784" y="859"/>
                </a:cxn>
                <a:cxn ang="0">
                  <a:pos x="784" y="617"/>
                </a:cxn>
                <a:cxn ang="0">
                  <a:pos x="574" y="617"/>
                </a:cxn>
                <a:cxn ang="0">
                  <a:pos x="574" y="452"/>
                </a:cxn>
                <a:cxn ang="0">
                  <a:pos x="966" y="452"/>
                </a:cxn>
                <a:cxn ang="0">
                  <a:pos x="966" y="976"/>
                </a:cxn>
              </a:cxnLst>
              <a:rect l="0" t="0" r="r" b="b"/>
              <a:pathLst>
                <a:path w="966" h="1077">
                  <a:moveTo>
                    <a:pt x="966" y="976"/>
                  </a:moveTo>
                  <a:cubicBezTo>
                    <a:pt x="842" y="1043"/>
                    <a:pt x="700" y="1077"/>
                    <a:pt x="542" y="1077"/>
                  </a:cubicBezTo>
                  <a:cubicBezTo>
                    <a:pt x="226" y="1077"/>
                    <a:pt x="0" y="863"/>
                    <a:pt x="0" y="543"/>
                  </a:cubicBezTo>
                  <a:cubicBezTo>
                    <a:pt x="0" y="214"/>
                    <a:pt x="226" y="0"/>
                    <a:pt x="542" y="0"/>
                  </a:cubicBezTo>
                  <a:cubicBezTo>
                    <a:pt x="698" y="0"/>
                    <a:pt x="839" y="33"/>
                    <a:pt x="946" y="129"/>
                  </a:cubicBezTo>
                  <a:cubicBezTo>
                    <a:pt x="811" y="265"/>
                    <a:pt x="811" y="265"/>
                    <a:pt x="811" y="265"/>
                  </a:cubicBezTo>
                  <a:cubicBezTo>
                    <a:pt x="746" y="201"/>
                    <a:pt x="646" y="165"/>
                    <a:pt x="543" y="165"/>
                  </a:cubicBezTo>
                  <a:cubicBezTo>
                    <a:pt x="332" y="165"/>
                    <a:pt x="191" y="327"/>
                    <a:pt x="191" y="531"/>
                  </a:cubicBezTo>
                  <a:cubicBezTo>
                    <a:pt x="191" y="750"/>
                    <a:pt x="332" y="912"/>
                    <a:pt x="543" y="912"/>
                  </a:cubicBezTo>
                  <a:cubicBezTo>
                    <a:pt x="636" y="912"/>
                    <a:pt x="720" y="895"/>
                    <a:pt x="784" y="859"/>
                  </a:cubicBezTo>
                  <a:cubicBezTo>
                    <a:pt x="784" y="617"/>
                    <a:pt x="784" y="617"/>
                    <a:pt x="784" y="617"/>
                  </a:cubicBezTo>
                  <a:cubicBezTo>
                    <a:pt x="574" y="617"/>
                    <a:pt x="574" y="617"/>
                    <a:pt x="574" y="617"/>
                  </a:cubicBezTo>
                  <a:cubicBezTo>
                    <a:pt x="574" y="452"/>
                    <a:pt x="574" y="452"/>
                    <a:pt x="574" y="452"/>
                  </a:cubicBezTo>
                  <a:cubicBezTo>
                    <a:pt x="966" y="452"/>
                    <a:pt x="966" y="452"/>
                    <a:pt x="966" y="452"/>
                  </a:cubicBezTo>
                  <a:lnTo>
                    <a:pt x="966" y="9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5" name="Freeform 11"/>
            <p:cNvSpPr>
              <a:spLocks noSelect="1"/>
            </p:cNvSpPr>
            <p:nvPr/>
          </p:nvSpPr>
          <p:spPr bwMode="black">
            <a:xfrm>
              <a:off x="1284288" y="260351"/>
              <a:ext cx="157163" cy="163513"/>
            </a:xfrm>
            <a:custGeom>
              <a:avLst/>
              <a:gdLst/>
              <a:ahLst/>
              <a:cxnLst>
                <a:cxn ang="0">
                  <a:pos x="174" y="426"/>
                </a:cxn>
                <a:cxn ang="0">
                  <a:pos x="361"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1"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6" name="Freeform 12"/>
            <p:cNvSpPr>
              <a:spLocks noSelect="1"/>
            </p:cNvSpPr>
            <p:nvPr/>
          </p:nvSpPr>
          <p:spPr bwMode="black">
            <a:xfrm>
              <a:off x="1476375" y="260351"/>
              <a:ext cx="239713" cy="158750"/>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2"/>
                </a:cxn>
                <a:cxn ang="0">
                  <a:pos x="904" y="712"/>
                </a:cxn>
                <a:cxn ang="0">
                  <a:pos x="904" y="318"/>
                </a:cxn>
                <a:cxn ang="0">
                  <a:pos x="775" y="156"/>
                </a:cxn>
                <a:cxn ang="0">
                  <a:pos x="626" y="336"/>
                </a:cxn>
                <a:cxn ang="0">
                  <a:pos x="626" y="712"/>
                </a:cxn>
                <a:cxn ang="0">
                  <a:pos x="452" y="712"/>
                </a:cxn>
                <a:cxn ang="0">
                  <a:pos x="452" y="298"/>
                </a:cxn>
                <a:cxn ang="0">
                  <a:pos x="333" y="156"/>
                </a:cxn>
                <a:cxn ang="0">
                  <a:pos x="174" y="333"/>
                </a:cxn>
                <a:cxn ang="0">
                  <a:pos x="174" y="712"/>
                </a:cxn>
                <a:cxn ang="0">
                  <a:pos x="0" y="712"/>
                </a:cxn>
                <a:cxn ang="0">
                  <a:pos x="0" y="17"/>
                </a:cxn>
              </a:cxnLst>
              <a:rect l="0" t="0" r="r" b="b"/>
              <a:pathLst>
                <a:path w="1078" h="712">
                  <a:moveTo>
                    <a:pt x="0" y="17"/>
                  </a:moveTo>
                  <a:cubicBezTo>
                    <a:pt x="165" y="17"/>
                    <a:pt x="165" y="17"/>
                    <a:pt x="165" y="17"/>
                  </a:cubicBezTo>
                  <a:cubicBezTo>
                    <a:pt x="165" y="126"/>
                    <a:pt x="165" y="126"/>
                    <a:pt x="165" y="126"/>
                  </a:cubicBezTo>
                  <a:cubicBezTo>
                    <a:pt x="168" y="126"/>
                    <a:pt x="168" y="126"/>
                    <a:pt x="168" y="126"/>
                  </a:cubicBezTo>
                  <a:cubicBezTo>
                    <a:pt x="198" y="61"/>
                    <a:pt x="265" y="0"/>
                    <a:pt x="381" y="0"/>
                  </a:cubicBezTo>
                  <a:cubicBezTo>
                    <a:pt x="488" y="0"/>
                    <a:pt x="562" y="42"/>
                    <a:pt x="598" y="129"/>
                  </a:cubicBezTo>
                  <a:cubicBezTo>
                    <a:pt x="649" y="40"/>
                    <a:pt x="723" y="0"/>
                    <a:pt x="827" y="0"/>
                  </a:cubicBezTo>
                  <a:cubicBezTo>
                    <a:pt x="1013" y="0"/>
                    <a:pt x="1078" y="132"/>
                    <a:pt x="1078" y="298"/>
                  </a:cubicBezTo>
                  <a:cubicBezTo>
                    <a:pt x="1078" y="712"/>
                    <a:pt x="1078" y="712"/>
                    <a:pt x="1078" y="712"/>
                  </a:cubicBezTo>
                  <a:cubicBezTo>
                    <a:pt x="904" y="712"/>
                    <a:pt x="904" y="712"/>
                    <a:pt x="904" y="712"/>
                  </a:cubicBezTo>
                  <a:cubicBezTo>
                    <a:pt x="904" y="318"/>
                    <a:pt x="904" y="318"/>
                    <a:pt x="904" y="318"/>
                  </a:cubicBezTo>
                  <a:cubicBezTo>
                    <a:pt x="904" y="231"/>
                    <a:pt x="878" y="156"/>
                    <a:pt x="775" y="156"/>
                  </a:cubicBezTo>
                  <a:cubicBezTo>
                    <a:pt x="666" y="156"/>
                    <a:pt x="626" y="246"/>
                    <a:pt x="626" y="336"/>
                  </a:cubicBezTo>
                  <a:cubicBezTo>
                    <a:pt x="626" y="712"/>
                    <a:pt x="626" y="712"/>
                    <a:pt x="626" y="712"/>
                  </a:cubicBezTo>
                  <a:cubicBezTo>
                    <a:pt x="452" y="712"/>
                    <a:pt x="452" y="712"/>
                    <a:pt x="452" y="712"/>
                  </a:cubicBezTo>
                  <a:cubicBezTo>
                    <a:pt x="452" y="298"/>
                    <a:pt x="452" y="298"/>
                    <a:pt x="452" y="298"/>
                  </a:cubicBezTo>
                  <a:cubicBezTo>
                    <a:pt x="452" y="213"/>
                    <a:pt x="417"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7" name="Freeform 13"/>
            <p:cNvSpPr>
              <a:spLocks noSelect="1"/>
            </p:cNvSpPr>
            <p:nvPr/>
          </p:nvSpPr>
          <p:spPr bwMode="black">
            <a:xfrm>
              <a:off x="1751013" y="260351"/>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5" y="528"/>
                    <a:pt x="264" y="591"/>
                    <a:pt x="361" y="591"/>
                  </a:cubicBezTo>
                  <a:cubicBezTo>
                    <a:pt x="448" y="591"/>
                    <a:pt x="504" y="550"/>
                    <a:pt x="548"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8" name="Freeform 14"/>
            <p:cNvSpPr>
              <a:spLocks noSelect="1"/>
            </p:cNvSpPr>
            <p:nvPr/>
          </p:nvSpPr>
          <p:spPr bwMode="black">
            <a:xfrm>
              <a:off x="1936750" y="260351"/>
              <a:ext cx="157163" cy="163513"/>
            </a:xfrm>
            <a:custGeom>
              <a:avLst/>
              <a:gdLst/>
              <a:ahLst/>
              <a:cxnLst>
                <a:cxn ang="0">
                  <a:pos x="174" y="426"/>
                </a:cxn>
                <a:cxn ang="0">
                  <a:pos x="360"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8"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9" name="Freeform 15"/>
            <p:cNvSpPr>
              <a:spLocks noSelect="1"/>
            </p:cNvSpPr>
            <p:nvPr/>
          </p:nvSpPr>
          <p:spPr bwMode="black">
            <a:xfrm>
              <a:off x="2128838" y="260351"/>
              <a:ext cx="142875" cy="158750"/>
            </a:xfrm>
            <a:custGeom>
              <a:avLst/>
              <a:gdLst/>
              <a:ahLst/>
              <a:cxnLst>
                <a:cxn ang="0">
                  <a:pos x="0" y="17"/>
                </a:cxn>
                <a:cxn ang="0">
                  <a:pos x="165" y="17"/>
                </a:cxn>
                <a:cxn ang="0">
                  <a:pos x="165" y="129"/>
                </a:cxn>
                <a:cxn ang="0">
                  <a:pos x="168" y="129"/>
                </a:cxn>
                <a:cxn ang="0">
                  <a:pos x="381" y="0"/>
                </a:cxn>
                <a:cxn ang="0">
                  <a:pos x="635" y="273"/>
                </a:cxn>
                <a:cxn ang="0">
                  <a:pos x="635" y="712"/>
                </a:cxn>
                <a:cxn ang="0">
                  <a:pos x="461" y="712"/>
                </a:cxn>
                <a:cxn ang="0">
                  <a:pos x="461" y="360"/>
                </a:cxn>
                <a:cxn ang="0">
                  <a:pos x="333" y="156"/>
                </a:cxn>
                <a:cxn ang="0">
                  <a:pos x="174" y="333"/>
                </a:cxn>
                <a:cxn ang="0">
                  <a:pos x="174" y="712"/>
                </a:cxn>
                <a:cxn ang="0">
                  <a:pos x="0" y="712"/>
                </a:cxn>
                <a:cxn ang="0">
                  <a:pos x="0" y="17"/>
                </a:cxn>
              </a:cxnLst>
              <a:rect l="0" t="0" r="r" b="b"/>
              <a:pathLst>
                <a:path w="635" h="712">
                  <a:moveTo>
                    <a:pt x="0" y="17"/>
                  </a:moveTo>
                  <a:cubicBezTo>
                    <a:pt x="165" y="17"/>
                    <a:pt x="165" y="17"/>
                    <a:pt x="165" y="17"/>
                  </a:cubicBezTo>
                  <a:cubicBezTo>
                    <a:pt x="165" y="129"/>
                    <a:pt x="165" y="129"/>
                    <a:pt x="165" y="129"/>
                  </a:cubicBezTo>
                  <a:cubicBezTo>
                    <a:pt x="168" y="129"/>
                    <a:pt x="168" y="129"/>
                    <a:pt x="168" y="129"/>
                  </a:cubicBezTo>
                  <a:cubicBezTo>
                    <a:pt x="200" y="59"/>
                    <a:pt x="265" y="0"/>
                    <a:pt x="381" y="0"/>
                  </a:cubicBezTo>
                  <a:cubicBezTo>
                    <a:pt x="568" y="0"/>
                    <a:pt x="635" y="132"/>
                    <a:pt x="635" y="273"/>
                  </a:cubicBezTo>
                  <a:cubicBezTo>
                    <a:pt x="635" y="712"/>
                    <a:pt x="635" y="712"/>
                    <a:pt x="635" y="712"/>
                  </a:cubicBezTo>
                  <a:cubicBezTo>
                    <a:pt x="461" y="712"/>
                    <a:pt x="461" y="712"/>
                    <a:pt x="461" y="712"/>
                  </a:cubicBezTo>
                  <a:cubicBezTo>
                    <a:pt x="461" y="360"/>
                    <a:pt x="461" y="360"/>
                    <a:pt x="461" y="360"/>
                  </a:cubicBezTo>
                  <a:cubicBezTo>
                    <a:pt x="461" y="284"/>
                    <a:pt x="455"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0" name="Freeform 16"/>
            <p:cNvSpPr>
              <a:spLocks noSelect="1"/>
            </p:cNvSpPr>
            <p:nvPr/>
          </p:nvSpPr>
          <p:spPr bwMode="black">
            <a:xfrm>
              <a:off x="2297113" y="219076"/>
              <a:ext cx="112713" cy="204788"/>
            </a:xfrm>
            <a:custGeom>
              <a:avLst/>
              <a:gdLst/>
              <a:ahLst/>
              <a:cxnLst>
                <a:cxn ang="0">
                  <a:pos x="0" y="349"/>
                </a:cxn>
                <a:cxn ang="0">
                  <a:pos x="0" y="201"/>
                </a:cxn>
                <a:cxn ang="0">
                  <a:pos x="143" y="201"/>
                </a:cxn>
                <a:cxn ang="0">
                  <a:pos x="143" y="0"/>
                </a:cxn>
                <a:cxn ang="0">
                  <a:pos x="317" y="0"/>
                </a:cxn>
                <a:cxn ang="0">
                  <a:pos x="317" y="201"/>
                </a:cxn>
                <a:cxn ang="0">
                  <a:pos x="508" y="201"/>
                </a:cxn>
                <a:cxn ang="0">
                  <a:pos x="508" y="349"/>
                </a:cxn>
                <a:cxn ang="0">
                  <a:pos x="317" y="349"/>
                </a:cxn>
                <a:cxn ang="0">
                  <a:pos x="317" y="653"/>
                </a:cxn>
                <a:cxn ang="0">
                  <a:pos x="414" y="766"/>
                </a:cxn>
                <a:cxn ang="0">
                  <a:pos x="508" y="744"/>
                </a:cxn>
                <a:cxn ang="0">
                  <a:pos x="508" y="891"/>
                </a:cxn>
                <a:cxn ang="0">
                  <a:pos x="371" y="914"/>
                </a:cxn>
                <a:cxn ang="0">
                  <a:pos x="143" y="668"/>
                </a:cxn>
                <a:cxn ang="0">
                  <a:pos x="143" y="349"/>
                </a:cxn>
                <a:cxn ang="0">
                  <a:pos x="0" y="349"/>
                </a:cxn>
              </a:cxnLst>
              <a:rect l="0" t="0" r="r" b="b"/>
              <a:pathLst>
                <a:path w="508"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8" y="201"/>
                    <a:pt x="508" y="201"/>
                    <a:pt x="508" y="201"/>
                  </a:cubicBezTo>
                  <a:cubicBezTo>
                    <a:pt x="508" y="349"/>
                    <a:pt x="508" y="349"/>
                    <a:pt x="508" y="349"/>
                  </a:cubicBezTo>
                  <a:cubicBezTo>
                    <a:pt x="317" y="349"/>
                    <a:pt x="317" y="349"/>
                    <a:pt x="317" y="349"/>
                  </a:cubicBezTo>
                  <a:cubicBezTo>
                    <a:pt x="317" y="653"/>
                    <a:pt x="317" y="653"/>
                    <a:pt x="317" y="653"/>
                  </a:cubicBezTo>
                  <a:cubicBezTo>
                    <a:pt x="317" y="723"/>
                    <a:pt x="337" y="766"/>
                    <a:pt x="414" y="766"/>
                  </a:cubicBezTo>
                  <a:cubicBezTo>
                    <a:pt x="444" y="766"/>
                    <a:pt x="486" y="760"/>
                    <a:pt x="508" y="744"/>
                  </a:cubicBezTo>
                  <a:cubicBezTo>
                    <a:pt x="508" y="891"/>
                    <a:pt x="508" y="891"/>
                    <a:pt x="508" y="891"/>
                  </a:cubicBezTo>
                  <a:cubicBezTo>
                    <a:pt x="472" y="908"/>
                    <a:pt x="411" y="914"/>
                    <a:pt x="371" y="914"/>
                  </a:cubicBezTo>
                  <a:cubicBezTo>
                    <a:pt x="186"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1" name="Freeform 17"/>
            <p:cNvSpPr>
              <a:spLocks noSelect="1"/>
            </p:cNvSpPr>
            <p:nvPr/>
          </p:nvSpPr>
          <p:spPr bwMode="black">
            <a:xfrm>
              <a:off x="2433638" y="260351"/>
              <a:ext cx="157163" cy="163513"/>
            </a:xfrm>
            <a:custGeom>
              <a:avLst/>
              <a:gdLst/>
              <a:ahLst/>
              <a:cxnLst>
                <a:cxn ang="0">
                  <a:pos x="173" y="426"/>
                </a:cxn>
                <a:cxn ang="0">
                  <a:pos x="360" y="591"/>
                </a:cxn>
                <a:cxn ang="0">
                  <a:pos x="547" y="497"/>
                </a:cxn>
                <a:cxn ang="0">
                  <a:pos x="672" y="591"/>
                </a:cxn>
                <a:cxn ang="0">
                  <a:pos x="378" y="730"/>
                </a:cxn>
                <a:cxn ang="0">
                  <a:pos x="0" y="365"/>
                </a:cxn>
                <a:cxn ang="0">
                  <a:pos x="378" y="0"/>
                </a:cxn>
                <a:cxn ang="0">
                  <a:pos x="704" y="378"/>
                </a:cxn>
                <a:cxn ang="0">
                  <a:pos x="704" y="426"/>
                </a:cxn>
                <a:cxn ang="0">
                  <a:pos x="173" y="426"/>
                </a:cxn>
                <a:cxn ang="0">
                  <a:pos x="530" y="295"/>
                </a:cxn>
                <a:cxn ang="0">
                  <a:pos x="353" y="130"/>
                </a:cxn>
                <a:cxn ang="0">
                  <a:pos x="173" y="295"/>
                </a:cxn>
                <a:cxn ang="0">
                  <a:pos x="530" y="295"/>
                </a:cxn>
              </a:cxnLst>
              <a:rect l="0" t="0" r="r" b="b"/>
              <a:pathLst>
                <a:path w="704" h="730">
                  <a:moveTo>
                    <a:pt x="173"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3" y="426"/>
                  </a:lnTo>
                  <a:close/>
                  <a:moveTo>
                    <a:pt x="530" y="295"/>
                  </a:moveTo>
                  <a:cubicBezTo>
                    <a:pt x="528" y="194"/>
                    <a:pt x="462" y="130"/>
                    <a:pt x="353" y="130"/>
                  </a:cubicBezTo>
                  <a:cubicBezTo>
                    <a:pt x="250" y="130"/>
                    <a:pt x="186" y="195"/>
                    <a:pt x="173"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2" name="Freeform 18"/>
            <p:cNvSpPr>
              <a:spLocks noSelect="1"/>
            </p:cNvSpPr>
            <p:nvPr/>
          </p:nvSpPr>
          <p:spPr bwMode="black">
            <a:xfrm>
              <a:off x="1017588" y="530226"/>
              <a:ext cx="233363" cy="230188"/>
            </a:xfrm>
            <a:custGeom>
              <a:avLst/>
              <a:gdLst/>
              <a:ahLst/>
              <a:cxnLst>
                <a:cxn ang="0">
                  <a:pos x="63" y="0"/>
                </a:cxn>
                <a:cxn ang="0">
                  <a:pos x="85" y="0"/>
                </a:cxn>
                <a:cxn ang="0">
                  <a:pos x="147" y="145"/>
                </a:cxn>
                <a:cxn ang="0">
                  <a:pos x="118" y="145"/>
                </a:cxn>
                <a:cxn ang="0">
                  <a:pos x="105" y="112"/>
                </a:cxn>
                <a:cxn ang="0">
                  <a:pos x="42" y="112"/>
                </a:cxn>
                <a:cxn ang="0">
                  <a:pos x="29" y="145"/>
                </a:cxn>
                <a:cxn ang="0">
                  <a:pos x="0" y="145"/>
                </a:cxn>
                <a:cxn ang="0">
                  <a:pos x="63" y="0"/>
                </a:cxn>
                <a:cxn ang="0">
                  <a:pos x="96" y="90"/>
                </a:cxn>
                <a:cxn ang="0">
                  <a:pos x="74" y="31"/>
                </a:cxn>
                <a:cxn ang="0">
                  <a:pos x="51" y="90"/>
                </a:cxn>
                <a:cxn ang="0">
                  <a:pos x="96" y="90"/>
                </a:cxn>
              </a:cxnLst>
              <a:rect l="0" t="0" r="r" b="b"/>
              <a:pathLst>
                <a:path w="147" h="145">
                  <a:moveTo>
                    <a:pt x="63" y="0"/>
                  </a:moveTo>
                  <a:lnTo>
                    <a:pt x="85" y="0"/>
                  </a:lnTo>
                  <a:lnTo>
                    <a:pt x="147" y="145"/>
                  </a:lnTo>
                  <a:lnTo>
                    <a:pt x="118" y="145"/>
                  </a:lnTo>
                  <a:lnTo>
                    <a:pt x="105" y="112"/>
                  </a:lnTo>
                  <a:lnTo>
                    <a:pt x="42" y="112"/>
                  </a:lnTo>
                  <a:lnTo>
                    <a:pt x="29" y="145"/>
                  </a:lnTo>
                  <a:lnTo>
                    <a:pt x="0" y="145"/>
                  </a:lnTo>
                  <a:lnTo>
                    <a:pt x="63" y="0"/>
                  </a:lnTo>
                  <a:close/>
                  <a:moveTo>
                    <a:pt x="96" y="90"/>
                  </a:moveTo>
                  <a:lnTo>
                    <a:pt x="74" y="31"/>
                  </a:lnTo>
                  <a:lnTo>
                    <a:pt x="51" y="90"/>
                  </a:lnTo>
                  <a:lnTo>
                    <a:pt x="96" y="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3" name="Freeform 19"/>
            <p:cNvSpPr>
              <a:spLocks noSelect="1"/>
            </p:cNvSpPr>
            <p:nvPr/>
          </p:nvSpPr>
          <p:spPr bwMode="black">
            <a:xfrm>
              <a:off x="1271588" y="600076"/>
              <a:ext cx="241300" cy="160338"/>
            </a:xfrm>
            <a:custGeom>
              <a:avLst/>
              <a:gdLst/>
              <a:ahLst/>
              <a:cxnLst>
                <a:cxn ang="0">
                  <a:pos x="0" y="17"/>
                </a:cxn>
                <a:cxn ang="0">
                  <a:pos x="165" y="17"/>
                </a:cxn>
                <a:cxn ang="0">
                  <a:pos x="165" y="126"/>
                </a:cxn>
                <a:cxn ang="0">
                  <a:pos x="168" y="126"/>
                </a:cxn>
                <a:cxn ang="0">
                  <a:pos x="381" y="0"/>
                </a:cxn>
                <a:cxn ang="0">
                  <a:pos x="599"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9"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7"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4" name="Freeform 20"/>
            <p:cNvSpPr>
              <a:spLocks noSelect="1"/>
            </p:cNvSpPr>
            <p:nvPr/>
          </p:nvSpPr>
          <p:spPr bwMode="black">
            <a:xfrm>
              <a:off x="1541463" y="600076"/>
              <a:ext cx="127000" cy="163513"/>
            </a:xfrm>
            <a:custGeom>
              <a:avLst/>
              <a:gdLst/>
              <a:ahLst/>
              <a:cxnLst>
                <a:cxn ang="0">
                  <a:pos x="433" y="210"/>
                </a:cxn>
                <a:cxn ang="0">
                  <a:pos x="297" y="139"/>
                </a:cxn>
                <a:cxn ang="0">
                  <a:pos x="195" y="213"/>
                </a:cxn>
                <a:cxn ang="0">
                  <a:pos x="570" y="507"/>
                </a:cxn>
                <a:cxn ang="0">
                  <a:pos x="271" y="730"/>
                </a:cxn>
                <a:cxn ang="0">
                  <a:pos x="0" y="623"/>
                </a:cxn>
                <a:cxn ang="0">
                  <a:pos x="116" y="514"/>
                </a:cxn>
                <a:cxn ang="0">
                  <a:pos x="281" y="600"/>
                </a:cxn>
                <a:cxn ang="0">
                  <a:pos x="397" y="520"/>
                </a:cxn>
                <a:cxn ang="0">
                  <a:pos x="21" y="224"/>
                </a:cxn>
                <a:cxn ang="0">
                  <a:pos x="301" y="0"/>
                </a:cxn>
                <a:cxn ang="0">
                  <a:pos x="549" y="106"/>
                </a:cxn>
                <a:cxn ang="0">
                  <a:pos x="433" y="210"/>
                </a:cxn>
              </a:cxnLst>
              <a:rect l="0" t="0" r="r" b="b"/>
              <a:pathLst>
                <a:path w="570" h="730">
                  <a:moveTo>
                    <a:pt x="433" y="210"/>
                  </a:moveTo>
                  <a:cubicBezTo>
                    <a:pt x="399" y="164"/>
                    <a:pt x="356" y="139"/>
                    <a:pt x="297" y="139"/>
                  </a:cubicBezTo>
                  <a:cubicBezTo>
                    <a:pt x="250" y="139"/>
                    <a:pt x="195" y="161"/>
                    <a:pt x="195" y="213"/>
                  </a:cubicBezTo>
                  <a:cubicBezTo>
                    <a:pt x="195" y="337"/>
                    <a:pt x="570" y="236"/>
                    <a:pt x="570" y="507"/>
                  </a:cubicBezTo>
                  <a:cubicBezTo>
                    <a:pt x="570" y="672"/>
                    <a:pt x="413" y="730"/>
                    <a:pt x="271" y="730"/>
                  </a:cubicBezTo>
                  <a:cubicBezTo>
                    <a:pt x="163" y="730"/>
                    <a:pt x="71" y="702"/>
                    <a:pt x="0" y="623"/>
                  </a:cubicBezTo>
                  <a:cubicBezTo>
                    <a:pt x="116" y="514"/>
                    <a:pt x="116" y="514"/>
                    <a:pt x="116" y="514"/>
                  </a:cubicBezTo>
                  <a:cubicBezTo>
                    <a:pt x="161" y="563"/>
                    <a:pt x="207" y="600"/>
                    <a:pt x="281" y="600"/>
                  </a:cubicBezTo>
                  <a:cubicBezTo>
                    <a:pt x="331" y="600"/>
                    <a:pt x="397" y="575"/>
                    <a:pt x="397" y="520"/>
                  </a:cubicBezTo>
                  <a:cubicBezTo>
                    <a:pt x="397" y="376"/>
                    <a:pt x="21" y="489"/>
                    <a:pt x="21" y="224"/>
                  </a:cubicBezTo>
                  <a:cubicBezTo>
                    <a:pt x="21" y="69"/>
                    <a:pt x="161" y="0"/>
                    <a:pt x="301" y="0"/>
                  </a:cubicBezTo>
                  <a:cubicBezTo>
                    <a:pt x="394" y="0"/>
                    <a:pt x="492" y="29"/>
                    <a:pt x="549" y="106"/>
                  </a:cubicBezTo>
                  <a:lnTo>
                    <a:pt x="433" y="2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5" name="Freeform 21"/>
            <p:cNvSpPr>
              <a:spLocks noSelect="1"/>
            </p:cNvSpPr>
            <p:nvPr/>
          </p:nvSpPr>
          <p:spPr bwMode="black">
            <a:xfrm>
              <a:off x="1679575" y="560388"/>
              <a:ext cx="114300" cy="203200"/>
            </a:xfrm>
            <a:custGeom>
              <a:avLst/>
              <a:gdLst/>
              <a:ahLst/>
              <a:cxnLst>
                <a:cxn ang="0">
                  <a:pos x="0" y="349"/>
                </a:cxn>
                <a:cxn ang="0">
                  <a:pos x="0" y="201"/>
                </a:cxn>
                <a:cxn ang="0">
                  <a:pos x="143" y="201"/>
                </a:cxn>
                <a:cxn ang="0">
                  <a:pos x="143" y="0"/>
                </a:cxn>
                <a:cxn ang="0">
                  <a:pos x="317" y="0"/>
                </a:cxn>
                <a:cxn ang="0">
                  <a:pos x="317" y="201"/>
                </a:cxn>
                <a:cxn ang="0">
                  <a:pos x="509" y="201"/>
                </a:cxn>
                <a:cxn ang="0">
                  <a:pos x="509" y="349"/>
                </a:cxn>
                <a:cxn ang="0">
                  <a:pos x="317" y="349"/>
                </a:cxn>
                <a:cxn ang="0">
                  <a:pos x="317" y="653"/>
                </a:cxn>
                <a:cxn ang="0">
                  <a:pos x="414" y="766"/>
                </a:cxn>
                <a:cxn ang="0">
                  <a:pos x="509" y="744"/>
                </a:cxn>
                <a:cxn ang="0">
                  <a:pos x="509" y="891"/>
                </a:cxn>
                <a:cxn ang="0">
                  <a:pos x="371" y="914"/>
                </a:cxn>
                <a:cxn ang="0">
                  <a:pos x="143" y="668"/>
                </a:cxn>
                <a:cxn ang="0">
                  <a:pos x="143" y="349"/>
                </a:cxn>
                <a:cxn ang="0">
                  <a:pos x="0" y="349"/>
                </a:cxn>
              </a:cxnLst>
              <a:rect l="0" t="0" r="r" b="b"/>
              <a:pathLst>
                <a:path w="509"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9" y="201"/>
                    <a:pt x="509" y="201"/>
                    <a:pt x="509" y="201"/>
                  </a:cubicBezTo>
                  <a:cubicBezTo>
                    <a:pt x="509" y="349"/>
                    <a:pt x="509" y="349"/>
                    <a:pt x="509" y="349"/>
                  </a:cubicBezTo>
                  <a:cubicBezTo>
                    <a:pt x="317" y="349"/>
                    <a:pt x="317" y="349"/>
                    <a:pt x="317" y="349"/>
                  </a:cubicBezTo>
                  <a:cubicBezTo>
                    <a:pt x="317" y="653"/>
                    <a:pt x="317" y="653"/>
                    <a:pt x="317" y="653"/>
                  </a:cubicBezTo>
                  <a:cubicBezTo>
                    <a:pt x="317" y="723"/>
                    <a:pt x="338" y="766"/>
                    <a:pt x="414" y="766"/>
                  </a:cubicBezTo>
                  <a:cubicBezTo>
                    <a:pt x="445" y="766"/>
                    <a:pt x="487" y="760"/>
                    <a:pt x="509" y="744"/>
                  </a:cubicBezTo>
                  <a:cubicBezTo>
                    <a:pt x="509" y="891"/>
                    <a:pt x="509" y="891"/>
                    <a:pt x="509" y="891"/>
                  </a:cubicBezTo>
                  <a:cubicBezTo>
                    <a:pt x="472" y="908"/>
                    <a:pt x="412" y="914"/>
                    <a:pt x="371" y="914"/>
                  </a:cubicBezTo>
                  <a:cubicBezTo>
                    <a:pt x="187"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6" name="Freeform 22"/>
            <p:cNvSpPr>
              <a:spLocks noSelect="1"/>
            </p:cNvSpPr>
            <p:nvPr/>
          </p:nvSpPr>
          <p:spPr bwMode="black">
            <a:xfrm>
              <a:off x="1816100" y="600076"/>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6" y="529"/>
                    <a:pt x="264" y="591"/>
                    <a:pt x="361" y="591"/>
                  </a:cubicBezTo>
                  <a:cubicBezTo>
                    <a:pt x="448" y="591"/>
                    <a:pt x="504" y="550"/>
                    <a:pt x="548" y="497"/>
                  </a:cubicBezTo>
                  <a:cubicBezTo>
                    <a:pt x="672" y="591"/>
                    <a:pt x="672" y="591"/>
                    <a:pt x="672" y="591"/>
                  </a:cubicBezTo>
                  <a:cubicBezTo>
                    <a:pt x="591" y="691"/>
                    <a:pt x="488" y="730"/>
                    <a:pt x="378" y="730"/>
                  </a:cubicBezTo>
                  <a:cubicBezTo>
                    <a:pt x="168" y="730"/>
                    <a:pt x="0" y="584"/>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7" name="Freeform 23"/>
            <p:cNvSpPr>
              <a:spLocks noSelect="1"/>
            </p:cNvSpPr>
            <p:nvPr/>
          </p:nvSpPr>
          <p:spPr bwMode="black">
            <a:xfrm>
              <a:off x="2009775" y="600076"/>
              <a:ext cx="98425" cy="160338"/>
            </a:xfrm>
            <a:custGeom>
              <a:avLst/>
              <a:gdLst/>
              <a:ahLst/>
              <a:cxnLst>
                <a:cxn ang="0">
                  <a:pos x="0" y="17"/>
                </a:cxn>
                <a:cxn ang="0">
                  <a:pos x="174" y="17"/>
                </a:cxn>
                <a:cxn ang="0">
                  <a:pos x="174" y="127"/>
                </a:cxn>
                <a:cxn ang="0">
                  <a:pos x="177" y="127"/>
                </a:cxn>
                <a:cxn ang="0">
                  <a:pos x="383" y="0"/>
                </a:cxn>
                <a:cxn ang="0">
                  <a:pos x="445" y="10"/>
                </a:cxn>
                <a:cxn ang="0">
                  <a:pos x="445" y="178"/>
                </a:cxn>
                <a:cxn ang="0">
                  <a:pos x="361" y="165"/>
                </a:cxn>
                <a:cxn ang="0">
                  <a:pos x="174" y="340"/>
                </a:cxn>
                <a:cxn ang="0">
                  <a:pos x="174" y="713"/>
                </a:cxn>
                <a:cxn ang="0">
                  <a:pos x="0" y="713"/>
                </a:cxn>
                <a:cxn ang="0">
                  <a:pos x="0" y="17"/>
                </a:cxn>
              </a:cxnLst>
              <a:rect l="0" t="0" r="r" b="b"/>
              <a:pathLst>
                <a:path w="445" h="713">
                  <a:moveTo>
                    <a:pt x="0" y="17"/>
                  </a:moveTo>
                  <a:cubicBezTo>
                    <a:pt x="174" y="17"/>
                    <a:pt x="174" y="17"/>
                    <a:pt x="174" y="17"/>
                  </a:cubicBezTo>
                  <a:cubicBezTo>
                    <a:pt x="174" y="127"/>
                    <a:pt x="174" y="127"/>
                    <a:pt x="174" y="127"/>
                  </a:cubicBezTo>
                  <a:cubicBezTo>
                    <a:pt x="177" y="127"/>
                    <a:pt x="177" y="127"/>
                    <a:pt x="177" y="127"/>
                  </a:cubicBezTo>
                  <a:cubicBezTo>
                    <a:pt x="215" y="48"/>
                    <a:pt x="292" y="0"/>
                    <a:pt x="383" y="0"/>
                  </a:cubicBezTo>
                  <a:cubicBezTo>
                    <a:pt x="405" y="0"/>
                    <a:pt x="425" y="4"/>
                    <a:pt x="445" y="10"/>
                  </a:cubicBezTo>
                  <a:cubicBezTo>
                    <a:pt x="445" y="178"/>
                    <a:pt x="445" y="178"/>
                    <a:pt x="445" y="178"/>
                  </a:cubicBezTo>
                  <a:cubicBezTo>
                    <a:pt x="416" y="171"/>
                    <a:pt x="389" y="165"/>
                    <a:pt x="361" y="165"/>
                  </a:cubicBezTo>
                  <a:cubicBezTo>
                    <a:pt x="198" y="165"/>
                    <a:pt x="174" y="303"/>
                    <a:pt x="174" y="340"/>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8" name="Freeform 24"/>
            <p:cNvSpPr>
              <a:spLocks noSelect="1"/>
            </p:cNvSpPr>
            <p:nvPr/>
          </p:nvSpPr>
          <p:spPr bwMode="black">
            <a:xfrm>
              <a:off x="2122488" y="515938"/>
              <a:ext cx="166688" cy="247650"/>
            </a:xfrm>
            <a:custGeom>
              <a:avLst/>
              <a:gdLst/>
              <a:ahLst/>
              <a:cxnLst>
                <a:cxn ang="0">
                  <a:pos x="585" y="991"/>
                </a:cxn>
                <a:cxn ang="0">
                  <a:pos x="582" y="991"/>
                </a:cxn>
                <a:cxn ang="0">
                  <a:pos x="343" y="1113"/>
                </a:cxn>
                <a:cxn ang="0">
                  <a:pos x="0" y="748"/>
                </a:cxn>
                <a:cxn ang="0">
                  <a:pos x="336" y="383"/>
                </a:cxn>
                <a:cxn ang="0">
                  <a:pos x="572" y="489"/>
                </a:cxn>
                <a:cxn ang="0">
                  <a:pos x="576" y="489"/>
                </a:cxn>
                <a:cxn ang="0">
                  <a:pos x="576" y="0"/>
                </a:cxn>
                <a:cxn ang="0">
                  <a:pos x="750" y="0"/>
                </a:cxn>
                <a:cxn ang="0">
                  <a:pos x="750" y="1096"/>
                </a:cxn>
                <a:cxn ang="0">
                  <a:pos x="585" y="1096"/>
                </a:cxn>
                <a:cxn ang="0">
                  <a:pos x="585" y="991"/>
                </a:cxn>
                <a:cxn ang="0">
                  <a:pos x="378" y="956"/>
                </a:cxn>
                <a:cxn ang="0">
                  <a:pos x="582" y="748"/>
                </a:cxn>
                <a:cxn ang="0">
                  <a:pos x="378" y="539"/>
                </a:cxn>
                <a:cxn ang="0">
                  <a:pos x="174" y="748"/>
                </a:cxn>
                <a:cxn ang="0">
                  <a:pos x="378" y="956"/>
                </a:cxn>
              </a:cxnLst>
              <a:rect l="0" t="0" r="r" b="b"/>
              <a:pathLst>
                <a:path w="750" h="1113">
                  <a:moveTo>
                    <a:pt x="585" y="991"/>
                  </a:moveTo>
                  <a:cubicBezTo>
                    <a:pt x="582" y="991"/>
                    <a:pt x="582" y="991"/>
                    <a:pt x="582" y="991"/>
                  </a:cubicBezTo>
                  <a:cubicBezTo>
                    <a:pt x="531" y="1075"/>
                    <a:pt x="440" y="1113"/>
                    <a:pt x="343" y="1113"/>
                  </a:cubicBezTo>
                  <a:cubicBezTo>
                    <a:pt x="129" y="1113"/>
                    <a:pt x="0" y="954"/>
                    <a:pt x="0" y="748"/>
                  </a:cubicBezTo>
                  <a:cubicBezTo>
                    <a:pt x="0" y="542"/>
                    <a:pt x="137" y="383"/>
                    <a:pt x="336" y="383"/>
                  </a:cubicBezTo>
                  <a:cubicBezTo>
                    <a:pt x="466" y="383"/>
                    <a:pt x="536" y="444"/>
                    <a:pt x="572" y="489"/>
                  </a:cubicBezTo>
                  <a:cubicBezTo>
                    <a:pt x="576" y="489"/>
                    <a:pt x="576" y="489"/>
                    <a:pt x="576" y="489"/>
                  </a:cubicBezTo>
                  <a:cubicBezTo>
                    <a:pt x="576" y="0"/>
                    <a:pt x="576" y="0"/>
                    <a:pt x="576" y="0"/>
                  </a:cubicBezTo>
                  <a:cubicBezTo>
                    <a:pt x="750" y="0"/>
                    <a:pt x="750" y="0"/>
                    <a:pt x="750" y="0"/>
                  </a:cubicBezTo>
                  <a:cubicBezTo>
                    <a:pt x="750" y="1096"/>
                    <a:pt x="750" y="1096"/>
                    <a:pt x="750" y="1096"/>
                  </a:cubicBezTo>
                  <a:cubicBezTo>
                    <a:pt x="585" y="1096"/>
                    <a:pt x="585" y="1096"/>
                    <a:pt x="585" y="1096"/>
                  </a:cubicBezTo>
                  <a:lnTo>
                    <a:pt x="585" y="991"/>
                  </a:lnTo>
                  <a:close/>
                  <a:moveTo>
                    <a:pt x="378" y="956"/>
                  </a:moveTo>
                  <a:cubicBezTo>
                    <a:pt x="505" y="956"/>
                    <a:pt x="582" y="857"/>
                    <a:pt x="582" y="748"/>
                  </a:cubicBezTo>
                  <a:cubicBezTo>
                    <a:pt x="582" y="639"/>
                    <a:pt x="505" y="539"/>
                    <a:pt x="378" y="539"/>
                  </a:cubicBezTo>
                  <a:cubicBezTo>
                    <a:pt x="250" y="539"/>
                    <a:pt x="174" y="639"/>
                    <a:pt x="174" y="748"/>
                  </a:cubicBezTo>
                  <a:cubicBezTo>
                    <a:pt x="174" y="857"/>
                    <a:pt x="250" y="956"/>
                    <a:pt x="378" y="956"/>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29" name="Freeform 25"/>
            <p:cNvSpPr>
              <a:spLocks noSelect="1"/>
            </p:cNvSpPr>
            <p:nvPr/>
          </p:nvSpPr>
          <p:spPr bwMode="black">
            <a:xfrm>
              <a:off x="2322513" y="600076"/>
              <a:ext cx="142875" cy="163513"/>
            </a:xfrm>
            <a:custGeom>
              <a:avLst/>
              <a:gdLst/>
              <a:ahLst/>
              <a:cxnLst>
                <a:cxn ang="0">
                  <a:pos x="481" y="617"/>
                </a:cxn>
                <a:cxn ang="0">
                  <a:pos x="477" y="617"/>
                </a:cxn>
                <a:cxn ang="0">
                  <a:pos x="254" y="730"/>
                </a:cxn>
                <a:cxn ang="0">
                  <a:pos x="0" y="521"/>
                </a:cxn>
                <a:cxn ang="0">
                  <a:pos x="437" y="279"/>
                </a:cxn>
                <a:cxn ang="0">
                  <a:pos x="481" y="279"/>
                </a:cxn>
                <a:cxn ang="0">
                  <a:pos x="481" y="261"/>
                </a:cxn>
                <a:cxn ang="0">
                  <a:pos x="322" y="130"/>
                </a:cxn>
                <a:cxn ang="0">
                  <a:pos x="136" y="203"/>
                </a:cxn>
                <a:cxn ang="0">
                  <a:pos x="45" y="111"/>
                </a:cxn>
                <a:cxn ang="0">
                  <a:pos x="340" y="0"/>
                </a:cxn>
                <a:cxn ang="0">
                  <a:pos x="637" y="313"/>
                </a:cxn>
                <a:cxn ang="0">
                  <a:pos x="637" y="713"/>
                </a:cxn>
                <a:cxn ang="0">
                  <a:pos x="481" y="713"/>
                </a:cxn>
                <a:cxn ang="0">
                  <a:pos x="481" y="617"/>
                </a:cxn>
                <a:cxn ang="0">
                  <a:pos x="471" y="401"/>
                </a:cxn>
                <a:cxn ang="0">
                  <a:pos x="435" y="401"/>
                </a:cxn>
                <a:cxn ang="0">
                  <a:pos x="174" y="508"/>
                </a:cxn>
                <a:cxn ang="0">
                  <a:pos x="295" y="600"/>
                </a:cxn>
                <a:cxn ang="0">
                  <a:pos x="471" y="440"/>
                </a:cxn>
                <a:cxn ang="0">
                  <a:pos x="471" y="401"/>
                </a:cxn>
              </a:cxnLst>
              <a:rect l="0" t="0" r="r" b="b"/>
              <a:pathLst>
                <a:path w="637" h="730">
                  <a:moveTo>
                    <a:pt x="481" y="617"/>
                  </a:moveTo>
                  <a:cubicBezTo>
                    <a:pt x="477" y="617"/>
                    <a:pt x="477" y="617"/>
                    <a:pt x="477" y="617"/>
                  </a:cubicBezTo>
                  <a:cubicBezTo>
                    <a:pt x="427" y="695"/>
                    <a:pt x="346" y="730"/>
                    <a:pt x="254" y="730"/>
                  </a:cubicBezTo>
                  <a:cubicBezTo>
                    <a:pt x="125" y="730"/>
                    <a:pt x="0" y="659"/>
                    <a:pt x="0" y="521"/>
                  </a:cubicBezTo>
                  <a:cubicBezTo>
                    <a:pt x="0" y="295"/>
                    <a:pt x="264" y="279"/>
                    <a:pt x="437" y="279"/>
                  </a:cubicBezTo>
                  <a:cubicBezTo>
                    <a:pt x="481" y="279"/>
                    <a:pt x="481" y="279"/>
                    <a:pt x="481" y="279"/>
                  </a:cubicBezTo>
                  <a:cubicBezTo>
                    <a:pt x="481" y="261"/>
                    <a:pt x="481" y="261"/>
                    <a:pt x="481" y="261"/>
                  </a:cubicBezTo>
                  <a:cubicBezTo>
                    <a:pt x="481" y="175"/>
                    <a:pt x="414" y="130"/>
                    <a:pt x="322" y="130"/>
                  </a:cubicBezTo>
                  <a:cubicBezTo>
                    <a:pt x="249" y="130"/>
                    <a:pt x="182" y="159"/>
                    <a:pt x="136" y="203"/>
                  </a:cubicBezTo>
                  <a:cubicBezTo>
                    <a:pt x="45" y="111"/>
                    <a:pt x="45" y="111"/>
                    <a:pt x="45" y="111"/>
                  </a:cubicBezTo>
                  <a:cubicBezTo>
                    <a:pt x="122" y="33"/>
                    <a:pt x="230" y="0"/>
                    <a:pt x="340" y="0"/>
                  </a:cubicBezTo>
                  <a:cubicBezTo>
                    <a:pt x="637" y="0"/>
                    <a:pt x="637" y="214"/>
                    <a:pt x="637" y="313"/>
                  </a:cubicBezTo>
                  <a:cubicBezTo>
                    <a:pt x="637" y="713"/>
                    <a:pt x="637" y="713"/>
                    <a:pt x="637" y="713"/>
                  </a:cubicBezTo>
                  <a:cubicBezTo>
                    <a:pt x="481" y="713"/>
                    <a:pt x="481" y="713"/>
                    <a:pt x="481" y="713"/>
                  </a:cubicBezTo>
                  <a:lnTo>
                    <a:pt x="481" y="617"/>
                  </a:lnTo>
                  <a:close/>
                  <a:moveTo>
                    <a:pt x="471" y="401"/>
                  </a:moveTo>
                  <a:cubicBezTo>
                    <a:pt x="435" y="401"/>
                    <a:pt x="435" y="401"/>
                    <a:pt x="435" y="401"/>
                  </a:cubicBezTo>
                  <a:cubicBezTo>
                    <a:pt x="339" y="401"/>
                    <a:pt x="174" y="408"/>
                    <a:pt x="174" y="508"/>
                  </a:cubicBezTo>
                  <a:cubicBezTo>
                    <a:pt x="174" y="572"/>
                    <a:pt x="239" y="600"/>
                    <a:pt x="295" y="600"/>
                  </a:cubicBezTo>
                  <a:cubicBezTo>
                    <a:pt x="414" y="600"/>
                    <a:pt x="471" y="537"/>
                    <a:pt x="471" y="440"/>
                  </a:cubicBezTo>
                  <a:lnTo>
                    <a:pt x="471" y="40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0" name="Freeform 26"/>
            <p:cNvSpPr>
              <a:spLocks noSelect="1"/>
            </p:cNvSpPr>
            <p:nvPr/>
          </p:nvSpPr>
          <p:spPr bwMode="black">
            <a:xfrm>
              <a:off x="2505075" y="600076"/>
              <a:ext cx="241300" cy="160338"/>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8"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6"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grpSp>
      <p:sp>
        <p:nvSpPr>
          <p:cNvPr id="2" name="Titel 1"/>
          <p:cNvSpPr>
            <a:spLocks noGrp="1" noSelect="1"/>
          </p:cNvSpPr>
          <p:nvPr userDrawn="1">
            <p:ph type="ctrTitle" hasCustomPrompt="1"/>
          </p:nvPr>
        </p:nvSpPr>
        <p:spPr bwMode="gray">
          <a:xfrm>
            <a:off x="1308060" y="1750071"/>
            <a:ext cx="9792000" cy="1836000"/>
          </a:xfrm>
        </p:spPr>
        <p:txBody>
          <a:bodyPr anchor="t" anchorCtr="0"/>
          <a:lstStyle>
            <a:lvl1pPr algn="l">
              <a:defRPr sz="5500">
                <a:solidFill>
                  <a:schemeClr val="bg1"/>
                </a:solidFill>
              </a:defRPr>
            </a:lvl1pPr>
          </a:lstStyle>
          <a:p>
            <a:r>
              <a:rPr lang="nl-NL" noProof="1"/>
              <a:t>Titel</a:t>
            </a:r>
          </a:p>
        </p:txBody>
      </p:sp>
      <p:sp>
        <p:nvSpPr>
          <p:cNvPr id="3" name="Ondertitel 2"/>
          <p:cNvSpPr>
            <a:spLocks noGrp="1" noSelect="1"/>
          </p:cNvSpPr>
          <p:nvPr userDrawn="1">
            <p:ph type="subTitle" idx="1" hasCustomPrompt="1"/>
          </p:nvPr>
        </p:nvSpPr>
        <p:spPr bwMode="gray">
          <a:xfrm>
            <a:off x="1308060" y="3594908"/>
            <a:ext cx="9792000" cy="1752600"/>
          </a:xfrm>
        </p:spPr>
        <p:txBody>
          <a:bodyPr/>
          <a:lstStyle>
            <a:lvl1pPr marL="0" indent="0" algn="l">
              <a:buNone/>
              <a:defRPr sz="3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jaar / subtitel</a:t>
            </a:r>
          </a:p>
        </p:txBody>
      </p:sp>
      <p:sp>
        <p:nvSpPr>
          <p:cNvPr id="4" name="***Tijdelijke aanduiding voor datum 3"/>
          <p:cNvSpPr>
            <a:spLocks noGrp="1" noSelect="1"/>
          </p:cNvSpPr>
          <p:nvPr userDrawn="1">
            <p:ph type="dt" sz="half" idx="10"/>
          </p:nvPr>
        </p:nvSpPr>
        <p:spPr bwMode="gray">
          <a:xfrm>
            <a:off x="1182800" y="6357010"/>
            <a:ext cx="2844800" cy="365125"/>
          </a:xfrm>
          <a:prstGeom prst="rect">
            <a:avLst/>
          </a:prstGeom>
        </p:spPr>
        <p:txBody>
          <a:bodyPr/>
          <a:lstStyle>
            <a:lvl1pPr algn="l">
              <a:defRPr sz="1750" b="1">
                <a:solidFill>
                  <a:schemeClr val="bg1"/>
                </a:solidFill>
              </a:defRPr>
            </a:lvl1pPr>
          </a:lstStyle>
          <a:p>
            <a:endParaRPr lang="nl-NL" noProof="1"/>
          </a:p>
        </p:txBody>
      </p:sp>
    </p:spTree>
    <p:extLst>
      <p:ext uri="{BB962C8B-B14F-4D97-AF65-F5344CB8AC3E}">
        <p14:creationId xmlns:p14="http://schemas.microsoft.com/office/powerpoint/2010/main" val="7503743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type="title" preserve="1">
  <p:cSld name="Tussendia">
    <p:spTree>
      <p:nvGrpSpPr>
        <p:cNvPr id="1" name=""/>
        <p:cNvGrpSpPr/>
        <p:nvPr/>
      </p:nvGrpSpPr>
      <p:grpSpPr>
        <a:xfrm>
          <a:off x="0" y="0"/>
          <a:ext cx="0" cy="0"/>
          <a:chOff x="0" y="0"/>
          <a:chExt cx="0" cy="0"/>
        </a:xfrm>
      </p:grpSpPr>
      <p:sp>
        <p:nvSpPr>
          <p:cNvPr id="9" name="Rectangle 5"/>
          <p:cNvSpPr>
            <a:spLocks noSelect="1" noChangeArrowheads="1"/>
          </p:cNvSpPr>
          <p:nvPr/>
        </p:nvSpPr>
        <p:spPr bwMode="ltGray">
          <a:xfrm>
            <a:off x="0" y="1589"/>
            <a:ext cx="12183533" cy="6854825"/>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0" name="Rectangle 6"/>
          <p:cNvSpPr>
            <a:spLocks noSelect="1" noChangeArrowheads="1"/>
          </p:cNvSpPr>
          <p:nvPr/>
        </p:nvSpPr>
        <p:spPr bwMode="white">
          <a:xfrm>
            <a:off x="0" y="1589"/>
            <a:ext cx="1049867" cy="68548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 name="Ondertitel 2"/>
          <p:cNvSpPr>
            <a:spLocks noGrp="1" noSelect="1"/>
          </p:cNvSpPr>
          <p:nvPr userDrawn="1">
            <p:ph type="subTitle" idx="1" hasCustomPrompt="1"/>
          </p:nvPr>
        </p:nvSpPr>
        <p:spPr bwMode="gray">
          <a:xfrm>
            <a:off x="1308060" y="2752261"/>
            <a:ext cx="9792000" cy="1752600"/>
          </a:xfrm>
        </p:spPr>
        <p:txBody>
          <a:bodyPr/>
          <a:lstStyle>
            <a:lvl1pPr marL="0" indent="0" algn="l">
              <a:buNone/>
              <a:defRPr sz="3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Subtitel</a:t>
            </a:r>
          </a:p>
        </p:txBody>
      </p:sp>
      <p:sp>
        <p:nvSpPr>
          <p:cNvPr id="2" name="Titel 1"/>
          <p:cNvSpPr>
            <a:spLocks noGrp="1" noSelect="1"/>
          </p:cNvSpPr>
          <p:nvPr userDrawn="1">
            <p:ph type="ctrTitle" hasCustomPrompt="1"/>
          </p:nvPr>
        </p:nvSpPr>
        <p:spPr bwMode="gray">
          <a:xfrm>
            <a:off x="1308060" y="1758950"/>
            <a:ext cx="9792000" cy="1039967"/>
          </a:xfrm>
        </p:spPr>
        <p:txBody>
          <a:bodyPr anchor="t" anchorCtr="0"/>
          <a:lstStyle>
            <a:lvl1pPr algn="l">
              <a:defRPr sz="5500">
                <a:solidFill>
                  <a:schemeClr val="bg1"/>
                </a:solidFill>
              </a:defRPr>
            </a:lvl1pPr>
          </a:lstStyle>
          <a:p>
            <a:r>
              <a:rPr lang="nl-NL" noProof="1"/>
              <a:t>Titel</a:t>
            </a:r>
          </a:p>
        </p:txBody>
      </p:sp>
      <p:grpSp>
        <p:nvGrpSpPr>
          <p:cNvPr id="31" name="Groep 4"/>
          <p:cNvGrpSpPr>
            <a:grpSpLocks noSelect="1"/>
          </p:cNvGrpSpPr>
          <p:nvPr userDrawn="1"/>
        </p:nvGrpSpPr>
        <p:grpSpPr bwMode="black">
          <a:xfrm>
            <a:off x="243417" y="163513"/>
            <a:ext cx="3418416" cy="1447800"/>
            <a:chOff x="182563" y="163513"/>
            <a:chExt cx="2563812" cy="1447800"/>
          </a:xfrm>
        </p:grpSpPr>
        <p:sp>
          <p:nvSpPr>
            <p:cNvPr id="32" name="Freeform 7"/>
            <p:cNvSpPr>
              <a:spLocks noSelect="1"/>
            </p:cNvSpPr>
            <p:nvPr/>
          </p:nvSpPr>
          <p:spPr bwMode="black">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3" name="Freeform 8"/>
            <p:cNvSpPr>
              <a:spLocks noSelect="1"/>
            </p:cNvSpPr>
            <p:nvPr/>
          </p:nvSpPr>
          <p:spPr bwMode="black">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4" name="Freeform 9"/>
            <p:cNvSpPr>
              <a:spLocks noSelect="1"/>
            </p:cNvSpPr>
            <p:nvPr/>
          </p:nvSpPr>
          <p:spPr bwMode="black">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5" name="Freeform 10"/>
            <p:cNvSpPr>
              <a:spLocks noSelect="1"/>
            </p:cNvSpPr>
            <p:nvPr/>
          </p:nvSpPr>
          <p:spPr bwMode="black">
            <a:xfrm>
              <a:off x="1031875" y="184151"/>
              <a:ext cx="214313" cy="241300"/>
            </a:xfrm>
            <a:custGeom>
              <a:avLst/>
              <a:gdLst/>
              <a:ahLst/>
              <a:cxnLst>
                <a:cxn ang="0">
                  <a:pos x="966" y="976"/>
                </a:cxn>
                <a:cxn ang="0">
                  <a:pos x="542" y="1077"/>
                </a:cxn>
                <a:cxn ang="0">
                  <a:pos x="0" y="543"/>
                </a:cxn>
                <a:cxn ang="0">
                  <a:pos x="542" y="0"/>
                </a:cxn>
                <a:cxn ang="0">
                  <a:pos x="946" y="129"/>
                </a:cxn>
                <a:cxn ang="0">
                  <a:pos x="811" y="265"/>
                </a:cxn>
                <a:cxn ang="0">
                  <a:pos x="543" y="165"/>
                </a:cxn>
                <a:cxn ang="0">
                  <a:pos x="191" y="531"/>
                </a:cxn>
                <a:cxn ang="0">
                  <a:pos x="543" y="912"/>
                </a:cxn>
                <a:cxn ang="0">
                  <a:pos x="784" y="859"/>
                </a:cxn>
                <a:cxn ang="0">
                  <a:pos x="784" y="617"/>
                </a:cxn>
                <a:cxn ang="0">
                  <a:pos x="574" y="617"/>
                </a:cxn>
                <a:cxn ang="0">
                  <a:pos x="574" y="452"/>
                </a:cxn>
                <a:cxn ang="0">
                  <a:pos x="966" y="452"/>
                </a:cxn>
                <a:cxn ang="0">
                  <a:pos x="966" y="976"/>
                </a:cxn>
              </a:cxnLst>
              <a:rect l="0" t="0" r="r" b="b"/>
              <a:pathLst>
                <a:path w="966" h="1077">
                  <a:moveTo>
                    <a:pt x="966" y="976"/>
                  </a:moveTo>
                  <a:cubicBezTo>
                    <a:pt x="842" y="1043"/>
                    <a:pt x="700" y="1077"/>
                    <a:pt x="542" y="1077"/>
                  </a:cubicBezTo>
                  <a:cubicBezTo>
                    <a:pt x="226" y="1077"/>
                    <a:pt x="0" y="863"/>
                    <a:pt x="0" y="543"/>
                  </a:cubicBezTo>
                  <a:cubicBezTo>
                    <a:pt x="0" y="214"/>
                    <a:pt x="226" y="0"/>
                    <a:pt x="542" y="0"/>
                  </a:cubicBezTo>
                  <a:cubicBezTo>
                    <a:pt x="698" y="0"/>
                    <a:pt x="839" y="33"/>
                    <a:pt x="946" y="129"/>
                  </a:cubicBezTo>
                  <a:cubicBezTo>
                    <a:pt x="811" y="265"/>
                    <a:pt x="811" y="265"/>
                    <a:pt x="811" y="265"/>
                  </a:cubicBezTo>
                  <a:cubicBezTo>
                    <a:pt x="746" y="201"/>
                    <a:pt x="646" y="165"/>
                    <a:pt x="543" y="165"/>
                  </a:cubicBezTo>
                  <a:cubicBezTo>
                    <a:pt x="332" y="165"/>
                    <a:pt x="191" y="327"/>
                    <a:pt x="191" y="531"/>
                  </a:cubicBezTo>
                  <a:cubicBezTo>
                    <a:pt x="191" y="750"/>
                    <a:pt x="332" y="912"/>
                    <a:pt x="543" y="912"/>
                  </a:cubicBezTo>
                  <a:cubicBezTo>
                    <a:pt x="636" y="912"/>
                    <a:pt x="720" y="895"/>
                    <a:pt x="784" y="859"/>
                  </a:cubicBezTo>
                  <a:cubicBezTo>
                    <a:pt x="784" y="617"/>
                    <a:pt x="784" y="617"/>
                    <a:pt x="784" y="617"/>
                  </a:cubicBezTo>
                  <a:cubicBezTo>
                    <a:pt x="574" y="617"/>
                    <a:pt x="574" y="617"/>
                    <a:pt x="574" y="617"/>
                  </a:cubicBezTo>
                  <a:cubicBezTo>
                    <a:pt x="574" y="452"/>
                    <a:pt x="574" y="452"/>
                    <a:pt x="574" y="452"/>
                  </a:cubicBezTo>
                  <a:cubicBezTo>
                    <a:pt x="966" y="452"/>
                    <a:pt x="966" y="452"/>
                    <a:pt x="966" y="452"/>
                  </a:cubicBezTo>
                  <a:lnTo>
                    <a:pt x="966" y="9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6" name="Freeform 11"/>
            <p:cNvSpPr>
              <a:spLocks noSelect="1"/>
            </p:cNvSpPr>
            <p:nvPr/>
          </p:nvSpPr>
          <p:spPr bwMode="black">
            <a:xfrm>
              <a:off x="1284288" y="260351"/>
              <a:ext cx="157163" cy="163513"/>
            </a:xfrm>
            <a:custGeom>
              <a:avLst/>
              <a:gdLst/>
              <a:ahLst/>
              <a:cxnLst>
                <a:cxn ang="0">
                  <a:pos x="174" y="426"/>
                </a:cxn>
                <a:cxn ang="0">
                  <a:pos x="361"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1"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7" name="Freeform 12"/>
            <p:cNvSpPr>
              <a:spLocks noSelect="1"/>
            </p:cNvSpPr>
            <p:nvPr/>
          </p:nvSpPr>
          <p:spPr bwMode="black">
            <a:xfrm>
              <a:off x="1476375" y="260351"/>
              <a:ext cx="239713" cy="158750"/>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2"/>
                </a:cxn>
                <a:cxn ang="0">
                  <a:pos x="904" y="712"/>
                </a:cxn>
                <a:cxn ang="0">
                  <a:pos x="904" y="318"/>
                </a:cxn>
                <a:cxn ang="0">
                  <a:pos x="775" y="156"/>
                </a:cxn>
                <a:cxn ang="0">
                  <a:pos x="626" y="336"/>
                </a:cxn>
                <a:cxn ang="0">
                  <a:pos x="626" y="712"/>
                </a:cxn>
                <a:cxn ang="0">
                  <a:pos x="452" y="712"/>
                </a:cxn>
                <a:cxn ang="0">
                  <a:pos x="452" y="298"/>
                </a:cxn>
                <a:cxn ang="0">
                  <a:pos x="333" y="156"/>
                </a:cxn>
                <a:cxn ang="0">
                  <a:pos x="174" y="333"/>
                </a:cxn>
                <a:cxn ang="0">
                  <a:pos x="174" y="712"/>
                </a:cxn>
                <a:cxn ang="0">
                  <a:pos x="0" y="712"/>
                </a:cxn>
                <a:cxn ang="0">
                  <a:pos x="0" y="17"/>
                </a:cxn>
              </a:cxnLst>
              <a:rect l="0" t="0" r="r" b="b"/>
              <a:pathLst>
                <a:path w="1078" h="712">
                  <a:moveTo>
                    <a:pt x="0" y="17"/>
                  </a:moveTo>
                  <a:cubicBezTo>
                    <a:pt x="165" y="17"/>
                    <a:pt x="165" y="17"/>
                    <a:pt x="165" y="17"/>
                  </a:cubicBezTo>
                  <a:cubicBezTo>
                    <a:pt x="165" y="126"/>
                    <a:pt x="165" y="126"/>
                    <a:pt x="165" y="126"/>
                  </a:cubicBezTo>
                  <a:cubicBezTo>
                    <a:pt x="168" y="126"/>
                    <a:pt x="168" y="126"/>
                    <a:pt x="168" y="126"/>
                  </a:cubicBezTo>
                  <a:cubicBezTo>
                    <a:pt x="198" y="61"/>
                    <a:pt x="265" y="0"/>
                    <a:pt x="381" y="0"/>
                  </a:cubicBezTo>
                  <a:cubicBezTo>
                    <a:pt x="488" y="0"/>
                    <a:pt x="562" y="42"/>
                    <a:pt x="598" y="129"/>
                  </a:cubicBezTo>
                  <a:cubicBezTo>
                    <a:pt x="649" y="40"/>
                    <a:pt x="723" y="0"/>
                    <a:pt x="827" y="0"/>
                  </a:cubicBezTo>
                  <a:cubicBezTo>
                    <a:pt x="1013" y="0"/>
                    <a:pt x="1078" y="132"/>
                    <a:pt x="1078" y="298"/>
                  </a:cubicBezTo>
                  <a:cubicBezTo>
                    <a:pt x="1078" y="712"/>
                    <a:pt x="1078" y="712"/>
                    <a:pt x="1078" y="712"/>
                  </a:cubicBezTo>
                  <a:cubicBezTo>
                    <a:pt x="904" y="712"/>
                    <a:pt x="904" y="712"/>
                    <a:pt x="904" y="712"/>
                  </a:cubicBezTo>
                  <a:cubicBezTo>
                    <a:pt x="904" y="318"/>
                    <a:pt x="904" y="318"/>
                    <a:pt x="904" y="318"/>
                  </a:cubicBezTo>
                  <a:cubicBezTo>
                    <a:pt x="904" y="231"/>
                    <a:pt x="878" y="156"/>
                    <a:pt x="775" y="156"/>
                  </a:cubicBezTo>
                  <a:cubicBezTo>
                    <a:pt x="666" y="156"/>
                    <a:pt x="626" y="246"/>
                    <a:pt x="626" y="336"/>
                  </a:cubicBezTo>
                  <a:cubicBezTo>
                    <a:pt x="626" y="712"/>
                    <a:pt x="626" y="712"/>
                    <a:pt x="626" y="712"/>
                  </a:cubicBezTo>
                  <a:cubicBezTo>
                    <a:pt x="452" y="712"/>
                    <a:pt x="452" y="712"/>
                    <a:pt x="452" y="712"/>
                  </a:cubicBezTo>
                  <a:cubicBezTo>
                    <a:pt x="452" y="298"/>
                    <a:pt x="452" y="298"/>
                    <a:pt x="452" y="298"/>
                  </a:cubicBezTo>
                  <a:cubicBezTo>
                    <a:pt x="452" y="213"/>
                    <a:pt x="417"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8" name="Freeform 13"/>
            <p:cNvSpPr>
              <a:spLocks noSelect="1"/>
            </p:cNvSpPr>
            <p:nvPr/>
          </p:nvSpPr>
          <p:spPr bwMode="black">
            <a:xfrm>
              <a:off x="1751013" y="260351"/>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5" y="528"/>
                    <a:pt x="264" y="591"/>
                    <a:pt x="361" y="591"/>
                  </a:cubicBezTo>
                  <a:cubicBezTo>
                    <a:pt x="448" y="591"/>
                    <a:pt x="504" y="550"/>
                    <a:pt x="548"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9" name="Freeform 14"/>
            <p:cNvSpPr>
              <a:spLocks noSelect="1"/>
            </p:cNvSpPr>
            <p:nvPr/>
          </p:nvSpPr>
          <p:spPr bwMode="black">
            <a:xfrm>
              <a:off x="1936750" y="260351"/>
              <a:ext cx="157163" cy="163513"/>
            </a:xfrm>
            <a:custGeom>
              <a:avLst/>
              <a:gdLst/>
              <a:ahLst/>
              <a:cxnLst>
                <a:cxn ang="0">
                  <a:pos x="174" y="426"/>
                </a:cxn>
                <a:cxn ang="0">
                  <a:pos x="360"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8"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0" name="Freeform 15"/>
            <p:cNvSpPr>
              <a:spLocks noSelect="1"/>
            </p:cNvSpPr>
            <p:nvPr/>
          </p:nvSpPr>
          <p:spPr bwMode="black">
            <a:xfrm>
              <a:off x="2128838" y="260351"/>
              <a:ext cx="142875" cy="158750"/>
            </a:xfrm>
            <a:custGeom>
              <a:avLst/>
              <a:gdLst/>
              <a:ahLst/>
              <a:cxnLst>
                <a:cxn ang="0">
                  <a:pos x="0" y="17"/>
                </a:cxn>
                <a:cxn ang="0">
                  <a:pos x="165" y="17"/>
                </a:cxn>
                <a:cxn ang="0">
                  <a:pos x="165" y="129"/>
                </a:cxn>
                <a:cxn ang="0">
                  <a:pos x="168" y="129"/>
                </a:cxn>
                <a:cxn ang="0">
                  <a:pos x="381" y="0"/>
                </a:cxn>
                <a:cxn ang="0">
                  <a:pos x="635" y="273"/>
                </a:cxn>
                <a:cxn ang="0">
                  <a:pos x="635" y="712"/>
                </a:cxn>
                <a:cxn ang="0">
                  <a:pos x="461" y="712"/>
                </a:cxn>
                <a:cxn ang="0">
                  <a:pos x="461" y="360"/>
                </a:cxn>
                <a:cxn ang="0">
                  <a:pos x="333" y="156"/>
                </a:cxn>
                <a:cxn ang="0">
                  <a:pos x="174" y="333"/>
                </a:cxn>
                <a:cxn ang="0">
                  <a:pos x="174" y="712"/>
                </a:cxn>
                <a:cxn ang="0">
                  <a:pos x="0" y="712"/>
                </a:cxn>
                <a:cxn ang="0">
                  <a:pos x="0" y="17"/>
                </a:cxn>
              </a:cxnLst>
              <a:rect l="0" t="0" r="r" b="b"/>
              <a:pathLst>
                <a:path w="635" h="712">
                  <a:moveTo>
                    <a:pt x="0" y="17"/>
                  </a:moveTo>
                  <a:cubicBezTo>
                    <a:pt x="165" y="17"/>
                    <a:pt x="165" y="17"/>
                    <a:pt x="165" y="17"/>
                  </a:cubicBezTo>
                  <a:cubicBezTo>
                    <a:pt x="165" y="129"/>
                    <a:pt x="165" y="129"/>
                    <a:pt x="165" y="129"/>
                  </a:cubicBezTo>
                  <a:cubicBezTo>
                    <a:pt x="168" y="129"/>
                    <a:pt x="168" y="129"/>
                    <a:pt x="168" y="129"/>
                  </a:cubicBezTo>
                  <a:cubicBezTo>
                    <a:pt x="200" y="59"/>
                    <a:pt x="265" y="0"/>
                    <a:pt x="381" y="0"/>
                  </a:cubicBezTo>
                  <a:cubicBezTo>
                    <a:pt x="568" y="0"/>
                    <a:pt x="635" y="132"/>
                    <a:pt x="635" y="273"/>
                  </a:cubicBezTo>
                  <a:cubicBezTo>
                    <a:pt x="635" y="712"/>
                    <a:pt x="635" y="712"/>
                    <a:pt x="635" y="712"/>
                  </a:cubicBezTo>
                  <a:cubicBezTo>
                    <a:pt x="461" y="712"/>
                    <a:pt x="461" y="712"/>
                    <a:pt x="461" y="712"/>
                  </a:cubicBezTo>
                  <a:cubicBezTo>
                    <a:pt x="461" y="360"/>
                    <a:pt x="461" y="360"/>
                    <a:pt x="461" y="360"/>
                  </a:cubicBezTo>
                  <a:cubicBezTo>
                    <a:pt x="461" y="284"/>
                    <a:pt x="455"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1" name="Freeform 16"/>
            <p:cNvSpPr>
              <a:spLocks noSelect="1"/>
            </p:cNvSpPr>
            <p:nvPr/>
          </p:nvSpPr>
          <p:spPr bwMode="black">
            <a:xfrm>
              <a:off x="2297113" y="219076"/>
              <a:ext cx="112713" cy="204788"/>
            </a:xfrm>
            <a:custGeom>
              <a:avLst/>
              <a:gdLst/>
              <a:ahLst/>
              <a:cxnLst>
                <a:cxn ang="0">
                  <a:pos x="0" y="349"/>
                </a:cxn>
                <a:cxn ang="0">
                  <a:pos x="0" y="201"/>
                </a:cxn>
                <a:cxn ang="0">
                  <a:pos x="143" y="201"/>
                </a:cxn>
                <a:cxn ang="0">
                  <a:pos x="143" y="0"/>
                </a:cxn>
                <a:cxn ang="0">
                  <a:pos x="317" y="0"/>
                </a:cxn>
                <a:cxn ang="0">
                  <a:pos x="317" y="201"/>
                </a:cxn>
                <a:cxn ang="0">
                  <a:pos x="508" y="201"/>
                </a:cxn>
                <a:cxn ang="0">
                  <a:pos x="508" y="349"/>
                </a:cxn>
                <a:cxn ang="0">
                  <a:pos x="317" y="349"/>
                </a:cxn>
                <a:cxn ang="0">
                  <a:pos x="317" y="653"/>
                </a:cxn>
                <a:cxn ang="0">
                  <a:pos x="414" y="766"/>
                </a:cxn>
                <a:cxn ang="0">
                  <a:pos x="508" y="744"/>
                </a:cxn>
                <a:cxn ang="0">
                  <a:pos x="508" y="891"/>
                </a:cxn>
                <a:cxn ang="0">
                  <a:pos x="371" y="914"/>
                </a:cxn>
                <a:cxn ang="0">
                  <a:pos x="143" y="668"/>
                </a:cxn>
                <a:cxn ang="0">
                  <a:pos x="143" y="349"/>
                </a:cxn>
                <a:cxn ang="0">
                  <a:pos x="0" y="349"/>
                </a:cxn>
              </a:cxnLst>
              <a:rect l="0" t="0" r="r" b="b"/>
              <a:pathLst>
                <a:path w="508"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8" y="201"/>
                    <a:pt x="508" y="201"/>
                    <a:pt x="508" y="201"/>
                  </a:cubicBezTo>
                  <a:cubicBezTo>
                    <a:pt x="508" y="349"/>
                    <a:pt x="508" y="349"/>
                    <a:pt x="508" y="349"/>
                  </a:cubicBezTo>
                  <a:cubicBezTo>
                    <a:pt x="317" y="349"/>
                    <a:pt x="317" y="349"/>
                    <a:pt x="317" y="349"/>
                  </a:cubicBezTo>
                  <a:cubicBezTo>
                    <a:pt x="317" y="653"/>
                    <a:pt x="317" y="653"/>
                    <a:pt x="317" y="653"/>
                  </a:cubicBezTo>
                  <a:cubicBezTo>
                    <a:pt x="317" y="723"/>
                    <a:pt x="337" y="766"/>
                    <a:pt x="414" y="766"/>
                  </a:cubicBezTo>
                  <a:cubicBezTo>
                    <a:pt x="444" y="766"/>
                    <a:pt x="486" y="760"/>
                    <a:pt x="508" y="744"/>
                  </a:cubicBezTo>
                  <a:cubicBezTo>
                    <a:pt x="508" y="891"/>
                    <a:pt x="508" y="891"/>
                    <a:pt x="508" y="891"/>
                  </a:cubicBezTo>
                  <a:cubicBezTo>
                    <a:pt x="472" y="908"/>
                    <a:pt x="411" y="914"/>
                    <a:pt x="371" y="914"/>
                  </a:cubicBezTo>
                  <a:cubicBezTo>
                    <a:pt x="186"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2" name="Freeform 17"/>
            <p:cNvSpPr>
              <a:spLocks noSelect="1"/>
            </p:cNvSpPr>
            <p:nvPr/>
          </p:nvSpPr>
          <p:spPr bwMode="black">
            <a:xfrm>
              <a:off x="2433638" y="260351"/>
              <a:ext cx="157163" cy="163513"/>
            </a:xfrm>
            <a:custGeom>
              <a:avLst/>
              <a:gdLst/>
              <a:ahLst/>
              <a:cxnLst>
                <a:cxn ang="0">
                  <a:pos x="173" y="426"/>
                </a:cxn>
                <a:cxn ang="0">
                  <a:pos x="360" y="591"/>
                </a:cxn>
                <a:cxn ang="0">
                  <a:pos x="547" y="497"/>
                </a:cxn>
                <a:cxn ang="0">
                  <a:pos x="672" y="591"/>
                </a:cxn>
                <a:cxn ang="0">
                  <a:pos x="378" y="730"/>
                </a:cxn>
                <a:cxn ang="0">
                  <a:pos x="0" y="365"/>
                </a:cxn>
                <a:cxn ang="0">
                  <a:pos x="378" y="0"/>
                </a:cxn>
                <a:cxn ang="0">
                  <a:pos x="704" y="378"/>
                </a:cxn>
                <a:cxn ang="0">
                  <a:pos x="704" y="426"/>
                </a:cxn>
                <a:cxn ang="0">
                  <a:pos x="173" y="426"/>
                </a:cxn>
                <a:cxn ang="0">
                  <a:pos x="530" y="295"/>
                </a:cxn>
                <a:cxn ang="0">
                  <a:pos x="353" y="130"/>
                </a:cxn>
                <a:cxn ang="0">
                  <a:pos x="173" y="295"/>
                </a:cxn>
                <a:cxn ang="0">
                  <a:pos x="530" y="295"/>
                </a:cxn>
              </a:cxnLst>
              <a:rect l="0" t="0" r="r" b="b"/>
              <a:pathLst>
                <a:path w="704" h="730">
                  <a:moveTo>
                    <a:pt x="173"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3" y="426"/>
                  </a:lnTo>
                  <a:close/>
                  <a:moveTo>
                    <a:pt x="530" y="295"/>
                  </a:moveTo>
                  <a:cubicBezTo>
                    <a:pt x="528" y="194"/>
                    <a:pt x="462" y="130"/>
                    <a:pt x="353" y="130"/>
                  </a:cubicBezTo>
                  <a:cubicBezTo>
                    <a:pt x="250" y="130"/>
                    <a:pt x="186" y="195"/>
                    <a:pt x="173"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3" name="Freeform 18"/>
            <p:cNvSpPr>
              <a:spLocks noSelect="1"/>
            </p:cNvSpPr>
            <p:nvPr/>
          </p:nvSpPr>
          <p:spPr bwMode="black">
            <a:xfrm>
              <a:off x="1017588" y="530226"/>
              <a:ext cx="233363" cy="230188"/>
            </a:xfrm>
            <a:custGeom>
              <a:avLst/>
              <a:gdLst/>
              <a:ahLst/>
              <a:cxnLst>
                <a:cxn ang="0">
                  <a:pos x="63" y="0"/>
                </a:cxn>
                <a:cxn ang="0">
                  <a:pos x="85" y="0"/>
                </a:cxn>
                <a:cxn ang="0">
                  <a:pos x="147" y="145"/>
                </a:cxn>
                <a:cxn ang="0">
                  <a:pos x="118" y="145"/>
                </a:cxn>
                <a:cxn ang="0">
                  <a:pos x="105" y="112"/>
                </a:cxn>
                <a:cxn ang="0">
                  <a:pos x="42" y="112"/>
                </a:cxn>
                <a:cxn ang="0">
                  <a:pos x="29" y="145"/>
                </a:cxn>
                <a:cxn ang="0">
                  <a:pos x="0" y="145"/>
                </a:cxn>
                <a:cxn ang="0">
                  <a:pos x="63" y="0"/>
                </a:cxn>
                <a:cxn ang="0">
                  <a:pos x="96" y="90"/>
                </a:cxn>
                <a:cxn ang="0">
                  <a:pos x="74" y="31"/>
                </a:cxn>
                <a:cxn ang="0">
                  <a:pos x="51" y="90"/>
                </a:cxn>
                <a:cxn ang="0">
                  <a:pos x="96" y="90"/>
                </a:cxn>
              </a:cxnLst>
              <a:rect l="0" t="0" r="r" b="b"/>
              <a:pathLst>
                <a:path w="147" h="145">
                  <a:moveTo>
                    <a:pt x="63" y="0"/>
                  </a:moveTo>
                  <a:lnTo>
                    <a:pt x="85" y="0"/>
                  </a:lnTo>
                  <a:lnTo>
                    <a:pt x="147" y="145"/>
                  </a:lnTo>
                  <a:lnTo>
                    <a:pt x="118" y="145"/>
                  </a:lnTo>
                  <a:lnTo>
                    <a:pt x="105" y="112"/>
                  </a:lnTo>
                  <a:lnTo>
                    <a:pt x="42" y="112"/>
                  </a:lnTo>
                  <a:lnTo>
                    <a:pt x="29" y="145"/>
                  </a:lnTo>
                  <a:lnTo>
                    <a:pt x="0" y="145"/>
                  </a:lnTo>
                  <a:lnTo>
                    <a:pt x="63" y="0"/>
                  </a:lnTo>
                  <a:close/>
                  <a:moveTo>
                    <a:pt x="96" y="90"/>
                  </a:moveTo>
                  <a:lnTo>
                    <a:pt x="74" y="31"/>
                  </a:lnTo>
                  <a:lnTo>
                    <a:pt x="51" y="90"/>
                  </a:lnTo>
                  <a:lnTo>
                    <a:pt x="96" y="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4" name="Freeform 19"/>
            <p:cNvSpPr>
              <a:spLocks noSelect="1"/>
            </p:cNvSpPr>
            <p:nvPr/>
          </p:nvSpPr>
          <p:spPr bwMode="black">
            <a:xfrm>
              <a:off x="1271588" y="600076"/>
              <a:ext cx="241300" cy="160338"/>
            </a:xfrm>
            <a:custGeom>
              <a:avLst/>
              <a:gdLst/>
              <a:ahLst/>
              <a:cxnLst>
                <a:cxn ang="0">
                  <a:pos x="0" y="17"/>
                </a:cxn>
                <a:cxn ang="0">
                  <a:pos x="165" y="17"/>
                </a:cxn>
                <a:cxn ang="0">
                  <a:pos x="165" y="126"/>
                </a:cxn>
                <a:cxn ang="0">
                  <a:pos x="168" y="126"/>
                </a:cxn>
                <a:cxn ang="0">
                  <a:pos x="381" y="0"/>
                </a:cxn>
                <a:cxn ang="0">
                  <a:pos x="599"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9"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7"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5" name="Freeform 20"/>
            <p:cNvSpPr>
              <a:spLocks noSelect="1"/>
            </p:cNvSpPr>
            <p:nvPr/>
          </p:nvSpPr>
          <p:spPr bwMode="black">
            <a:xfrm>
              <a:off x="1541463" y="600076"/>
              <a:ext cx="127000" cy="163513"/>
            </a:xfrm>
            <a:custGeom>
              <a:avLst/>
              <a:gdLst/>
              <a:ahLst/>
              <a:cxnLst>
                <a:cxn ang="0">
                  <a:pos x="433" y="210"/>
                </a:cxn>
                <a:cxn ang="0">
                  <a:pos x="297" y="139"/>
                </a:cxn>
                <a:cxn ang="0">
                  <a:pos x="195" y="213"/>
                </a:cxn>
                <a:cxn ang="0">
                  <a:pos x="570" y="507"/>
                </a:cxn>
                <a:cxn ang="0">
                  <a:pos x="271" y="730"/>
                </a:cxn>
                <a:cxn ang="0">
                  <a:pos x="0" y="623"/>
                </a:cxn>
                <a:cxn ang="0">
                  <a:pos x="116" y="514"/>
                </a:cxn>
                <a:cxn ang="0">
                  <a:pos x="281" y="600"/>
                </a:cxn>
                <a:cxn ang="0">
                  <a:pos x="397" y="520"/>
                </a:cxn>
                <a:cxn ang="0">
                  <a:pos x="21" y="224"/>
                </a:cxn>
                <a:cxn ang="0">
                  <a:pos x="301" y="0"/>
                </a:cxn>
                <a:cxn ang="0">
                  <a:pos x="549" y="106"/>
                </a:cxn>
                <a:cxn ang="0">
                  <a:pos x="433" y="210"/>
                </a:cxn>
              </a:cxnLst>
              <a:rect l="0" t="0" r="r" b="b"/>
              <a:pathLst>
                <a:path w="570" h="730">
                  <a:moveTo>
                    <a:pt x="433" y="210"/>
                  </a:moveTo>
                  <a:cubicBezTo>
                    <a:pt x="399" y="164"/>
                    <a:pt x="356" y="139"/>
                    <a:pt x="297" y="139"/>
                  </a:cubicBezTo>
                  <a:cubicBezTo>
                    <a:pt x="250" y="139"/>
                    <a:pt x="195" y="161"/>
                    <a:pt x="195" y="213"/>
                  </a:cubicBezTo>
                  <a:cubicBezTo>
                    <a:pt x="195" y="337"/>
                    <a:pt x="570" y="236"/>
                    <a:pt x="570" y="507"/>
                  </a:cubicBezTo>
                  <a:cubicBezTo>
                    <a:pt x="570" y="672"/>
                    <a:pt x="413" y="730"/>
                    <a:pt x="271" y="730"/>
                  </a:cubicBezTo>
                  <a:cubicBezTo>
                    <a:pt x="163" y="730"/>
                    <a:pt x="71" y="702"/>
                    <a:pt x="0" y="623"/>
                  </a:cubicBezTo>
                  <a:cubicBezTo>
                    <a:pt x="116" y="514"/>
                    <a:pt x="116" y="514"/>
                    <a:pt x="116" y="514"/>
                  </a:cubicBezTo>
                  <a:cubicBezTo>
                    <a:pt x="161" y="563"/>
                    <a:pt x="207" y="600"/>
                    <a:pt x="281" y="600"/>
                  </a:cubicBezTo>
                  <a:cubicBezTo>
                    <a:pt x="331" y="600"/>
                    <a:pt x="397" y="575"/>
                    <a:pt x="397" y="520"/>
                  </a:cubicBezTo>
                  <a:cubicBezTo>
                    <a:pt x="397" y="376"/>
                    <a:pt x="21" y="489"/>
                    <a:pt x="21" y="224"/>
                  </a:cubicBezTo>
                  <a:cubicBezTo>
                    <a:pt x="21" y="69"/>
                    <a:pt x="161" y="0"/>
                    <a:pt x="301" y="0"/>
                  </a:cubicBezTo>
                  <a:cubicBezTo>
                    <a:pt x="394" y="0"/>
                    <a:pt x="492" y="29"/>
                    <a:pt x="549" y="106"/>
                  </a:cubicBezTo>
                  <a:lnTo>
                    <a:pt x="433" y="2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6" name="Freeform 21"/>
            <p:cNvSpPr>
              <a:spLocks noSelect="1"/>
            </p:cNvSpPr>
            <p:nvPr/>
          </p:nvSpPr>
          <p:spPr bwMode="black">
            <a:xfrm>
              <a:off x="1679575" y="560388"/>
              <a:ext cx="114300" cy="203200"/>
            </a:xfrm>
            <a:custGeom>
              <a:avLst/>
              <a:gdLst/>
              <a:ahLst/>
              <a:cxnLst>
                <a:cxn ang="0">
                  <a:pos x="0" y="349"/>
                </a:cxn>
                <a:cxn ang="0">
                  <a:pos x="0" y="201"/>
                </a:cxn>
                <a:cxn ang="0">
                  <a:pos x="143" y="201"/>
                </a:cxn>
                <a:cxn ang="0">
                  <a:pos x="143" y="0"/>
                </a:cxn>
                <a:cxn ang="0">
                  <a:pos x="317" y="0"/>
                </a:cxn>
                <a:cxn ang="0">
                  <a:pos x="317" y="201"/>
                </a:cxn>
                <a:cxn ang="0">
                  <a:pos x="509" y="201"/>
                </a:cxn>
                <a:cxn ang="0">
                  <a:pos x="509" y="349"/>
                </a:cxn>
                <a:cxn ang="0">
                  <a:pos x="317" y="349"/>
                </a:cxn>
                <a:cxn ang="0">
                  <a:pos x="317" y="653"/>
                </a:cxn>
                <a:cxn ang="0">
                  <a:pos x="414" y="766"/>
                </a:cxn>
                <a:cxn ang="0">
                  <a:pos x="509" y="744"/>
                </a:cxn>
                <a:cxn ang="0">
                  <a:pos x="509" y="891"/>
                </a:cxn>
                <a:cxn ang="0">
                  <a:pos x="371" y="914"/>
                </a:cxn>
                <a:cxn ang="0">
                  <a:pos x="143" y="668"/>
                </a:cxn>
                <a:cxn ang="0">
                  <a:pos x="143" y="349"/>
                </a:cxn>
                <a:cxn ang="0">
                  <a:pos x="0" y="349"/>
                </a:cxn>
              </a:cxnLst>
              <a:rect l="0" t="0" r="r" b="b"/>
              <a:pathLst>
                <a:path w="509"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9" y="201"/>
                    <a:pt x="509" y="201"/>
                    <a:pt x="509" y="201"/>
                  </a:cubicBezTo>
                  <a:cubicBezTo>
                    <a:pt x="509" y="349"/>
                    <a:pt x="509" y="349"/>
                    <a:pt x="509" y="349"/>
                  </a:cubicBezTo>
                  <a:cubicBezTo>
                    <a:pt x="317" y="349"/>
                    <a:pt x="317" y="349"/>
                    <a:pt x="317" y="349"/>
                  </a:cubicBezTo>
                  <a:cubicBezTo>
                    <a:pt x="317" y="653"/>
                    <a:pt x="317" y="653"/>
                    <a:pt x="317" y="653"/>
                  </a:cubicBezTo>
                  <a:cubicBezTo>
                    <a:pt x="317" y="723"/>
                    <a:pt x="338" y="766"/>
                    <a:pt x="414" y="766"/>
                  </a:cubicBezTo>
                  <a:cubicBezTo>
                    <a:pt x="445" y="766"/>
                    <a:pt x="487" y="760"/>
                    <a:pt x="509" y="744"/>
                  </a:cubicBezTo>
                  <a:cubicBezTo>
                    <a:pt x="509" y="891"/>
                    <a:pt x="509" y="891"/>
                    <a:pt x="509" y="891"/>
                  </a:cubicBezTo>
                  <a:cubicBezTo>
                    <a:pt x="472" y="908"/>
                    <a:pt x="412" y="914"/>
                    <a:pt x="371" y="914"/>
                  </a:cubicBezTo>
                  <a:cubicBezTo>
                    <a:pt x="187"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7" name="Freeform 22"/>
            <p:cNvSpPr>
              <a:spLocks noSelect="1"/>
            </p:cNvSpPr>
            <p:nvPr/>
          </p:nvSpPr>
          <p:spPr bwMode="black">
            <a:xfrm>
              <a:off x="1816100" y="600076"/>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6" y="529"/>
                    <a:pt x="264" y="591"/>
                    <a:pt x="361" y="591"/>
                  </a:cubicBezTo>
                  <a:cubicBezTo>
                    <a:pt x="448" y="591"/>
                    <a:pt x="504" y="550"/>
                    <a:pt x="548" y="497"/>
                  </a:cubicBezTo>
                  <a:cubicBezTo>
                    <a:pt x="672" y="591"/>
                    <a:pt x="672" y="591"/>
                    <a:pt x="672" y="591"/>
                  </a:cubicBezTo>
                  <a:cubicBezTo>
                    <a:pt x="591" y="691"/>
                    <a:pt x="488" y="730"/>
                    <a:pt x="378" y="730"/>
                  </a:cubicBezTo>
                  <a:cubicBezTo>
                    <a:pt x="168" y="730"/>
                    <a:pt x="0" y="584"/>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8" name="Freeform 23"/>
            <p:cNvSpPr>
              <a:spLocks noSelect="1"/>
            </p:cNvSpPr>
            <p:nvPr/>
          </p:nvSpPr>
          <p:spPr bwMode="black">
            <a:xfrm>
              <a:off x="2009775" y="600076"/>
              <a:ext cx="98425" cy="160338"/>
            </a:xfrm>
            <a:custGeom>
              <a:avLst/>
              <a:gdLst/>
              <a:ahLst/>
              <a:cxnLst>
                <a:cxn ang="0">
                  <a:pos x="0" y="17"/>
                </a:cxn>
                <a:cxn ang="0">
                  <a:pos x="174" y="17"/>
                </a:cxn>
                <a:cxn ang="0">
                  <a:pos x="174" y="127"/>
                </a:cxn>
                <a:cxn ang="0">
                  <a:pos x="177" y="127"/>
                </a:cxn>
                <a:cxn ang="0">
                  <a:pos x="383" y="0"/>
                </a:cxn>
                <a:cxn ang="0">
                  <a:pos x="445" y="10"/>
                </a:cxn>
                <a:cxn ang="0">
                  <a:pos x="445" y="178"/>
                </a:cxn>
                <a:cxn ang="0">
                  <a:pos x="361" y="165"/>
                </a:cxn>
                <a:cxn ang="0">
                  <a:pos x="174" y="340"/>
                </a:cxn>
                <a:cxn ang="0">
                  <a:pos x="174" y="713"/>
                </a:cxn>
                <a:cxn ang="0">
                  <a:pos x="0" y="713"/>
                </a:cxn>
                <a:cxn ang="0">
                  <a:pos x="0" y="17"/>
                </a:cxn>
              </a:cxnLst>
              <a:rect l="0" t="0" r="r" b="b"/>
              <a:pathLst>
                <a:path w="445" h="713">
                  <a:moveTo>
                    <a:pt x="0" y="17"/>
                  </a:moveTo>
                  <a:cubicBezTo>
                    <a:pt x="174" y="17"/>
                    <a:pt x="174" y="17"/>
                    <a:pt x="174" y="17"/>
                  </a:cubicBezTo>
                  <a:cubicBezTo>
                    <a:pt x="174" y="127"/>
                    <a:pt x="174" y="127"/>
                    <a:pt x="174" y="127"/>
                  </a:cubicBezTo>
                  <a:cubicBezTo>
                    <a:pt x="177" y="127"/>
                    <a:pt x="177" y="127"/>
                    <a:pt x="177" y="127"/>
                  </a:cubicBezTo>
                  <a:cubicBezTo>
                    <a:pt x="215" y="48"/>
                    <a:pt x="292" y="0"/>
                    <a:pt x="383" y="0"/>
                  </a:cubicBezTo>
                  <a:cubicBezTo>
                    <a:pt x="405" y="0"/>
                    <a:pt x="425" y="4"/>
                    <a:pt x="445" y="10"/>
                  </a:cubicBezTo>
                  <a:cubicBezTo>
                    <a:pt x="445" y="178"/>
                    <a:pt x="445" y="178"/>
                    <a:pt x="445" y="178"/>
                  </a:cubicBezTo>
                  <a:cubicBezTo>
                    <a:pt x="416" y="171"/>
                    <a:pt x="389" y="165"/>
                    <a:pt x="361" y="165"/>
                  </a:cubicBezTo>
                  <a:cubicBezTo>
                    <a:pt x="198" y="165"/>
                    <a:pt x="174" y="303"/>
                    <a:pt x="174" y="340"/>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49" name="Freeform 24"/>
            <p:cNvSpPr>
              <a:spLocks noSelect="1"/>
            </p:cNvSpPr>
            <p:nvPr/>
          </p:nvSpPr>
          <p:spPr bwMode="black">
            <a:xfrm>
              <a:off x="2122488" y="515938"/>
              <a:ext cx="166688" cy="247650"/>
            </a:xfrm>
            <a:custGeom>
              <a:avLst/>
              <a:gdLst/>
              <a:ahLst/>
              <a:cxnLst>
                <a:cxn ang="0">
                  <a:pos x="585" y="991"/>
                </a:cxn>
                <a:cxn ang="0">
                  <a:pos x="582" y="991"/>
                </a:cxn>
                <a:cxn ang="0">
                  <a:pos x="343" y="1113"/>
                </a:cxn>
                <a:cxn ang="0">
                  <a:pos x="0" y="748"/>
                </a:cxn>
                <a:cxn ang="0">
                  <a:pos x="336" y="383"/>
                </a:cxn>
                <a:cxn ang="0">
                  <a:pos x="572" y="489"/>
                </a:cxn>
                <a:cxn ang="0">
                  <a:pos x="576" y="489"/>
                </a:cxn>
                <a:cxn ang="0">
                  <a:pos x="576" y="0"/>
                </a:cxn>
                <a:cxn ang="0">
                  <a:pos x="750" y="0"/>
                </a:cxn>
                <a:cxn ang="0">
                  <a:pos x="750" y="1096"/>
                </a:cxn>
                <a:cxn ang="0">
                  <a:pos x="585" y="1096"/>
                </a:cxn>
                <a:cxn ang="0">
                  <a:pos x="585" y="991"/>
                </a:cxn>
                <a:cxn ang="0">
                  <a:pos x="378" y="956"/>
                </a:cxn>
                <a:cxn ang="0">
                  <a:pos x="582" y="748"/>
                </a:cxn>
                <a:cxn ang="0">
                  <a:pos x="378" y="539"/>
                </a:cxn>
                <a:cxn ang="0">
                  <a:pos x="174" y="748"/>
                </a:cxn>
                <a:cxn ang="0">
                  <a:pos x="378" y="956"/>
                </a:cxn>
              </a:cxnLst>
              <a:rect l="0" t="0" r="r" b="b"/>
              <a:pathLst>
                <a:path w="750" h="1113">
                  <a:moveTo>
                    <a:pt x="585" y="991"/>
                  </a:moveTo>
                  <a:cubicBezTo>
                    <a:pt x="582" y="991"/>
                    <a:pt x="582" y="991"/>
                    <a:pt x="582" y="991"/>
                  </a:cubicBezTo>
                  <a:cubicBezTo>
                    <a:pt x="531" y="1075"/>
                    <a:pt x="440" y="1113"/>
                    <a:pt x="343" y="1113"/>
                  </a:cubicBezTo>
                  <a:cubicBezTo>
                    <a:pt x="129" y="1113"/>
                    <a:pt x="0" y="954"/>
                    <a:pt x="0" y="748"/>
                  </a:cubicBezTo>
                  <a:cubicBezTo>
                    <a:pt x="0" y="542"/>
                    <a:pt x="137" y="383"/>
                    <a:pt x="336" y="383"/>
                  </a:cubicBezTo>
                  <a:cubicBezTo>
                    <a:pt x="466" y="383"/>
                    <a:pt x="536" y="444"/>
                    <a:pt x="572" y="489"/>
                  </a:cubicBezTo>
                  <a:cubicBezTo>
                    <a:pt x="576" y="489"/>
                    <a:pt x="576" y="489"/>
                    <a:pt x="576" y="489"/>
                  </a:cubicBezTo>
                  <a:cubicBezTo>
                    <a:pt x="576" y="0"/>
                    <a:pt x="576" y="0"/>
                    <a:pt x="576" y="0"/>
                  </a:cubicBezTo>
                  <a:cubicBezTo>
                    <a:pt x="750" y="0"/>
                    <a:pt x="750" y="0"/>
                    <a:pt x="750" y="0"/>
                  </a:cubicBezTo>
                  <a:cubicBezTo>
                    <a:pt x="750" y="1096"/>
                    <a:pt x="750" y="1096"/>
                    <a:pt x="750" y="1096"/>
                  </a:cubicBezTo>
                  <a:cubicBezTo>
                    <a:pt x="585" y="1096"/>
                    <a:pt x="585" y="1096"/>
                    <a:pt x="585" y="1096"/>
                  </a:cubicBezTo>
                  <a:lnTo>
                    <a:pt x="585" y="991"/>
                  </a:lnTo>
                  <a:close/>
                  <a:moveTo>
                    <a:pt x="378" y="956"/>
                  </a:moveTo>
                  <a:cubicBezTo>
                    <a:pt x="505" y="956"/>
                    <a:pt x="582" y="857"/>
                    <a:pt x="582" y="748"/>
                  </a:cubicBezTo>
                  <a:cubicBezTo>
                    <a:pt x="582" y="639"/>
                    <a:pt x="505" y="539"/>
                    <a:pt x="378" y="539"/>
                  </a:cubicBezTo>
                  <a:cubicBezTo>
                    <a:pt x="250" y="539"/>
                    <a:pt x="174" y="639"/>
                    <a:pt x="174" y="748"/>
                  </a:cubicBezTo>
                  <a:cubicBezTo>
                    <a:pt x="174" y="857"/>
                    <a:pt x="250" y="956"/>
                    <a:pt x="378" y="956"/>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50" name="Freeform 25"/>
            <p:cNvSpPr>
              <a:spLocks noSelect="1"/>
            </p:cNvSpPr>
            <p:nvPr/>
          </p:nvSpPr>
          <p:spPr bwMode="black">
            <a:xfrm>
              <a:off x="2322513" y="600076"/>
              <a:ext cx="142875" cy="163513"/>
            </a:xfrm>
            <a:custGeom>
              <a:avLst/>
              <a:gdLst/>
              <a:ahLst/>
              <a:cxnLst>
                <a:cxn ang="0">
                  <a:pos x="481" y="617"/>
                </a:cxn>
                <a:cxn ang="0">
                  <a:pos x="477" y="617"/>
                </a:cxn>
                <a:cxn ang="0">
                  <a:pos x="254" y="730"/>
                </a:cxn>
                <a:cxn ang="0">
                  <a:pos x="0" y="521"/>
                </a:cxn>
                <a:cxn ang="0">
                  <a:pos x="437" y="279"/>
                </a:cxn>
                <a:cxn ang="0">
                  <a:pos x="481" y="279"/>
                </a:cxn>
                <a:cxn ang="0">
                  <a:pos x="481" y="261"/>
                </a:cxn>
                <a:cxn ang="0">
                  <a:pos x="322" y="130"/>
                </a:cxn>
                <a:cxn ang="0">
                  <a:pos x="136" y="203"/>
                </a:cxn>
                <a:cxn ang="0">
                  <a:pos x="45" y="111"/>
                </a:cxn>
                <a:cxn ang="0">
                  <a:pos x="340" y="0"/>
                </a:cxn>
                <a:cxn ang="0">
                  <a:pos x="637" y="313"/>
                </a:cxn>
                <a:cxn ang="0">
                  <a:pos x="637" y="713"/>
                </a:cxn>
                <a:cxn ang="0">
                  <a:pos x="481" y="713"/>
                </a:cxn>
                <a:cxn ang="0">
                  <a:pos x="481" y="617"/>
                </a:cxn>
                <a:cxn ang="0">
                  <a:pos x="471" y="401"/>
                </a:cxn>
                <a:cxn ang="0">
                  <a:pos x="435" y="401"/>
                </a:cxn>
                <a:cxn ang="0">
                  <a:pos x="174" y="508"/>
                </a:cxn>
                <a:cxn ang="0">
                  <a:pos x="295" y="600"/>
                </a:cxn>
                <a:cxn ang="0">
                  <a:pos x="471" y="440"/>
                </a:cxn>
                <a:cxn ang="0">
                  <a:pos x="471" y="401"/>
                </a:cxn>
              </a:cxnLst>
              <a:rect l="0" t="0" r="r" b="b"/>
              <a:pathLst>
                <a:path w="637" h="730">
                  <a:moveTo>
                    <a:pt x="481" y="617"/>
                  </a:moveTo>
                  <a:cubicBezTo>
                    <a:pt x="477" y="617"/>
                    <a:pt x="477" y="617"/>
                    <a:pt x="477" y="617"/>
                  </a:cubicBezTo>
                  <a:cubicBezTo>
                    <a:pt x="427" y="695"/>
                    <a:pt x="346" y="730"/>
                    <a:pt x="254" y="730"/>
                  </a:cubicBezTo>
                  <a:cubicBezTo>
                    <a:pt x="125" y="730"/>
                    <a:pt x="0" y="659"/>
                    <a:pt x="0" y="521"/>
                  </a:cubicBezTo>
                  <a:cubicBezTo>
                    <a:pt x="0" y="295"/>
                    <a:pt x="264" y="279"/>
                    <a:pt x="437" y="279"/>
                  </a:cubicBezTo>
                  <a:cubicBezTo>
                    <a:pt x="481" y="279"/>
                    <a:pt x="481" y="279"/>
                    <a:pt x="481" y="279"/>
                  </a:cubicBezTo>
                  <a:cubicBezTo>
                    <a:pt x="481" y="261"/>
                    <a:pt x="481" y="261"/>
                    <a:pt x="481" y="261"/>
                  </a:cubicBezTo>
                  <a:cubicBezTo>
                    <a:pt x="481" y="175"/>
                    <a:pt x="414" y="130"/>
                    <a:pt x="322" y="130"/>
                  </a:cubicBezTo>
                  <a:cubicBezTo>
                    <a:pt x="249" y="130"/>
                    <a:pt x="182" y="159"/>
                    <a:pt x="136" y="203"/>
                  </a:cubicBezTo>
                  <a:cubicBezTo>
                    <a:pt x="45" y="111"/>
                    <a:pt x="45" y="111"/>
                    <a:pt x="45" y="111"/>
                  </a:cubicBezTo>
                  <a:cubicBezTo>
                    <a:pt x="122" y="33"/>
                    <a:pt x="230" y="0"/>
                    <a:pt x="340" y="0"/>
                  </a:cubicBezTo>
                  <a:cubicBezTo>
                    <a:pt x="637" y="0"/>
                    <a:pt x="637" y="214"/>
                    <a:pt x="637" y="313"/>
                  </a:cubicBezTo>
                  <a:cubicBezTo>
                    <a:pt x="637" y="713"/>
                    <a:pt x="637" y="713"/>
                    <a:pt x="637" y="713"/>
                  </a:cubicBezTo>
                  <a:cubicBezTo>
                    <a:pt x="481" y="713"/>
                    <a:pt x="481" y="713"/>
                    <a:pt x="481" y="713"/>
                  </a:cubicBezTo>
                  <a:lnTo>
                    <a:pt x="481" y="617"/>
                  </a:lnTo>
                  <a:close/>
                  <a:moveTo>
                    <a:pt x="471" y="401"/>
                  </a:moveTo>
                  <a:cubicBezTo>
                    <a:pt x="435" y="401"/>
                    <a:pt x="435" y="401"/>
                    <a:pt x="435" y="401"/>
                  </a:cubicBezTo>
                  <a:cubicBezTo>
                    <a:pt x="339" y="401"/>
                    <a:pt x="174" y="408"/>
                    <a:pt x="174" y="508"/>
                  </a:cubicBezTo>
                  <a:cubicBezTo>
                    <a:pt x="174" y="572"/>
                    <a:pt x="239" y="600"/>
                    <a:pt x="295" y="600"/>
                  </a:cubicBezTo>
                  <a:cubicBezTo>
                    <a:pt x="414" y="600"/>
                    <a:pt x="471" y="537"/>
                    <a:pt x="471" y="440"/>
                  </a:cubicBezTo>
                  <a:lnTo>
                    <a:pt x="471" y="40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51" name="Freeform 26"/>
            <p:cNvSpPr>
              <a:spLocks noSelect="1"/>
            </p:cNvSpPr>
            <p:nvPr/>
          </p:nvSpPr>
          <p:spPr bwMode="black">
            <a:xfrm>
              <a:off x="2505075" y="600076"/>
              <a:ext cx="241300" cy="160338"/>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8"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6"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grpSp>
    </p:spTree>
    <p:extLst>
      <p:ext uri="{BB962C8B-B14F-4D97-AF65-F5344CB8AC3E}">
        <p14:creationId xmlns:p14="http://schemas.microsoft.com/office/powerpoint/2010/main" val="2499198806"/>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Foto (klein) links, tekst rechts">
    <p:spTree>
      <p:nvGrpSpPr>
        <p:cNvPr id="1" name=""/>
        <p:cNvGrpSpPr/>
        <p:nvPr/>
      </p:nvGrpSpPr>
      <p:grpSpPr>
        <a:xfrm>
          <a:off x="0" y="0"/>
          <a:ext cx="0" cy="0"/>
          <a:chOff x="0" y="0"/>
          <a:chExt cx="0" cy="0"/>
        </a:xfrm>
      </p:grpSpPr>
      <p:sp>
        <p:nvSpPr>
          <p:cNvPr id="3" name="Tijdelijke aanduiding voor inhoud 2"/>
          <p:cNvSpPr>
            <a:spLocks noGrp="1" noSelect="1"/>
          </p:cNvSpPr>
          <p:nvPr>
            <p:ph idx="1"/>
          </p:nvPr>
        </p:nvSpPr>
        <p:spPr bwMode="gray">
          <a:xfrm>
            <a:off x="5783912" y="2053441"/>
            <a:ext cx="5952000" cy="4428000"/>
          </a:xfrm>
        </p:spPr>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6" name="Tijdelijke aanduiding voor afbeelding 5"/>
          <p:cNvSpPr>
            <a:spLocks noGrp="1" noSelect="1"/>
          </p:cNvSpPr>
          <p:nvPr>
            <p:ph type="pic" sz="quarter" idx="10" hasCustomPrompt="1"/>
          </p:nvPr>
        </p:nvSpPr>
        <p:spPr bwMode="gray">
          <a:xfrm>
            <a:off x="1094400" y="2124000"/>
            <a:ext cx="4358400" cy="4248000"/>
          </a:xfrm>
        </p:spPr>
        <p:txBody>
          <a:bodyPr/>
          <a:lstStyle>
            <a:lvl1pPr marL="0" indent="0">
              <a:buNone/>
              <a:defRPr b="0" baseline="0"/>
            </a:lvl1pPr>
          </a:lstStyle>
          <a:p>
            <a:r>
              <a:rPr lang="nl-NL" dirty="0"/>
              <a:t>Afbeelding formaat: 367 x 476 pixels.</a:t>
            </a:r>
          </a:p>
        </p:txBody>
      </p:sp>
      <p:sp>
        <p:nvSpPr>
          <p:cNvPr id="2" name="Tijdelijke aanduiding voor datum 1"/>
          <p:cNvSpPr>
            <a:spLocks noGrp="1" noSelect="1"/>
          </p:cNvSpPr>
          <p:nvPr>
            <p:ph type="dt" sz="half" idx="11"/>
          </p:nvPr>
        </p:nvSpPr>
        <p:spPr bwMode="gray"/>
        <p:txBody>
          <a:bodyPr/>
          <a:lstStyle/>
          <a:p>
            <a:endParaRPr lang="nl-NL" dirty="0"/>
          </a:p>
        </p:txBody>
      </p:sp>
      <p:sp>
        <p:nvSpPr>
          <p:cNvPr id="4" name="Tijdelijke aanduiding voor voettekst 3"/>
          <p:cNvSpPr>
            <a:spLocks noGrp="1" noSelect="1"/>
          </p:cNvSpPr>
          <p:nvPr>
            <p:ph type="ftr" sz="quarter" idx="12"/>
          </p:nvPr>
        </p:nvSpPr>
        <p:spPr bwMode="gray"/>
        <p:txBody>
          <a:bodyPr/>
          <a:lstStyle/>
          <a:p>
            <a:r>
              <a:rPr lang="nl-NL"/>
              <a:t>Informatiebijeenkomst 26 juli 2021 Europese Aanbesteding SVWI</a:t>
            </a:r>
            <a:endParaRPr lang="nl-NL" dirty="0"/>
          </a:p>
        </p:txBody>
      </p:sp>
      <p:sp>
        <p:nvSpPr>
          <p:cNvPr id="5" name="Tijdelijke aanduiding voor dianummer 4"/>
          <p:cNvSpPr>
            <a:spLocks noGrp="1" noSelect="1"/>
          </p:cNvSpPr>
          <p:nvPr>
            <p:ph type="sldNum" sz="quarter" idx="13"/>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3409093793"/>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Foto (breed) links, tekst rechts">
    <p:spTree>
      <p:nvGrpSpPr>
        <p:cNvPr id="1" name=""/>
        <p:cNvGrpSpPr/>
        <p:nvPr/>
      </p:nvGrpSpPr>
      <p:grpSpPr>
        <a:xfrm>
          <a:off x="0" y="0"/>
          <a:ext cx="0" cy="0"/>
          <a:chOff x="0" y="0"/>
          <a:chExt cx="0" cy="0"/>
        </a:xfrm>
      </p:grpSpPr>
      <p:sp>
        <p:nvSpPr>
          <p:cNvPr id="3" name="Tijdelijke aanduiding voor inhoud 2"/>
          <p:cNvSpPr>
            <a:spLocks noGrp="1" noSelect="1"/>
          </p:cNvSpPr>
          <p:nvPr>
            <p:ph idx="1"/>
          </p:nvPr>
        </p:nvSpPr>
        <p:spPr bwMode="gray">
          <a:xfrm>
            <a:off x="8919868" y="2053441"/>
            <a:ext cx="2784000" cy="4176000"/>
          </a:xfrm>
        </p:spPr>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6" name="Tijdelijke aanduiding voor afbeelding 5"/>
          <p:cNvSpPr>
            <a:spLocks noGrp="1" noSelect="1"/>
          </p:cNvSpPr>
          <p:nvPr>
            <p:ph type="pic" sz="quarter" idx="10" hasCustomPrompt="1"/>
          </p:nvPr>
        </p:nvSpPr>
        <p:spPr bwMode="gray">
          <a:xfrm>
            <a:off x="1022400" y="2124000"/>
            <a:ext cx="7627200" cy="3812400"/>
          </a:xfrm>
        </p:spPr>
        <p:txBody>
          <a:bodyPr/>
          <a:lstStyle>
            <a:lvl1pPr marL="0" indent="0">
              <a:buNone/>
              <a:defRPr b="0" baseline="0"/>
            </a:lvl1pPr>
          </a:lstStyle>
          <a:p>
            <a:r>
              <a:rPr lang="nl-NL" dirty="0"/>
              <a:t>Afbeelding formaat: 641 x 427 pixels.</a:t>
            </a:r>
          </a:p>
        </p:txBody>
      </p:sp>
      <p:sp>
        <p:nvSpPr>
          <p:cNvPr id="2" name="Tijdelijke aanduiding voor datum 1"/>
          <p:cNvSpPr>
            <a:spLocks noGrp="1" noSelect="1"/>
          </p:cNvSpPr>
          <p:nvPr>
            <p:ph type="dt" sz="half" idx="11"/>
          </p:nvPr>
        </p:nvSpPr>
        <p:spPr bwMode="gray"/>
        <p:txBody>
          <a:bodyPr/>
          <a:lstStyle/>
          <a:p>
            <a:endParaRPr lang="nl-NL" dirty="0"/>
          </a:p>
        </p:txBody>
      </p:sp>
      <p:sp>
        <p:nvSpPr>
          <p:cNvPr id="4" name="Tijdelijke aanduiding voor voettekst 3"/>
          <p:cNvSpPr>
            <a:spLocks noGrp="1" noSelect="1"/>
          </p:cNvSpPr>
          <p:nvPr>
            <p:ph type="ftr" sz="quarter" idx="12"/>
          </p:nvPr>
        </p:nvSpPr>
        <p:spPr bwMode="gray"/>
        <p:txBody>
          <a:bodyPr/>
          <a:lstStyle/>
          <a:p>
            <a:r>
              <a:rPr lang="nl-NL"/>
              <a:t>Informatiebijeenkomst 26 juli 2021 Europese Aanbesteding SVWI</a:t>
            </a:r>
            <a:endParaRPr lang="nl-NL" dirty="0"/>
          </a:p>
        </p:txBody>
      </p:sp>
      <p:sp>
        <p:nvSpPr>
          <p:cNvPr id="5" name="Tijdelijke aanduiding voor dianummer 4"/>
          <p:cNvSpPr>
            <a:spLocks noGrp="1" noSelect="1"/>
          </p:cNvSpPr>
          <p:nvPr>
            <p:ph type="sldNum" sz="quarter" idx="13"/>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819387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Foto (hoog) links, tekst rechts">
    <p:spTree>
      <p:nvGrpSpPr>
        <p:cNvPr id="1" name=""/>
        <p:cNvGrpSpPr/>
        <p:nvPr/>
      </p:nvGrpSpPr>
      <p:grpSpPr>
        <a:xfrm>
          <a:off x="0" y="0"/>
          <a:ext cx="0" cy="0"/>
          <a:chOff x="0" y="0"/>
          <a:chExt cx="0" cy="0"/>
        </a:xfrm>
      </p:grpSpPr>
      <p:sp>
        <p:nvSpPr>
          <p:cNvPr id="6" name="Tijdelijke aanduiding voor afbeelding 5"/>
          <p:cNvSpPr>
            <a:spLocks noGrp="1" noSelect="1"/>
          </p:cNvSpPr>
          <p:nvPr>
            <p:ph type="pic" sz="quarter" idx="10" hasCustomPrompt="1"/>
          </p:nvPr>
        </p:nvSpPr>
        <p:spPr bwMode="gray">
          <a:xfrm>
            <a:off x="1056000" y="0"/>
            <a:ext cx="6600000" cy="6858000"/>
          </a:xfrm>
        </p:spPr>
        <p:txBody>
          <a:bodyPr/>
          <a:lstStyle>
            <a:lvl1pPr marL="0" indent="0">
              <a:buNone/>
              <a:defRPr b="0" baseline="0"/>
            </a:lvl1pPr>
          </a:lstStyle>
          <a:p>
            <a:r>
              <a:rPr lang="nl-NL" dirty="0"/>
              <a:t>Afbeelding formaat: 367 x 476 pixels.</a:t>
            </a:r>
          </a:p>
        </p:txBody>
      </p:sp>
      <p:sp>
        <p:nvSpPr>
          <p:cNvPr id="3" name="Tijdelijke aanduiding voor inhoud 2"/>
          <p:cNvSpPr>
            <a:spLocks noGrp="1" noSelect="1"/>
          </p:cNvSpPr>
          <p:nvPr>
            <p:ph idx="1"/>
          </p:nvPr>
        </p:nvSpPr>
        <p:spPr bwMode="gray">
          <a:xfrm>
            <a:off x="8054356" y="2053441"/>
            <a:ext cx="3648000" cy="4428000"/>
          </a:xfrm>
        </p:spPr>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2" name="Tijdelijke aanduiding voor datum 1"/>
          <p:cNvSpPr>
            <a:spLocks noGrp="1" noSelect="1"/>
          </p:cNvSpPr>
          <p:nvPr>
            <p:ph type="dt" sz="half" idx="11"/>
          </p:nvPr>
        </p:nvSpPr>
        <p:spPr bwMode="gray"/>
        <p:txBody>
          <a:bodyPr/>
          <a:lstStyle/>
          <a:p>
            <a:endParaRPr lang="nl-NL" dirty="0"/>
          </a:p>
        </p:txBody>
      </p:sp>
      <p:sp>
        <p:nvSpPr>
          <p:cNvPr id="4" name="Tijdelijke aanduiding voor voettekst 3"/>
          <p:cNvSpPr>
            <a:spLocks noGrp="1" noSelect="1"/>
          </p:cNvSpPr>
          <p:nvPr>
            <p:ph type="ftr" sz="quarter" idx="12"/>
          </p:nvPr>
        </p:nvSpPr>
        <p:spPr bwMode="gray"/>
        <p:txBody>
          <a:bodyPr/>
          <a:lstStyle/>
          <a:p>
            <a:r>
              <a:rPr lang="nl-NL"/>
              <a:t>Informatiebijeenkomst 26 juli 2021 Europese Aanbesteding SVWI</a:t>
            </a:r>
            <a:endParaRPr lang="nl-NL" dirty="0"/>
          </a:p>
        </p:txBody>
      </p:sp>
      <p:sp>
        <p:nvSpPr>
          <p:cNvPr id="5" name="Tijdelijke aanduiding voor dianummer 4"/>
          <p:cNvSpPr>
            <a:spLocks noGrp="1" noSelect="1"/>
          </p:cNvSpPr>
          <p:nvPr>
            <p:ph type="sldNum" sz="quarter" idx="13"/>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1867349815"/>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el en 2 kaders">
    <p:spTree>
      <p:nvGrpSpPr>
        <p:cNvPr id="1" name=""/>
        <p:cNvGrpSpPr/>
        <p:nvPr/>
      </p:nvGrpSpPr>
      <p:grpSpPr>
        <a:xfrm>
          <a:off x="0" y="0"/>
          <a:ext cx="0" cy="0"/>
          <a:chOff x="0" y="0"/>
          <a:chExt cx="0" cy="0"/>
        </a:xfrm>
      </p:grpSpPr>
      <p:sp>
        <p:nvSpPr>
          <p:cNvPr id="9" name="Tijdelijke aanduiding voor inhoud 8"/>
          <p:cNvSpPr>
            <a:spLocks noGrp="1" noSelect="1"/>
          </p:cNvSpPr>
          <p:nvPr>
            <p:ph sz="quarter" idx="13"/>
          </p:nvPr>
        </p:nvSpPr>
        <p:spPr bwMode="gray">
          <a:xfrm>
            <a:off x="6634628" y="3366000"/>
            <a:ext cx="5088000" cy="2786400"/>
          </a:xfrm>
        </p:spPr>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11" name="Tijdelijke aanduiding voor inhoud 10"/>
          <p:cNvSpPr>
            <a:spLocks noGrp="1" noSelect="1"/>
          </p:cNvSpPr>
          <p:nvPr>
            <p:ph sz="quarter" idx="14"/>
          </p:nvPr>
        </p:nvSpPr>
        <p:spPr bwMode="gray">
          <a:xfrm>
            <a:off x="1042628" y="3366000"/>
            <a:ext cx="5088000" cy="2786400"/>
          </a:xfrm>
        </p:spPr>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2" name="Tijdelijke aanduiding voor datum 1"/>
          <p:cNvSpPr>
            <a:spLocks noGrp="1" noSelect="1"/>
          </p:cNvSpPr>
          <p:nvPr>
            <p:ph type="dt" sz="half" idx="15"/>
          </p:nvPr>
        </p:nvSpPr>
        <p:spPr bwMode="gray"/>
        <p:txBody>
          <a:bodyPr/>
          <a:lstStyle/>
          <a:p>
            <a:endParaRPr lang="nl-NL" dirty="0"/>
          </a:p>
        </p:txBody>
      </p:sp>
      <p:sp>
        <p:nvSpPr>
          <p:cNvPr id="3" name="Tijdelijke aanduiding voor voettekst 2"/>
          <p:cNvSpPr>
            <a:spLocks noGrp="1" noSelect="1"/>
          </p:cNvSpPr>
          <p:nvPr>
            <p:ph type="ftr" sz="quarter" idx="16"/>
          </p:nvPr>
        </p:nvSpPr>
        <p:spPr bwMode="gray"/>
        <p:txBody>
          <a:bodyPr/>
          <a:lstStyle/>
          <a:p>
            <a:r>
              <a:rPr lang="nl-NL"/>
              <a:t>Informatiebijeenkomst 26 juli 2021 Europese Aanbesteding SVWI</a:t>
            </a:r>
            <a:endParaRPr lang="nl-NL" dirty="0"/>
          </a:p>
        </p:txBody>
      </p:sp>
      <p:sp>
        <p:nvSpPr>
          <p:cNvPr id="4" name="Tijdelijke aanduiding voor dianummer 3"/>
          <p:cNvSpPr>
            <a:spLocks noGrp="1" noSelect="1"/>
          </p:cNvSpPr>
          <p:nvPr>
            <p:ph type="sldNum" sz="quarter" idx="17"/>
          </p:nvPr>
        </p:nvSpPr>
        <p:spPr bwMode="gray"/>
        <p:txBody>
          <a:bodyPr/>
          <a:lstStyle/>
          <a:p>
            <a:r>
              <a:rPr lang="nl-NL" dirty="0"/>
              <a:t>| </a:t>
            </a:r>
            <a:fld id="{5A73F218-DCB0-4894-9B51-05C25669D534}" type="slidenum">
              <a:rPr lang="nl-NL" smtClean="0"/>
              <a:pPr/>
              <a:t>‹nr.›</a:t>
            </a:fld>
            <a:endParaRPr lang="nl-NL" dirty="0"/>
          </a:p>
        </p:txBody>
      </p:sp>
      <p:sp>
        <p:nvSpPr>
          <p:cNvPr id="5" name="Title 4"/>
          <p:cNvSpPr>
            <a:spLocks noGrp="1" noSelect="1"/>
          </p:cNvSpPr>
          <p:nvPr>
            <p:ph type="title" hasCustomPrompt="1"/>
          </p:nvPr>
        </p:nvSpPr>
        <p:spPr bwMode="gray">
          <a:xfrm>
            <a:off x="1042628" y="1998333"/>
            <a:ext cx="10680000" cy="1143000"/>
          </a:xfrm>
        </p:spPr>
        <p:txBody>
          <a:bodyPr/>
          <a:lstStyle>
            <a:lvl1pPr>
              <a:defRPr/>
            </a:lvl1pPr>
          </a:lstStyle>
          <a:p>
            <a:r>
              <a:rPr lang="nl-NL" dirty="0"/>
              <a:t>Titel</a:t>
            </a:r>
          </a:p>
        </p:txBody>
      </p:sp>
    </p:spTree>
    <p:extLst>
      <p:ext uri="{BB962C8B-B14F-4D97-AF65-F5344CB8AC3E}">
        <p14:creationId xmlns:p14="http://schemas.microsoft.com/office/powerpoint/2010/main" val="41527495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6BDA21-C90C-42FB-AF15-DA2E6670FCDB}"/>
              </a:ext>
            </a:extLst>
          </p:cNvPr>
          <p:cNvSpPr>
            <a:spLocks noGrp="1"/>
          </p:cNvSpPr>
          <p:nvPr>
            <p:ph type="title"/>
          </p:nvPr>
        </p:nvSpPr>
        <p:spPr/>
        <p:txBody>
          <a:bodyPr/>
          <a:lstStyle/>
          <a:p>
            <a:r>
              <a:rPr lang="en-US"/>
              <a:t>Click to edit Master title style</a:t>
            </a:r>
            <a:endParaRPr lang="nl-NL"/>
          </a:p>
        </p:txBody>
      </p:sp>
      <p:sp>
        <p:nvSpPr>
          <p:cNvPr id="3" name="Footer Placeholder 2">
            <a:extLst>
              <a:ext uri="{FF2B5EF4-FFF2-40B4-BE49-F238E27FC236}">
                <a16:creationId xmlns:a16="http://schemas.microsoft.com/office/drawing/2014/main" id="{C206697D-8968-41CD-B371-2F352E99F9AC}"/>
              </a:ext>
            </a:extLst>
          </p:cNvPr>
          <p:cNvSpPr>
            <a:spLocks noGrp="1"/>
          </p:cNvSpPr>
          <p:nvPr>
            <p:ph type="ftr" sz="quarter" idx="10"/>
          </p:nvPr>
        </p:nvSpPr>
        <p:spPr/>
        <p:txBody>
          <a:bodyPr/>
          <a:lstStyle/>
          <a:p>
            <a:r>
              <a:rPr lang="nl-NL"/>
              <a:t>Informatiebijeenkomst 26 juli 2021 Europese Aanbesteding SVWI</a:t>
            </a:r>
          </a:p>
        </p:txBody>
      </p:sp>
      <p:sp>
        <p:nvSpPr>
          <p:cNvPr id="4" name="Slide Number Placeholder 3">
            <a:extLst>
              <a:ext uri="{FF2B5EF4-FFF2-40B4-BE49-F238E27FC236}">
                <a16:creationId xmlns:a16="http://schemas.microsoft.com/office/drawing/2014/main" id="{D6CB5A6E-1E50-4BDB-9F2A-8C92E27C4336}"/>
              </a:ext>
            </a:extLst>
          </p:cNvPr>
          <p:cNvSpPr>
            <a:spLocks noGrp="1"/>
          </p:cNvSpPr>
          <p:nvPr>
            <p:ph type="sldNum" sz="quarter" idx="11"/>
          </p:nvPr>
        </p:nvSpPr>
        <p:spPr/>
        <p:txBody>
          <a:bodyPr/>
          <a:lstStyle/>
          <a:p>
            <a:fld id="{992CD0B2-8AB2-4C6C-8876-E15753662C9B}" type="slidenum">
              <a:rPr lang="nl-NL" noProof="0" smtClean="0"/>
              <a:pPr/>
              <a:t>‹nr.›</a:t>
            </a:fld>
            <a:endParaRPr lang="nl-NL" noProof="0"/>
          </a:p>
        </p:txBody>
      </p:sp>
    </p:spTree>
    <p:extLst>
      <p:ext uri="{BB962C8B-B14F-4D97-AF65-F5344CB8AC3E}">
        <p14:creationId xmlns:p14="http://schemas.microsoft.com/office/powerpoint/2010/main" val="3962519168"/>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Foto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2" name="Afgeronde rechthoek 31"/>
          <p:cNvSpPr>
            <a:spLocks noSelect="1"/>
          </p:cNvSpPr>
          <p:nvPr userDrawn="1"/>
        </p:nvSpPr>
        <p:spPr bwMode="gray">
          <a:xfrm>
            <a:off x="-2308591" y="98556"/>
            <a:ext cx="2146029" cy="4770636"/>
          </a:xfrm>
          <a:prstGeom prst="roundRect">
            <a:avLst>
              <a:gd name="adj" fmla="val 970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r>
              <a:rPr lang="nl-NL" sz="1000" noProof="1">
                <a:solidFill>
                  <a:schemeClr val="tx1"/>
                </a:solidFill>
              </a:rPr>
              <a:t>Deze dia  is zo gemaakt dat je zelf een afbeelding kan invoegen. </a:t>
            </a:r>
          </a:p>
          <a:p>
            <a:pPr algn="l"/>
            <a:endParaRPr lang="nl-NL" sz="1000" noProof="1">
              <a:solidFill>
                <a:schemeClr val="tx1"/>
              </a:solidFill>
            </a:endParaRPr>
          </a:p>
          <a:p>
            <a:pPr algn="l"/>
            <a:r>
              <a:rPr lang="nl-NL" sz="1000" noProof="1">
                <a:solidFill>
                  <a:schemeClr val="tx1"/>
                </a:solidFill>
              </a:rPr>
              <a:t>Klik met de rechtermuisknop in de achtergrond en kies Achtergrond opmaken. Klik op Opvulling met figuur of bitmappatroon en dan op Invoegen uit bestand. Kies de afbeelding en klik op Invoegen en Sluiten.</a:t>
            </a:r>
          </a:p>
          <a:p>
            <a:pPr algn="l"/>
            <a:endParaRPr lang="nl-NL" sz="1000" noProof="1">
              <a:solidFill>
                <a:schemeClr val="tx1"/>
              </a:solidFill>
            </a:endParaRPr>
          </a:p>
          <a:p>
            <a:pPr algn="l"/>
            <a:r>
              <a:rPr lang="nl-NL" sz="1000" noProof="1">
                <a:solidFill>
                  <a:schemeClr val="tx1"/>
                </a:solidFill>
              </a:rPr>
              <a:t>Klik niet op Overal toepassen omdat de afbeelding dan op alle dia’s komt. Met ctrl + z kan je dit ongedaan maken.</a:t>
            </a:r>
          </a:p>
          <a:p>
            <a:pPr algn="l"/>
            <a:endParaRPr lang="nl-NL" sz="1000" noProof="1">
              <a:solidFill>
                <a:schemeClr val="tx1"/>
              </a:solidFill>
            </a:endParaRPr>
          </a:p>
          <a:p>
            <a:pPr algn="l"/>
            <a:r>
              <a:rPr lang="nl-NL" sz="1000" noProof="1">
                <a:solidFill>
                  <a:schemeClr val="tx1"/>
                </a:solidFill>
              </a:rPr>
              <a:t>Voor het mooiste resultaat is de beeldverhouding 1024 x 768 pixels. Het beeld blijft dan scherp en vervormt niet.</a:t>
            </a:r>
          </a:p>
          <a:p>
            <a:pPr algn="l"/>
            <a:endParaRPr lang="nl-NL" sz="1000" noProof="1">
              <a:solidFill>
                <a:schemeClr val="tx1"/>
              </a:solidFill>
            </a:endParaRPr>
          </a:p>
        </p:txBody>
      </p:sp>
      <p:sp>
        <p:nvSpPr>
          <p:cNvPr id="30" name="Rechthoek 29"/>
          <p:cNvSpPr>
            <a:spLocks noSelect="1"/>
          </p:cNvSpPr>
          <p:nvPr userDrawn="1"/>
        </p:nvSpPr>
        <p:spPr bwMode="white">
          <a:xfrm>
            <a:off x="0" y="0"/>
            <a:ext cx="1051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dirty="0"/>
          </a:p>
        </p:txBody>
      </p:sp>
      <p:grpSp>
        <p:nvGrpSpPr>
          <p:cNvPr id="3" name="Groep 30"/>
          <p:cNvGrpSpPr>
            <a:grpSpLocks noSelect="1"/>
          </p:cNvGrpSpPr>
          <p:nvPr userDrawn="1"/>
        </p:nvGrpSpPr>
        <p:grpSpPr bwMode="black">
          <a:xfrm>
            <a:off x="243417" y="163513"/>
            <a:ext cx="567267" cy="1447800"/>
            <a:chOff x="182563" y="163513"/>
            <a:chExt cx="425450" cy="1447800"/>
          </a:xfrm>
          <a:solidFill>
            <a:srgbClr val="FF0000"/>
          </a:solidFill>
        </p:grpSpPr>
        <p:sp>
          <p:nvSpPr>
            <p:cNvPr id="33" name="Freeform 7"/>
            <p:cNvSpPr>
              <a:spLocks noSelect="1"/>
            </p:cNvSpPr>
            <p:nvPr/>
          </p:nvSpPr>
          <p:spPr bwMode="black">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4" name="Freeform 8"/>
            <p:cNvSpPr>
              <a:spLocks noSelect="1"/>
            </p:cNvSpPr>
            <p:nvPr/>
          </p:nvSpPr>
          <p:spPr bwMode="black">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35" name="Freeform 9"/>
            <p:cNvSpPr>
              <a:spLocks noSelect="1"/>
            </p:cNvSpPr>
            <p:nvPr/>
          </p:nvSpPr>
          <p:spPr bwMode="black">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grpSp>
      <p:sp>
        <p:nvSpPr>
          <p:cNvPr id="4" name="Tijdelijke aanduiding voor datum 3"/>
          <p:cNvSpPr>
            <a:spLocks noGrp="1" noSelect="1"/>
          </p:cNvSpPr>
          <p:nvPr userDrawn="1">
            <p:ph type="dt" sz="half" idx="10"/>
          </p:nvPr>
        </p:nvSpPr>
        <p:spPr bwMode="gray"/>
        <p:txBody>
          <a:bodyPr/>
          <a:lstStyle/>
          <a:p>
            <a:endParaRPr lang="nl-NL" dirty="0"/>
          </a:p>
        </p:txBody>
      </p:sp>
      <p:sp>
        <p:nvSpPr>
          <p:cNvPr id="5" name="Tijdelijke aanduiding voor voettekst 4"/>
          <p:cNvSpPr>
            <a:spLocks noGrp="1" noSelect="1"/>
          </p:cNvSpPr>
          <p:nvPr userDrawn="1">
            <p:ph type="ftr" sz="quarter" idx="11"/>
          </p:nvPr>
        </p:nvSpPr>
        <p:spPr bwMode="gray"/>
        <p:txBody>
          <a:bodyPr/>
          <a:lstStyle/>
          <a:p>
            <a:r>
              <a:rPr lang="nl-NL"/>
              <a:t>Informatiebijeenkomst 26 juli 2021 Europese Aanbesteding SVWI</a:t>
            </a:r>
            <a:endParaRPr lang="nl-NL" dirty="0"/>
          </a:p>
        </p:txBody>
      </p:sp>
      <p:sp>
        <p:nvSpPr>
          <p:cNvPr id="6" name="Tijdelijke aanduiding voor dianummer 5"/>
          <p:cNvSpPr>
            <a:spLocks noGrp="1" noSelect="1"/>
          </p:cNvSpPr>
          <p:nvPr userDrawn="1">
            <p:ph type="sldNum" sz="quarter" idx="12"/>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249938690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lvl1pPr>
              <a:defRPr/>
            </a:lvl1pPr>
          </a:lstStyle>
          <a:p>
            <a:r>
              <a:rPr lang="nl-NL" noProof="1"/>
              <a:t>Titel</a:t>
            </a:r>
          </a:p>
        </p:txBody>
      </p:sp>
      <p:sp>
        <p:nvSpPr>
          <p:cNvPr id="3" name="Tijdelijke aanduiding voor datum 2"/>
          <p:cNvSpPr>
            <a:spLocks noGrp="1" noSelect="1"/>
          </p:cNvSpPr>
          <p:nvPr>
            <p:ph type="dt" sz="half" idx="10"/>
          </p:nvPr>
        </p:nvSpPr>
        <p:spPr bwMode="gray"/>
        <p:txBody>
          <a:bodyPr/>
          <a:lstStyle/>
          <a:p>
            <a:endParaRPr lang="nl-NL" dirty="0"/>
          </a:p>
        </p:txBody>
      </p:sp>
      <p:sp>
        <p:nvSpPr>
          <p:cNvPr id="4" name="Tijdelijke aanduiding voor voettekst 3"/>
          <p:cNvSpPr>
            <a:spLocks noGrp="1" noSelect="1"/>
          </p:cNvSpPr>
          <p:nvPr>
            <p:ph type="ftr" sz="quarter" idx="11"/>
          </p:nvPr>
        </p:nvSpPr>
        <p:spPr bwMode="gray"/>
        <p:txBody>
          <a:bodyPr/>
          <a:lstStyle/>
          <a:p>
            <a:r>
              <a:rPr lang="nl-NL"/>
              <a:t>Informatiebijeenkomst 26 juli 2021 Europese Aanbesteding SVWI</a:t>
            </a:r>
            <a:endParaRPr lang="nl-NL" dirty="0"/>
          </a:p>
        </p:txBody>
      </p:sp>
      <p:sp>
        <p:nvSpPr>
          <p:cNvPr id="5" name="Tijdelijke aanduiding voor dianummer 4"/>
          <p:cNvSpPr>
            <a:spLocks noGrp="1" noSelect="1"/>
          </p:cNvSpPr>
          <p:nvPr>
            <p:ph type="sldNum" sz="quarter" idx="12"/>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2309131185"/>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Leeg met logo">
    <p:spTree>
      <p:nvGrpSpPr>
        <p:cNvPr id="1" name=""/>
        <p:cNvGrpSpPr/>
        <p:nvPr/>
      </p:nvGrpSpPr>
      <p:grpSpPr>
        <a:xfrm>
          <a:off x="0" y="0"/>
          <a:ext cx="0" cy="0"/>
          <a:chOff x="0" y="0"/>
          <a:chExt cx="0" cy="0"/>
        </a:xfrm>
      </p:grpSpPr>
      <p:sp>
        <p:nvSpPr>
          <p:cNvPr id="2" name="Tijdelijke aanduiding voor datum 1"/>
          <p:cNvSpPr>
            <a:spLocks noGrp="1" noSelect="1"/>
          </p:cNvSpPr>
          <p:nvPr>
            <p:ph type="dt" sz="half" idx="10"/>
          </p:nvPr>
        </p:nvSpPr>
        <p:spPr bwMode="gray"/>
        <p:txBody>
          <a:bodyPr/>
          <a:lstStyle/>
          <a:p>
            <a:endParaRPr lang="nl-NL" dirty="0"/>
          </a:p>
        </p:txBody>
      </p:sp>
      <p:sp>
        <p:nvSpPr>
          <p:cNvPr id="3" name="Tijdelijke aanduiding voor voettekst 2"/>
          <p:cNvSpPr>
            <a:spLocks noGrp="1" noSelect="1"/>
          </p:cNvSpPr>
          <p:nvPr>
            <p:ph type="ftr" sz="quarter" idx="11"/>
          </p:nvPr>
        </p:nvSpPr>
        <p:spPr bwMode="gray"/>
        <p:txBody>
          <a:bodyPr/>
          <a:lstStyle/>
          <a:p>
            <a:r>
              <a:rPr lang="nl-NL"/>
              <a:t>Informatiebijeenkomst 26 juli 2021 Europese Aanbesteding SVWI</a:t>
            </a:r>
            <a:endParaRPr lang="nl-NL" dirty="0"/>
          </a:p>
        </p:txBody>
      </p:sp>
      <p:sp>
        <p:nvSpPr>
          <p:cNvPr id="4" name="Tijdelijke aanduiding voor dianummer 3"/>
          <p:cNvSpPr>
            <a:spLocks noGrp="1" noSelect="1"/>
          </p:cNvSpPr>
          <p:nvPr>
            <p:ph type="sldNum" sz="quarter" idx="12"/>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998652903"/>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blank" preserve="1">
  <p:cSld name="Leeg">
    <p:spTree>
      <p:nvGrpSpPr>
        <p:cNvPr id="1" name=""/>
        <p:cNvGrpSpPr/>
        <p:nvPr/>
      </p:nvGrpSpPr>
      <p:grpSpPr>
        <a:xfrm>
          <a:off x="0" y="0"/>
          <a:ext cx="0" cy="0"/>
          <a:chOff x="0" y="0"/>
          <a:chExt cx="0" cy="0"/>
        </a:xfrm>
      </p:grpSpPr>
      <p:sp>
        <p:nvSpPr>
          <p:cNvPr id="2" name="Tijdelijke aanduiding voor datum 1"/>
          <p:cNvSpPr>
            <a:spLocks noGrp="1" noSelect="1"/>
          </p:cNvSpPr>
          <p:nvPr>
            <p:ph type="dt" sz="half" idx="10"/>
          </p:nvPr>
        </p:nvSpPr>
        <p:spPr bwMode="gray"/>
        <p:txBody>
          <a:bodyPr/>
          <a:lstStyle/>
          <a:p>
            <a:endParaRPr lang="nl-NL" dirty="0"/>
          </a:p>
        </p:txBody>
      </p:sp>
      <p:sp>
        <p:nvSpPr>
          <p:cNvPr id="3" name="Tijdelijke aanduiding voor voettekst 2"/>
          <p:cNvSpPr>
            <a:spLocks noGrp="1" noSelect="1"/>
          </p:cNvSpPr>
          <p:nvPr>
            <p:ph type="ftr" sz="quarter" idx="11"/>
          </p:nvPr>
        </p:nvSpPr>
        <p:spPr bwMode="gray"/>
        <p:txBody>
          <a:bodyPr/>
          <a:lstStyle/>
          <a:p>
            <a:r>
              <a:rPr lang="nl-NL"/>
              <a:t>Informatiebijeenkomst 26 juli 2021 Europese Aanbesteding SVWI</a:t>
            </a:r>
            <a:endParaRPr lang="nl-NL" dirty="0"/>
          </a:p>
        </p:txBody>
      </p:sp>
      <p:sp>
        <p:nvSpPr>
          <p:cNvPr id="4" name="Tijdelijke aanduiding voor dianummer 3"/>
          <p:cNvSpPr>
            <a:spLocks noGrp="1" noSelect="1"/>
          </p:cNvSpPr>
          <p:nvPr>
            <p:ph type="sldNum" sz="quarter" idx="12"/>
          </p:nvPr>
        </p:nvSpPr>
        <p:spPr bwMode="gray"/>
        <p:txBody>
          <a:body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641994960"/>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Box (3) Charts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2"/>
            <a:ext cx="3516683"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2"/>
            <a:ext cx="3516683"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5" y="1943102"/>
            <a:ext cx="3516683"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9"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hasCustomPrompt="1"/>
          </p:nvPr>
        </p:nvSpPr>
        <p:spPr>
          <a:xfrm>
            <a:off x="666751" y="1611881"/>
            <a:ext cx="3516680"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hasCustomPrompt="1"/>
          </p:nvPr>
        </p:nvSpPr>
        <p:spPr>
          <a:xfrm>
            <a:off x="4337660" y="1611881"/>
            <a:ext cx="3516680" cy="247650"/>
          </a:xfrm>
        </p:spPr>
        <p:txBody>
          <a:bodyPr/>
          <a:lstStyle>
            <a:lvl1pPr>
              <a:defRPr b="1"/>
            </a:lvl1pPr>
          </a:lstStyle>
          <a:p>
            <a:pPr lvl="0"/>
            <a:r>
              <a:rPr lang="nl-NL" noProof="0"/>
              <a:t>Klik om kop toe te voegen</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hasCustomPrompt="1"/>
          </p:nvPr>
        </p:nvSpPr>
        <p:spPr>
          <a:xfrm>
            <a:off x="8022067" y="1611881"/>
            <a:ext cx="3516680" cy="247650"/>
          </a:xfrm>
        </p:spPr>
        <p:txBody>
          <a:bodyPr/>
          <a:lstStyle>
            <a:lvl1pPr>
              <a:defRPr b="1"/>
            </a:lvl1pPr>
          </a:lstStyle>
          <a:p>
            <a:pPr lvl="0"/>
            <a:r>
              <a:rPr lang="nl-NL" noProof="0"/>
              <a:t>Klik om kop toe te voegen</a:t>
            </a:r>
          </a:p>
        </p:txBody>
      </p:sp>
      <p:sp>
        <p:nvSpPr>
          <p:cNvPr id="11" name="Text Placeholder 8">
            <a:extLst>
              <a:ext uri="{FF2B5EF4-FFF2-40B4-BE49-F238E27FC236}">
                <a16:creationId xmlns:a16="http://schemas.microsoft.com/office/drawing/2014/main" id="{56D51069-A0EF-4ED9-AFB6-7C5FA0BAD0A7}"/>
              </a:ext>
            </a:extLst>
          </p:cNvPr>
          <p:cNvSpPr>
            <a:spLocks noGrp="1"/>
          </p:cNvSpPr>
          <p:nvPr>
            <p:ph type="body" sz="quarter" idx="14" hasCustomPrompt="1"/>
          </p:nvPr>
        </p:nvSpPr>
        <p:spPr>
          <a:xfrm>
            <a:off x="666751" y="1228725"/>
            <a:ext cx="10872000" cy="247650"/>
          </a:xfrm>
        </p:spPr>
        <p:txBody>
          <a:bodyPr/>
          <a:lstStyle>
            <a:lvl1pPr>
              <a:defRPr/>
            </a:lvl1pPr>
          </a:lstStyle>
          <a:p>
            <a:pPr lvl="0"/>
            <a:r>
              <a:rPr lang="nl-NL" noProof="0"/>
              <a:t>Klik om subtitel in te voegen</a:t>
            </a:r>
          </a:p>
        </p:txBody>
      </p:sp>
    </p:spTree>
    <p:extLst>
      <p:ext uri="{BB962C8B-B14F-4D97-AF65-F5344CB8AC3E}">
        <p14:creationId xmlns:p14="http://schemas.microsoft.com/office/powerpoint/2010/main" val="150899425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Box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9" y="1592263"/>
            <a:ext cx="5332401" cy="4716462"/>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9" y="1592263"/>
            <a:ext cx="5332401" cy="4716462"/>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hasCustomPrompt="1"/>
          </p:nvPr>
        </p:nvSpPr>
        <p:spPr>
          <a:xfrm>
            <a:off x="666749" y="266699"/>
            <a:ext cx="10866441" cy="930276"/>
          </a:xfrm>
          <a:prstGeom prst="rect">
            <a:avLst/>
          </a:prstGeom>
        </p:spPr>
        <p:txBody>
          <a:bodyPr vert="horz" lIns="91440" tIns="45720" rIns="91440" bIns="45720" rtlCol="0" anchor="b">
            <a:noAutofit/>
          </a:bodyPr>
          <a:lstStyle>
            <a:lvl1pPr>
              <a:defRPr/>
            </a:lvl1pPr>
          </a:lstStyle>
          <a:p>
            <a:r>
              <a:rPr lang="nl-NL" noProof="0" dirty="0"/>
              <a:t>Klik om titel in te voegen</a:t>
            </a:r>
          </a:p>
        </p:txBody>
      </p:sp>
    </p:spTree>
    <p:extLst>
      <p:ext uri="{BB962C8B-B14F-4D97-AF65-F5344CB8AC3E}">
        <p14:creationId xmlns:p14="http://schemas.microsoft.com/office/powerpoint/2010/main" val="4165923564"/>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Box (1)">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hasCustomPrompt="1"/>
          </p:nvPr>
        </p:nvSpPr>
        <p:spPr>
          <a:xfrm>
            <a:off x="666751" y="1228725"/>
            <a:ext cx="10872000" cy="247650"/>
          </a:xfrm>
        </p:spPr>
        <p:txBody>
          <a:bodyPr/>
          <a:lstStyle>
            <a:lvl1pPr>
              <a:defRPr/>
            </a:lvl1pPr>
          </a:lstStyle>
          <a:p>
            <a:pPr lvl="0"/>
            <a:r>
              <a:rPr lang="nl-NL" noProof="0" dirty="0"/>
              <a:t>Klik om subtitel in te voegen</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8" y="1592263"/>
            <a:ext cx="10866440" cy="4716461"/>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hasCustomPrompt="1"/>
          </p:nvPr>
        </p:nvSpPr>
        <p:spPr>
          <a:xfrm>
            <a:off x="666749" y="266699"/>
            <a:ext cx="10866441" cy="930276"/>
          </a:xfrm>
          <a:prstGeom prst="rect">
            <a:avLst/>
          </a:prstGeom>
        </p:spPr>
        <p:txBody>
          <a:bodyPr vert="horz" lIns="91440" tIns="45720" rIns="91440" bIns="45720" rtlCol="0" anchor="b">
            <a:noAutofit/>
          </a:bodyPr>
          <a:lstStyle>
            <a:lvl1pPr>
              <a:defRPr/>
            </a:lvl1pPr>
          </a:lstStyle>
          <a:p>
            <a:r>
              <a:rPr lang="nl-NL" noProof="0" dirty="0"/>
              <a:t>Klik om titel in te voegen</a:t>
            </a:r>
          </a:p>
        </p:txBody>
      </p:sp>
    </p:spTree>
    <p:extLst>
      <p:ext uri="{BB962C8B-B14F-4D97-AF65-F5344CB8AC3E}">
        <p14:creationId xmlns:p14="http://schemas.microsoft.com/office/powerpoint/2010/main" val="22875196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8" y="1592263"/>
            <a:ext cx="10866440" cy="4716461"/>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5149241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962980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206350" y="1592263"/>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7157705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206350" y="1592263"/>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1423681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3933374" y="1592263"/>
            <a:ext cx="7605374"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8158718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66749" y="1610863"/>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42405725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hasCustomPrompt="1"/>
          </p:nvPr>
        </p:nvSpPr>
        <p:spPr>
          <a:xfrm>
            <a:off x="666750" y="1611881"/>
            <a:ext cx="5332398" cy="247650"/>
          </a:xfrm>
        </p:spPr>
        <p:txBody>
          <a:bodyPr/>
          <a:lstStyle>
            <a:lvl1pPr>
              <a:defRPr b="1"/>
            </a:lvl1pPr>
          </a:lstStyle>
          <a:p>
            <a:pPr lvl="0"/>
            <a:r>
              <a:rPr lang="nl-NL" noProof="0"/>
              <a:t>Klik om kop toe te voegen</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206350" y="1611881"/>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2278405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hasCustomPrompt="1"/>
          </p:nvPr>
        </p:nvSpPr>
        <p:spPr>
          <a:xfrm>
            <a:off x="666747" y="1614179"/>
            <a:ext cx="5331600" cy="306388"/>
          </a:xfrm>
          <a:solidFill>
            <a:schemeClr val="tx2"/>
          </a:solidFill>
          <a:ln w="19050">
            <a:solidFill>
              <a:schemeClr val="accent1"/>
            </a:solidFill>
          </a:ln>
        </p:spPr>
        <p:txBody>
          <a:bodyPr anchor="ctr">
            <a:noAutofit/>
          </a:bodyPr>
          <a:lstStyle>
            <a:lvl1pPr algn="l">
              <a:defRPr b="1">
                <a:solidFill>
                  <a:schemeClr val="bg1"/>
                </a:solidFill>
              </a:defRPr>
            </a:lvl1pPr>
          </a:lstStyle>
          <a:p>
            <a:pPr lvl="0"/>
            <a:r>
              <a:rPr lang="nl-NL" noProof="0"/>
              <a:t>Klik om kop toe te voegen</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91440" tIns="45720" rIns="91440" bIns="4572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hasCustomPrompt="1"/>
          </p:nvPr>
        </p:nvSpPr>
        <p:spPr>
          <a:xfrm>
            <a:off x="6207148" y="1614179"/>
            <a:ext cx="5331600" cy="306388"/>
          </a:xfrm>
          <a:solidFill>
            <a:schemeClr val="tx2"/>
          </a:solidFill>
          <a:ln w="19050">
            <a:solidFill>
              <a:schemeClr val="accent1"/>
            </a:solidFill>
          </a:ln>
        </p:spPr>
        <p:txBody>
          <a:bodyPr vert="horz" lIns="91440" tIns="45720" rIns="91440" bIns="45720" rtlCol="0" anchor="ctr">
            <a:noAutofit/>
          </a:bodyPr>
          <a:lstStyle>
            <a:lvl1pPr algn="l">
              <a:defRPr lang="nl-NL" b="1" dirty="0">
                <a:solidFill>
                  <a:schemeClr val="bg1"/>
                </a:solidFill>
              </a:defRPr>
            </a:lvl1pPr>
          </a:lstStyle>
          <a:p>
            <a:pPr lvl="0"/>
            <a:r>
              <a:rPr lang="nl-NL" noProof="0"/>
              <a:t>Klik om kop toe te voegen</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91440" tIns="45720" rIns="91440" bIns="4572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42879574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1575051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hasCustomPrompt="1"/>
          </p:nvPr>
        </p:nvSpPr>
        <p:spPr>
          <a:xfrm>
            <a:off x="666750" y="1611881"/>
            <a:ext cx="3516680"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hasCustomPrompt="1"/>
          </p:nvPr>
        </p:nvSpPr>
        <p:spPr>
          <a:xfrm>
            <a:off x="4337660" y="1611881"/>
            <a:ext cx="3516680" cy="247650"/>
          </a:xfrm>
        </p:spPr>
        <p:txBody>
          <a:bodyPr/>
          <a:lstStyle>
            <a:lvl1pPr>
              <a:defRPr b="1"/>
            </a:lvl1pPr>
          </a:lstStyle>
          <a:p>
            <a:pPr lvl="0"/>
            <a:r>
              <a:rPr lang="nl-NL" noProof="0"/>
              <a:t>Klik om kop toe te voegen</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hasCustomPrompt="1"/>
          </p:nvPr>
        </p:nvSpPr>
        <p:spPr>
          <a:xfrm>
            <a:off x="8022067" y="1611881"/>
            <a:ext cx="3516680"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17084512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hasCustomPrompt="1"/>
          </p:nvPr>
        </p:nvSpPr>
        <p:spPr>
          <a:xfrm>
            <a:off x="666747"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hasCustomPrompt="1"/>
          </p:nvPr>
        </p:nvSpPr>
        <p:spPr>
          <a:xfrm>
            <a:off x="4344407"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hasCustomPrompt="1"/>
          </p:nvPr>
        </p:nvSpPr>
        <p:spPr>
          <a:xfrm>
            <a:off x="8008570"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6820393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3180894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hasCustomPrompt="1"/>
          </p:nvPr>
        </p:nvSpPr>
        <p:spPr>
          <a:xfrm>
            <a:off x="666747" y="1611881"/>
            <a:ext cx="5332398" cy="247650"/>
          </a:xfrm>
        </p:spPr>
        <p:txBody>
          <a:bodyPr/>
          <a:lstStyle>
            <a:lvl1pPr>
              <a:defRPr b="1"/>
            </a:lvl1pPr>
          </a:lstStyle>
          <a:p>
            <a:pPr lvl="0"/>
            <a:r>
              <a:rPr lang="nl-NL" noProof="0"/>
              <a:t>Klik om kop toe te voegen</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hasCustomPrompt="1"/>
          </p:nvPr>
        </p:nvSpPr>
        <p:spPr>
          <a:xfrm>
            <a:off x="6192852" y="1611881"/>
            <a:ext cx="5332398" cy="247650"/>
          </a:xfrm>
        </p:spPr>
        <p:txBody>
          <a:bodyPr/>
          <a:lstStyle>
            <a:lvl1pPr>
              <a:defRPr b="1"/>
            </a:lvl1pPr>
          </a:lstStyle>
          <a:p>
            <a:pPr lvl="0"/>
            <a:r>
              <a:rPr lang="nl-NL" noProof="0"/>
              <a:t>Klik om kop toe te voegen</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hasCustomPrompt="1"/>
          </p:nvPr>
        </p:nvSpPr>
        <p:spPr>
          <a:xfrm>
            <a:off x="666747" y="4034805"/>
            <a:ext cx="5332398"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hasCustomPrompt="1"/>
          </p:nvPr>
        </p:nvSpPr>
        <p:spPr>
          <a:xfrm>
            <a:off x="6192852" y="4034805"/>
            <a:ext cx="5332398"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26343562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3933374" y="1592263"/>
            <a:ext cx="7605374"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435390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hasCustomPrompt="1"/>
          </p:nvPr>
        </p:nvSpPr>
        <p:spPr>
          <a:xfrm>
            <a:off x="666747"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hasCustomPrompt="1"/>
          </p:nvPr>
        </p:nvSpPr>
        <p:spPr>
          <a:xfrm>
            <a:off x="6192051"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hasCustomPrompt="1"/>
          </p:nvPr>
        </p:nvSpPr>
        <p:spPr>
          <a:xfrm>
            <a:off x="666747" y="4078538"/>
            <a:ext cx="5331600" cy="306388"/>
          </a:xfrm>
          <a:solidFill>
            <a:schemeClr val="tx2"/>
          </a:solidFill>
          <a:ln w="19050">
            <a:solidFill>
              <a:schemeClr val="accent1"/>
            </a:solidFill>
          </a:ln>
        </p:spPr>
        <p:txBody>
          <a:bodyPr vert="horz" lIns="91440" tIns="45720" rIns="91440" bIns="45720" rtlCol="0" anchor="ctr">
            <a:noAutofit/>
          </a:bodyPr>
          <a:lstStyle>
            <a:lvl1pPr>
              <a:defRPr lang="nl-NL" b="1"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hasCustomPrompt="1"/>
          </p:nvPr>
        </p:nvSpPr>
        <p:spPr>
          <a:xfrm>
            <a:off x="6192051" y="4078538"/>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8771816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Box (4)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91440" tIns="45720" rIns="91440" bIns="45720" rtlCol="0">
            <a:noAutofit/>
          </a:bodyPr>
          <a:lstStyle>
            <a:lvl1pPr>
              <a:defRPr lang="en-US" dirty="0"/>
            </a:lvl1pPr>
            <a:lvl2pPr marL="285750" indent="-285750">
              <a:buFont typeface="Arial" panose="020B0604020202020204" pitchFamily="34" charset="0"/>
              <a:buChar char="•"/>
              <a:defRPr lang="en-US" dirty="0"/>
            </a:lvl2pPr>
            <a:lvl3pPr>
              <a:defRPr lang="en-US" dirty="0"/>
            </a:lvl3pPr>
            <a:lvl4pPr>
              <a:defRPr lang="en-US"/>
            </a:lvl4pPr>
            <a:lvl5pPr>
              <a:defRPr lang="nl-NL"/>
            </a:lvl5pPr>
          </a:lstStyle>
          <a:p>
            <a:pPr lvl="1"/>
            <a:r>
              <a:rPr lang="nl-NL" noProof="0"/>
              <a:t>Typ hier je antwoord</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91440" tIns="45720" rIns="91440" bIns="45720" rtlCol="0">
            <a:noAutofit/>
          </a:bodyPr>
          <a:lstStyle>
            <a:lvl1pPr>
              <a:defRPr lang="en-US" dirty="0"/>
            </a:lvl1pPr>
            <a:lvl2pPr marL="285750" indent="-285750">
              <a:buFont typeface="Arial" panose="020B0604020202020204" pitchFamily="34" charset="0"/>
              <a:buChar char="•"/>
              <a:defRPr lang="en-US" dirty="0"/>
            </a:lvl2pPr>
            <a:lvl3pPr>
              <a:defRPr lang="en-US" dirty="0"/>
            </a:lvl3pPr>
            <a:lvl4pPr>
              <a:defRPr lang="en-US" dirty="0"/>
            </a:lvl4pPr>
            <a:lvl5pPr>
              <a:defRPr lang="nl-NL" dirty="0"/>
            </a:lvl5pPr>
          </a:lstStyle>
          <a:p>
            <a:pPr lvl="1"/>
            <a:r>
              <a:rPr lang="nl-NL" noProof="0"/>
              <a:t>Typ hier je antwoord</a:t>
            </a:r>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hasCustomPrompt="1"/>
          </p:nvPr>
        </p:nvSpPr>
        <p:spPr>
          <a:xfrm>
            <a:off x="666747"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hasCustomPrompt="1"/>
          </p:nvPr>
        </p:nvSpPr>
        <p:spPr>
          <a:xfrm>
            <a:off x="6192051"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hasCustomPrompt="1"/>
          </p:nvPr>
        </p:nvSpPr>
        <p:spPr>
          <a:xfrm>
            <a:off x="666747" y="4078538"/>
            <a:ext cx="5331600" cy="306388"/>
          </a:xfrm>
          <a:solidFill>
            <a:schemeClr val="tx2"/>
          </a:solidFill>
          <a:ln w="19050">
            <a:solidFill>
              <a:schemeClr val="accent1"/>
            </a:solidFill>
          </a:ln>
        </p:spPr>
        <p:txBody>
          <a:bodyPr vert="horz" lIns="91440" tIns="45720" rIns="91440" bIns="45720" rtlCol="0" anchor="ctr">
            <a:noAutofit/>
          </a:bodyPr>
          <a:lstStyle>
            <a:lvl1pPr>
              <a:defRPr lang="nl-NL" b="1"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hasCustomPrompt="1"/>
          </p:nvPr>
        </p:nvSpPr>
        <p:spPr>
          <a:xfrm>
            <a:off x="6192051" y="4078538"/>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91440" tIns="45720" rIns="91440" bIns="45720" rtlCol="0">
            <a:noAutofit/>
          </a:bodyPr>
          <a:lstStyle>
            <a:lvl1pPr>
              <a:defRPr lang="en-US" dirty="0"/>
            </a:lvl1pPr>
            <a:lvl2pPr marL="285750" indent="-285750">
              <a:buFont typeface="Arial" panose="020B0604020202020204" pitchFamily="34" charset="0"/>
              <a:buChar char="•"/>
              <a:defRPr lang="en-US" dirty="0"/>
            </a:lvl2pPr>
            <a:lvl3pPr>
              <a:defRPr lang="en-US" dirty="0"/>
            </a:lvl3pPr>
            <a:lvl4pPr>
              <a:defRPr lang="en-US"/>
            </a:lvl4pPr>
            <a:lvl5pPr>
              <a:defRPr lang="nl-NL"/>
            </a:lvl5pPr>
          </a:lstStyle>
          <a:p>
            <a:pPr lvl="1"/>
            <a:r>
              <a:rPr lang="nl-NL" noProof="0"/>
              <a:t>Typ hier je antwoord</a:t>
            </a:r>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91440" tIns="45720" rIns="91440" bIns="45720" rtlCol="0">
            <a:noAutofit/>
          </a:bodyPr>
          <a:lstStyle>
            <a:lvl1pPr>
              <a:defRPr lang="en-US" dirty="0"/>
            </a:lvl1pPr>
            <a:lvl2pPr marL="285750" indent="-285750">
              <a:buFont typeface="Arial" panose="020B0604020202020204" pitchFamily="34" charset="0"/>
              <a:buChar char="•"/>
              <a:defRPr lang="en-US" dirty="0"/>
            </a:lvl2pPr>
            <a:lvl3pPr>
              <a:defRPr lang="en-US" dirty="0"/>
            </a:lvl3pPr>
            <a:lvl4pPr>
              <a:defRPr lang="en-US" dirty="0"/>
            </a:lvl4pPr>
            <a:lvl5pPr>
              <a:defRPr lang="nl-NL" dirty="0"/>
            </a:lvl5pPr>
          </a:lstStyle>
          <a:p>
            <a:pPr lvl="1"/>
            <a:r>
              <a:rPr lang="nl-NL" noProof="0"/>
              <a:t>Typ hier je antwoord</a:t>
            </a:r>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627644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40949951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hasCustomPrompt="1"/>
          </p:nvPr>
        </p:nvSpPr>
        <p:spPr>
          <a:xfrm>
            <a:off x="666750" y="1611881"/>
            <a:ext cx="3516680" cy="247650"/>
          </a:xfrm>
        </p:spPr>
        <p:txBody>
          <a:bodyPr/>
          <a:lstStyle>
            <a:lvl1pPr>
              <a:defRPr b="1"/>
            </a:lvl1pPr>
          </a:lstStyle>
          <a:p>
            <a:pPr lvl="0"/>
            <a:r>
              <a:rPr lang="nl-NL" noProof="0"/>
              <a:t>Klik om kop toe te voegen</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hasCustomPrompt="1"/>
          </p:nvPr>
        </p:nvSpPr>
        <p:spPr>
          <a:xfrm>
            <a:off x="4337660" y="1611881"/>
            <a:ext cx="3516680" cy="247650"/>
          </a:xfrm>
        </p:spPr>
        <p:txBody>
          <a:bodyPr/>
          <a:lstStyle>
            <a:lvl1pPr>
              <a:defRPr b="1"/>
            </a:lvl1pPr>
          </a:lstStyle>
          <a:p>
            <a:pPr lvl="0"/>
            <a:r>
              <a:rPr lang="nl-NL" noProof="0"/>
              <a:t>Klik om kop toe te voegen</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hasCustomPrompt="1"/>
          </p:nvPr>
        </p:nvSpPr>
        <p:spPr>
          <a:xfrm>
            <a:off x="8022067" y="1611881"/>
            <a:ext cx="3516680" cy="247650"/>
          </a:xfrm>
        </p:spPr>
        <p:txBody>
          <a:bodyPr/>
          <a:lstStyle>
            <a:lvl1pPr>
              <a:defRPr b="1"/>
            </a:lvl1pPr>
          </a:lstStyle>
          <a:p>
            <a:pPr lvl="0"/>
            <a:r>
              <a:rPr lang="nl-NL" noProof="0"/>
              <a:t>Klik om kop toe te voegen</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hasCustomPrompt="1"/>
          </p:nvPr>
        </p:nvSpPr>
        <p:spPr>
          <a:xfrm>
            <a:off x="666750" y="4065752"/>
            <a:ext cx="3516680" cy="247650"/>
          </a:xfrm>
        </p:spPr>
        <p:txBody>
          <a:bodyPr/>
          <a:lstStyle>
            <a:lvl1pPr>
              <a:defRPr b="1"/>
            </a:lvl1pPr>
          </a:lstStyle>
          <a:p>
            <a:pPr lvl="0"/>
            <a:r>
              <a:rPr lang="nl-NL" noProof="0"/>
              <a:t>Klik om kop toe te voegen</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hasCustomPrompt="1"/>
          </p:nvPr>
        </p:nvSpPr>
        <p:spPr>
          <a:xfrm>
            <a:off x="4337660" y="4065752"/>
            <a:ext cx="3516680" cy="247650"/>
          </a:xfrm>
        </p:spPr>
        <p:txBody>
          <a:bodyPr/>
          <a:lstStyle>
            <a:lvl1pPr>
              <a:defRPr b="1"/>
            </a:lvl1pPr>
          </a:lstStyle>
          <a:p>
            <a:pPr lvl="0"/>
            <a:r>
              <a:rPr lang="nl-NL" noProof="0"/>
              <a:t>Klik om kop toe te voegen</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hasCustomPrompt="1"/>
          </p:nvPr>
        </p:nvSpPr>
        <p:spPr>
          <a:xfrm>
            <a:off x="8022067" y="4065752"/>
            <a:ext cx="3516680"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35454254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hasCustomPrompt="1"/>
          </p:nvPr>
        </p:nvSpPr>
        <p:spPr>
          <a:xfrm>
            <a:off x="666747"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hasCustomPrompt="1"/>
          </p:nvPr>
        </p:nvSpPr>
        <p:spPr>
          <a:xfrm>
            <a:off x="4344407"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hasCustomPrompt="1"/>
          </p:nvPr>
        </p:nvSpPr>
        <p:spPr>
          <a:xfrm>
            <a:off x="8008570"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hasCustomPrompt="1"/>
          </p:nvPr>
        </p:nvSpPr>
        <p:spPr>
          <a:xfrm>
            <a:off x="666747"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hasCustomPrompt="1"/>
          </p:nvPr>
        </p:nvSpPr>
        <p:spPr>
          <a:xfrm>
            <a:off x="4344407"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hasCustomPrompt="1"/>
          </p:nvPr>
        </p:nvSpPr>
        <p:spPr>
          <a:xfrm>
            <a:off x="8008570"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540202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Box (6)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bg1">
                <a:lumMod val="75000"/>
              </a:schemeClr>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hasCustomPrompt="1"/>
          </p:nvPr>
        </p:nvSpPr>
        <p:spPr>
          <a:xfrm>
            <a:off x="666747" y="1614179"/>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hasCustomPrompt="1"/>
          </p:nvPr>
        </p:nvSpPr>
        <p:spPr>
          <a:xfrm>
            <a:off x="4344407" y="1614179"/>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hasCustomPrompt="1"/>
          </p:nvPr>
        </p:nvSpPr>
        <p:spPr>
          <a:xfrm>
            <a:off x="8008570" y="1614179"/>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hasCustomPrompt="1"/>
          </p:nvPr>
        </p:nvSpPr>
        <p:spPr>
          <a:xfrm>
            <a:off x="666747" y="4078955"/>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hasCustomPrompt="1"/>
          </p:nvPr>
        </p:nvSpPr>
        <p:spPr>
          <a:xfrm>
            <a:off x="4344407" y="4078955"/>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hasCustomPrompt="1"/>
          </p:nvPr>
        </p:nvSpPr>
        <p:spPr>
          <a:xfrm>
            <a:off x="8008570" y="4078955"/>
            <a:ext cx="3516682" cy="306388"/>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9" name="Text Placeholder 13">
            <a:extLst>
              <a:ext uri="{FF2B5EF4-FFF2-40B4-BE49-F238E27FC236}">
                <a16:creationId xmlns:a16="http://schemas.microsoft.com/office/drawing/2014/main" id="{EFE79D6A-F6C5-6849-B796-CE6FAE6E4065}"/>
              </a:ext>
            </a:extLst>
          </p:cNvPr>
          <p:cNvSpPr>
            <a:spLocks noGrp="1"/>
          </p:cNvSpPr>
          <p:nvPr>
            <p:ph type="body" sz="quarter" idx="30" hasCustomPrompt="1"/>
          </p:nvPr>
        </p:nvSpPr>
        <p:spPr>
          <a:xfrm>
            <a:off x="4344407" y="1920567"/>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4" name="Titel 13">
            <a:extLst>
              <a:ext uri="{FF2B5EF4-FFF2-40B4-BE49-F238E27FC236}">
                <a16:creationId xmlns:a16="http://schemas.microsoft.com/office/drawing/2014/main" id="{6C8594F3-A967-F045-B5A9-9BEE68F9765E}"/>
              </a:ext>
            </a:extLst>
          </p:cNvPr>
          <p:cNvSpPr>
            <a:spLocks noGrp="1"/>
          </p:cNvSpPr>
          <p:nvPr>
            <p:ph type="title"/>
          </p:nvPr>
        </p:nvSpPr>
        <p:spPr/>
        <p:txBody>
          <a:bodyPr/>
          <a:lstStyle/>
          <a:p>
            <a:r>
              <a:rPr lang="nl-NL"/>
              <a:t>Klik om stijl te bewerken</a:t>
            </a:r>
          </a:p>
        </p:txBody>
      </p:sp>
      <p:sp>
        <p:nvSpPr>
          <p:cNvPr id="32" name="Tijdelijke aanduiding voor tekst 31">
            <a:extLst>
              <a:ext uri="{FF2B5EF4-FFF2-40B4-BE49-F238E27FC236}">
                <a16:creationId xmlns:a16="http://schemas.microsoft.com/office/drawing/2014/main" id="{C8A33D3D-C2A1-5046-B99C-27C8BD8FD542}"/>
              </a:ext>
            </a:extLst>
          </p:cNvPr>
          <p:cNvSpPr>
            <a:spLocks noGrp="1"/>
          </p:cNvSpPr>
          <p:nvPr>
            <p:ph type="body" sz="quarter" idx="32" hasCustomPrompt="1"/>
          </p:nvPr>
        </p:nvSpPr>
        <p:spPr>
          <a:xfrm>
            <a:off x="5330132" y="1920567"/>
            <a:ext cx="2530957" cy="528719"/>
          </a:xfrm>
        </p:spPr>
        <p:txBody>
          <a:bodyPr/>
          <a:lstStyle/>
          <a:p>
            <a:pPr lvl="0"/>
            <a:r>
              <a:rPr lang="nl-NL"/>
              <a:t>Vul hier de naam van het spoor in</a:t>
            </a:r>
          </a:p>
        </p:txBody>
      </p:sp>
      <p:sp>
        <p:nvSpPr>
          <p:cNvPr id="33" name="Tijdelijke aanduiding voor tekst 31">
            <a:extLst>
              <a:ext uri="{FF2B5EF4-FFF2-40B4-BE49-F238E27FC236}">
                <a16:creationId xmlns:a16="http://schemas.microsoft.com/office/drawing/2014/main" id="{12E940E8-2604-274B-9FEB-8DB06B912C8E}"/>
              </a:ext>
            </a:extLst>
          </p:cNvPr>
          <p:cNvSpPr>
            <a:spLocks noGrp="1"/>
          </p:cNvSpPr>
          <p:nvPr>
            <p:ph type="body" sz="quarter" idx="33" hasCustomPrompt="1"/>
          </p:nvPr>
        </p:nvSpPr>
        <p:spPr>
          <a:xfrm>
            <a:off x="5330132" y="2471042"/>
            <a:ext cx="2530957" cy="1332000"/>
          </a:xfrm>
        </p:spPr>
        <p:txBody>
          <a:bodyPr/>
          <a:lstStyle/>
          <a:p>
            <a:pPr lvl="0"/>
            <a:r>
              <a:rPr lang="nl-NL"/>
              <a:t>Vul hier de namen van de deliverables / producten die de hoogste prioriteit hebben in</a:t>
            </a:r>
          </a:p>
        </p:txBody>
      </p:sp>
      <p:sp>
        <p:nvSpPr>
          <p:cNvPr id="34" name="Text Placeholder 13">
            <a:extLst>
              <a:ext uri="{FF2B5EF4-FFF2-40B4-BE49-F238E27FC236}">
                <a16:creationId xmlns:a16="http://schemas.microsoft.com/office/drawing/2014/main" id="{ECC0528E-8DB4-B64B-A0C3-C0D9A5B58EA0}"/>
              </a:ext>
            </a:extLst>
          </p:cNvPr>
          <p:cNvSpPr>
            <a:spLocks noGrp="1"/>
          </p:cNvSpPr>
          <p:nvPr>
            <p:ph type="body" sz="quarter" idx="34" hasCustomPrompt="1"/>
          </p:nvPr>
        </p:nvSpPr>
        <p:spPr>
          <a:xfrm>
            <a:off x="8008570" y="1920567"/>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35" name="Tijdelijke aanduiding voor tekst 31">
            <a:extLst>
              <a:ext uri="{FF2B5EF4-FFF2-40B4-BE49-F238E27FC236}">
                <a16:creationId xmlns:a16="http://schemas.microsoft.com/office/drawing/2014/main" id="{7299C9D8-A9E6-9847-8CD6-CEED00F4F50F}"/>
              </a:ext>
            </a:extLst>
          </p:cNvPr>
          <p:cNvSpPr>
            <a:spLocks noGrp="1"/>
          </p:cNvSpPr>
          <p:nvPr>
            <p:ph type="body" sz="quarter" idx="35" hasCustomPrompt="1"/>
          </p:nvPr>
        </p:nvSpPr>
        <p:spPr>
          <a:xfrm>
            <a:off x="8994295" y="1920567"/>
            <a:ext cx="2530957" cy="528719"/>
          </a:xfrm>
        </p:spPr>
        <p:txBody>
          <a:bodyPr/>
          <a:lstStyle/>
          <a:p>
            <a:pPr lvl="0"/>
            <a:r>
              <a:rPr lang="nl-NL"/>
              <a:t>Vul hier de naam van het spoor in</a:t>
            </a:r>
          </a:p>
        </p:txBody>
      </p:sp>
      <p:sp>
        <p:nvSpPr>
          <p:cNvPr id="36" name="Tijdelijke aanduiding voor tekst 31">
            <a:extLst>
              <a:ext uri="{FF2B5EF4-FFF2-40B4-BE49-F238E27FC236}">
                <a16:creationId xmlns:a16="http://schemas.microsoft.com/office/drawing/2014/main" id="{A2A4DFCA-C6D2-BE49-891C-97428721B5F5}"/>
              </a:ext>
            </a:extLst>
          </p:cNvPr>
          <p:cNvSpPr>
            <a:spLocks noGrp="1"/>
          </p:cNvSpPr>
          <p:nvPr>
            <p:ph type="body" sz="quarter" idx="36" hasCustomPrompt="1"/>
          </p:nvPr>
        </p:nvSpPr>
        <p:spPr>
          <a:xfrm>
            <a:off x="8994295" y="2471042"/>
            <a:ext cx="2530957" cy="1332000"/>
          </a:xfrm>
        </p:spPr>
        <p:txBody>
          <a:bodyPr/>
          <a:lstStyle/>
          <a:p>
            <a:pPr lvl="0"/>
            <a:r>
              <a:rPr lang="nl-NL"/>
              <a:t>Vul hier de namen van de deliverables / producten die de hoogste prioriteit hebben in</a:t>
            </a:r>
          </a:p>
        </p:txBody>
      </p:sp>
      <p:sp>
        <p:nvSpPr>
          <p:cNvPr id="37" name="Text Placeholder 13">
            <a:extLst>
              <a:ext uri="{FF2B5EF4-FFF2-40B4-BE49-F238E27FC236}">
                <a16:creationId xmlns:a16="http://schemas.microsoft.com/office/drawing/2014/main" id="{5BA2E9D3-775A-E04E-B7B3-1221232547B4}"/>
              </a:ext>
            </a:extLst>
          </p:cNvPr>
          <p:cNvSpPr>
            <a:spLocks noGrp="1"/>
          </p:cNvSpPr>
          <p:nvPr>
            <p:ph type="body" sz="quarter" idx="37" hasCustomPrompt="1"/>
          </p:nvPr>
        </p:nvSpPr>
        <p:spPr>
          <a:xfrm>
            <a:off x="666747" y="4394267"/>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38" name="Tijdelijke aanduiding voor tekst 31">
            <a:extLst>
              <a:ext uri="{FF2B5EF4-FFF2-40B4-BE49-F238E27FC236}">
                <a16:creationId xmlns:a16="http://schemas.microsoft.com/office/drawing/2014/main" id="{701F0C1A-0774-F74E-9815-70C0F11D876B}"/>
              </a:ext>
            </a:extLst>
          </p:cNvPr>
          <p:cNvSpPr>
            <a:spLocks noGrp="1"/>
          </p:cNvSpPr>
          <p:nvPr>
            <p:ph type="body" sz="quarter" idx="38" hasCustomPrompt="1"/>
          </p:nvPr>
        </p:nvSpPr>
        <p:spPr>
          <a:xfrm>
            <a:off x="1652472" y="4394267"/>
            <a:ext cx="2530957" cy="528719"/>
          </a:xfrm>
        </p:spPr>
        <p:txBody>
          <a:bodyPr/>
          <a:lstStyle/>
          <a:p>
            <a:pPr lvl="0"/>
            <a:r>
              <a:rPr lang="nl-NL"/>
              <a:t>Vul hier de naam van het spoor in</a:t>
            </a:r>
          </a:p>
        </p:txBody>
      </p:sp>
      <p:sp>
        <p:nvSpPr>
          <p:cNvPr id="39" name="Tijdelijke aanduiding voor tekst 31">
            <a:extLst>
              <a:ext uri="{FF2B5EF4-FFF2-40B4-BE49-F238E27FC236}">
                <a16:creationId xmlns:a16="http://schemas.microsoft.com/office/drawing/2014/main" id="{78B70E5B-174C-0942-82E6-BB80CB9B6941}"/>
              </a:ext>
            </a:extLst>
          </p:cNvPr>
          <p:cNvSpPr>
            <a:spLocks noGrp="1"/>
          </p:cNvSpPr>
          <p:nvPr>
            <p:ph type="body" sz="quarter" idx="39" hasCustomPrompt="1"/>
          </p:nvPr>
        </p:nvSpPr>
        <p:spPr>
          <a:xfrm>
            <a:off x="1652472" y="4944742"/>
            <a:ext cx="2530957" cy="1332000"/>
          </a:xfrm>
        </p:spPr>
        <p:txBody>
          <a:bodyPr/>
          <a:lstStyle/>
          <a:p>
            <a:pPr lvl="0"/>
            <a:r>
              <a:rPr lang="nl-NL"/>
              <a:t>Vul hier de namen van de deliverables / producten die de hoogste prioriteit hebben in</a:t>
            </a:r>
          </a:p>
        </p:txBody>
      </p:sp>
      <p:sp>
        <p:nvSpPr>
          <p:cNvPr id="40" name="Text Placeholder 13">
            <a:extLst>
              <a:ext uri="{FF2B5EF4-FFF2-40B4-BE49-F238E27FC236}">
                <a16:creationId xmlns:a16="http://schemas.microsoft.com/office/drawing/2014/main" id="{0EC698CF-2A9A-D743-A8F4-EAE104236558}"/>
              </a:ext>
            </a:extLst>
          </p:cNvPr>
          <p:cNvSpPr>
            <a:spLocks noGrp="1"/>
          </p:cNvSpPr>
          <p:nvPr>
            <p:ph type="body" sz="quarter" idx="40" hasCustomPrompt="1"/>
          </p:nvPr>
        </p:nvSpPr>
        <p:spPr>
          <a:xfrm>
            <a:off x="4344407" y="4386009"/>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41" name="Tijdelijke aanduiding voor tekst 31">
            <a:extLst>
              <a:ext uri="{FF2B5EF4-FFF2-40B4-BE49-F238E27FC236}">
                <a16:creationId xmlns:a16="http://schemas.microsoft.com/office/drawing/2014/main" id="{AD447351-8D7A-F545-ADDD-221E1554A1AF}"/>
              </a:ext>
            </a:extLst>
          </p:cNvPr>
          <p:cNvSpPr>
            <a:spLocks noGrp="1"/>
          </p:cNvSpPr>
          <p:nvPr>
            <p:ph type="body" sz="quarter" idx="41" hasCustomPrompt="1"/>
          </p:nvPr>
        </p:nvSpPr>
        <p:spPr>
          <a:xfrm>
            <a:off x="5330132" y="4386009"/>
            <a:ext cx="2530957" cy="528719"/>
          </a:xfrm>
        </p:spPr>
        <p:txBody>
          <a:bodyPr/>
          <a:lstStyle/>
          <a:p>
            <a:pPr lvl="0"/>
            <a:r>
              <a:rPr lang="nl-NL"/>
              <a:t>Vul hier de naam van het spoor in</a:t>
            </a:r>
          </a:p>
        </p:txBody>
      </p:sp>
      <p:sp>
        <p:nvSpPr>
          <p:cNvPr id="42" name="Tijdelijke aanduiding voor tekst 31">
            <a:extLst>
              <a:ext uri="{FF2B5EF4-FFF2-40B4-BE49-F238E27FC236}">
                <a16:creationId xmlns:a16="http://schemas.microsoft.com/office/drawing/2014/main" id="{3528DB85-850E-FD47-A6E6-F9D925AB7167}"/>
              </a:ext>
            </a:extLst>
          </p:cNvPr>
          <p:cNvSpPr>
            <a:spLocks noGrp="1"/>
          </p:cNvSpPr>
          <p:nvPr>
            <p:ph type="body" sz="quarter" idx="42" hasCustomPrompt="1"/>
          </p:nvPr>
        </p:nvSpPr>
        <p:spPr>
          <a:xfrm>
            <a:off x="5330132" y="4936484"/>
            <a:ext cx="2530957" cy="1332000"/>
          </a:xfrm>
        </p:spPr>
        <p:txBody>
          <a:bodyPr/>
          <a:lstStyle/>
          <a:p>
            <a:pPr lvl="0"/>
            <a:r>
              <a:rPr lang="nl-NL"/>
              <a:t>Vul hier de namen van de deliverables / producten die de hoogste prioriteit hebben in</a:t>
            </a:r>
          </a:p>
        </p:txBody>
      </p:sp>
      <p:sp>
        <p:nvSpPr>
          <p:cNvPr id="43" name="Text Placeholder 13">
            <a:extLst>
              <a:ext uri="{FF2B5EF4-FFF2-40B4-BE49-F238E27FC236}">
                <a16:creationId xmlns:a16="http://schemas.microsoft.com/office/drawing/2014/main" id="{F3836A49-97FE-F144-BFE3-4FC1B4CF0408}"/>
              </a:ext>
            </a:extLst>
          </p:cNvPr>
          <p:cNvSpPr>
            <a:spLocks noGrp="1"/>
          </p:cNvSpPr>
          <p:nvPr>
            <p:ph type="body" sz="quarter" idx="43" hasCustomPrompt="1"/>
          </p:nvPr>
        </p:nvSpPr>
        <p:spPr>
          <a:xfrm>
            <a:off x="8008570" y="4385714"/>
            <a:ext cx="985725" cy="1923382"/>
          </a:xfrm>
          <a:solidFill>
            <a:schemeClr val="bg1">
              <a:lumMod val="75000"/>
            </a:schemeClr>
          </a:solidFill>
          <a:ln w="19050">
            <a:solidFill>
              <a:schemeClr val="bg1">
                <a:lumMod val="75000"/>
              </a:schemeClr>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44" name="Tijdelijke aanduiding voor tekst 31">
            <a:extLst>
              <a:ext uri="{FF2B5EF4-FFF2-40B4-BE49-F238E27FC236}">
                <a16:creationId xmlns:a16="http://schemas.microsoft.com/office/drawing/2014/main" id="{F31A3FF5-FAC1-F24E-8B72-14033D89B1D7}"/>
              </a:ext>
            </a:extLst>
          </p:cNvPr>
          <p:cNvSpPr>
            <a:spLocks noGrp="1"/>
          </p:cNvSpPr>
          <p:nvPr>
            <p:ph type="body" sz="quarter" idx="44" hasCustomPrompt="1"/>
          </p:nvPr>
        </p:nvSpPr>
        <p:spPr>
          <a:xfrm>
            <a:off x="8994295" y="4385714"/>
            <a:ext cx="2530957" cy="528719"/>
          </a:xfrm>
        </p:spPr>
        <p:txBody>
          <a:bodyPr/>
          <a:lstStyle/>
          <a:p>
            <a:pPr lvl="0"/>
            <a:r>
              <a:rPr lang="nl-NL"/>
              <a:t>Vul hier de naam van het spoor in</a:t>
            </a:r>
          </a:p>
        </p:txBody>
      </p:sp>
      <p:sp>
        <p:nvSpPr>
          <p:cNvPr id="45" name="Tijdelijke aanduiding voor tekst 31">
            <a:extLst>
              <a:ext uri="{FF2B5EF4-FFF2-40B4-BE49-F238E27FC236}">
                <a16:creationId xmlns:a16="http://schemas.microsoft.com/office/drawing/2014/main" id="{C93D5F3F-0707-954E-A7B4-BD34C15AFADB}"/>
              </a:ext>
            </a:extLst>
          </p:cNvPr>
          <p:cNvSpPr>
            <a:spLocks noGrp="1"/>
          </p:cNvSpPr>
          <p:nvPr>
            <p:ph type="body" sz="quarter" idx="45" hasCustomPrompt="1"/>
          </p:nvPr>
        </p:nvSpPr>
        <p:spPr>
          <a:xfrm>
            <a:off x="8994295" y="4936189"/>
            <a:ext cx="2530957" cy="1332000"/>
          </a:xfrm>
        </p:spPr>
        <p:txBody>
          <a:bodyPr/>
          <a:lstStyle/>
          <a:p>
            <a:pPr lvl="0"/>
            <a:r>
              <a:rPr lang="nl-NL"/>
              <a:t>Vul hier de namen van de deliverables / producten die de hoogste prioriteit hebben in</a:t>
            </a:r>
          </a:p>
        </p:txBody>
      </p:sp>
    </p:spTree>
    <p:extLst>
      <p:ext uri="{BB962C8B-B14F-4D97-AF65-F5344CB8AC3E}">
        <p14:creationId xmlns:p14="http://schemas.microsoft.com/office/powerpoint/2010/main" val="36600700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No Pic">
    <p:spTree>
      <p:nvGrpSpPr>
        <p:cNvPr id="1" name=""/>
        <p:cNvGrpSpPr/>
        <p:nvPr/>
      </p:nvGrpSpPr>
      <p:grpSpPr>
        <a:xfrm>
          <a:off x="0" y="0"/>
          <a:ext cx="0" cy="0"/>
          <a:chOff x="0" y="0"/>
          <a:chExt cx="0" cy="0"/>
        </a:xfrm>
      </p:grpSpPr>
      <p:sp>
        <p:nvSpPr>
          <p:cNvPr id="6" name="Rectangle 5"/>
          <p:cNvSpPr/>
          <p:nvPr userDrawn="1"/>
        </p:nvSpPr>
        <p:spPr>
          <a:xfrm>
            <a:off x="658813" y="0"/>
            <a:ext cx="115331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7" name="Tijdelijke aanduiding voor titel 1"/>
          <p:cNvSpPr>
            <a:spLocks noGrp="1"/>
          </p:cNvSpPr>
          <p:nvPr>
            <p:ph type="ctrTitle" hasCustomPrompt="1"/>
          </p:nvPr>
        </p:nvSpPr>
        <p:spPr>
          <a:xfrm>
            <a:off x="989445" y="1758950"/>
            <a:ext cx="9789584"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8" name="Tijdelijke aanduiding voor tekst 2"/>
          <p:cNvSpPr>
            <a:spLocks noGrp="1"/>
          </p:cNvSpPr>
          <p:nvPr>
            <p:ph type="body" idx="1" hasCustomPrompt="1"/>
          </p:nvPr>
        </p:nvSpPr>
        <p:spPr>
          <a:xfrm>
            <a:off x="989445" y="3602038"/>
            <a:ext cx="9789584"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Tree>
    <p:extLst>
      <p:ext uri="{BB962C8B-B14F-4D97-AF65-F5344CB8AC3E}">
        <p14:creationId xmlns:p14="http://schemas.microsoft.com/office/powerpoint/2010/main" val="19080580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sp>
        <p:nvSpPr>
          <p:cNvPr id="6" name="Rectangle 5"/>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
        <p:nvSpPr>
          <p:cNvPr id="9" name="Rectangle 8">
            <a:extLst>
              <a:ext uri="{FF2B5EF4-FFF2-40B4-BE49-F238E27FC236}">
                <a16:creationId xmlns:a16="http://schemas.microsoft.com/office/drawing/2014/main" id="{C8EE59D7-E2D5-4CAC-9E3A-721293572BE1}"/>
              </a:ext>
            </a:extLst>
          </p:cNvPr>
          <p:cNvSpPr/>
          <p:nvPr userDrawn="1"/>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endParaRPr lang="nl-NL" noProof="0"/>
          </a:p>
        </p:txBody>
      </p:sp>
    </p:spTree>
    <p:extLst>
      <p:ext uri="{BB962C8B-B14F-4D97-AF65-F5344CB8AC3E}">
        <p14:creationId xmlns:p14="http://schemas.microsoft.com/office/powerpoint/2010/main" val="35814999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endParaRPr lang="nl-NL" noProof="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6916882"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6916882" cy="3973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Tree>
    <p:extLst>
      <p:ext uri="{BB962C8B-B14F-4D97-AF65-F5344CB8AC3E}">
        <p14:creationId xmlns:p14="http://schemas.microsoft.com/office/powerpoint/2010/main" val="20243887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a:lstStyle>
            <a:lvl1pPr>
              <a:defRPr sz="4000" b="1" u="none"/>
            </a:lvl1pPr>
          </a:lstStyle>
          <a:p>
            <a:pPr lvl="0"/>
            <a:r>
              <a:rPr lang="nl-NL" noProof="0"/>
              <a:t>Klik om hoofdstuknummer in te voegen</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a:lstStyle>
            <a:lvl1pPr>
              <a:defRPr sz="5400" b="1">
                <a:solidFill>
                  <a:schemeClr val="tx2"/>
                </a:solidFill>
              </a:defRPr>
            </a:lvl1pPr>
          </a:lstStyle>
          <a:p>
            <a:pPr lvl="0"/>
            <a:r>
              <a:rPr lang="nl-NL" noProof="0"/>
              <a:t>Klik om hoofdstuk titel in te voegen</a:t>
            </a:r>
          </a:p>
        </p:txBody>
      </p:sp>
    </p:spTree>
    <p:extLst>
      <p:ext uri="{BB962C8B-B14F-4D97-AF65-F5344CB8AC3E}">
        <p14:creationId xmlns:p14="http://schemas.microsoft.com/office/powerpoint/2010/main" val="1349919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66749" y="1610863"/>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42910574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userDrawn="1"/>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noProof="0">
              <a:solidFill>
                <a:srgbClr val="000000"/>
              </a:solidFill>
              <a:latin typeface="Corbel" panose="020B0503020204020204" pitchFamily="34" charset="0"/>
            </a:endParaRPr>
          </a:p>
        </p:txBody>
      </p:sp>
      <p:sp>
        <p:nvSpPr>
          <p:cNvPr id="2" name="Title 1"/>
          <p:cNvSpPr>
            <a:spLocks noGrp="1"/>
          </p:cNvSpPr>
          <p:nvPr>
            <p:ph type="title" hasCustomPrompt="1"/>
          </p:nvPr>
        </p:nvSpPr>
        <p:spPr>
          <a:xfrm rot="16200000">
            <a:off x="-1789060" y="2468072"/>
            <a:ext cx="6579421" cy="1643271"/>
          </a:xfrm>
          <a:prstGeom prst="rect">
            <a:avLst/>
          </a:prstGeom>
        </p:spPr>
        <p:txBody>
          <a:bodyPr/>
          <a:lstStyle>
            <a:lvl1pPr algn="ctr">
              <a:defRPr sz="5400">
                <a:solidFill>
                  <a:schemeClr val="tx2"/>
                </a:solidFill>
              </a:defRPr>
            </a:lvl1pPr>
          </a:lstStyle>
          <a:p>
            <a:r>
              <a:rPr lang="nl-NL" noProof="0"/>
              <a:t>Klik om titel in te voegen</a:t>
            </a:r>
          </a:p>
        </p:txBody>
      </p:sp>
      <p:sp>
        <p:nvSpPr>
          <p:cNvPr id="7" name="Footer Placeholder 6"/>
          <p:cNvSpPr>
            <a:spLocks noGrp="1"/>
          </p:cNvSpPr>
          <p:nvPr>
            <p:ph type="ftr" sz="quarter" idx="13"/>
          </p:nvPr>
        </p:nvSpPr>
        <p:spPr>
          <a:xfrm>
            <a:off x="679015" y="6579420"/>
            <a:ext cx="10011773" cy="225188"/>
          </a:xfrm>
          <a:prstGeom prst="rect">
            <a:avLst/>
          </a:prstGeom>
        </p:spPr>
        <p:txBody>
          <a:bodyPr/>
          <a:lstStyle>
            <a:lvl1pPr>
              <a:defRPr sz="1000">
                <a:latin typeface="Corbel" panose="020B0503020204020204" pitchFamily="34" charset="0"/>
              </a:defRPr>
            </a:lvl1pPr>
          </a:lstStyle>
          <a:p>
            <a:r>
              <a:rPr lang="nl-NL"/>
              <a:t>Informatiebijeenkomst 26 juli 2021 Europese Aanbesteding SVWI</a:t>
            </a:r>
          </a:p>
        </p:txBody>
      </p:sp>
      <p:sp>
        <p:nvSpPr>
          <p:cNvPr id="17" name="Slide Number Placeholder 5">
            <a:extLst>
              <a:ext uri="{FF2B5EF4-FFF2-40B4-BE49-F238E27FC236}">
                <a16:creationId xmlns:a16="http://schemas.microsoft.com/office/drawing/2014/main" id="{8F05B933-2137-41C1-8E87-28DFD097E66E}"/>
              </a:ext>
            </a:extLst>
          </p:cNvPr>
          <p:cNvSpPr>
            <a:spLocks noGrp="1"/>
          </p:cNvSpPr>
          <p:nvPr>
            <p:ph type="sldNum" sz="quarter" idx="12"/>
          </p:nvPr>
        </p:nvSpPr>
        <p:spPr>
          <a:xfrm>
            <a:off x="10845404" y="6579420"/>
            <a:ext cx="813612" cy="225188"/>
          </a:xfrm>
          <a:prstGeom prst="rect">
            <a:avLst/>
          </a:prstGeom>
        </p:spPr>
        <p:txBody>
          <a:bodyPr/>
          <a:lstStyle>
            <a:lvl1pPr algn="ctr">
              <a:defRPr sz="1050">
                <a:latin typeface="Corbel" panose="020B0503020204020204" pitchFamily="34" charset="0"/>
              </a:defRPr>
            </a:lvl1pPr>
          </a:lstStyle>
          <a:p>
            <a:fld id="{9493FAB8-1E51-48C1-887E-A59978B24DF9}" type="slidenum">
              <a:rPr lang="nl-NL" noProof="0" smtClean="0"/>
              <a:pPr/>
              <a:t>‹nr.›</a:t>
            </a:fld>
            <a:endParaRPr lang="nl-NL" noProof="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Tree>
    <p:extLst>
      <p:ext uri="{BB962C8B-B14F-4D97-AF65-F5344CB8AC3E}">
        <p14:creationId xmlns:p14="http://schemas.microsoft.com/office/powerpoint/2010/main" val="3844408474"/>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endParaRPr lang="nl-NL" noProof="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a:defRPr sz="2000" b="1">
                <a:solidFill>
                  <a:srgbClr val="000000"/>
                </a:solidFill>
              </a:defRPr>
            </a:lvl1pPr>
          </a:lstStyle>
          <a:p>
            <a:pPr lvl="0"/>
            <a:r>
              <a:rPr lang="nl-NL" noProof="0"/>
              <a:t>Klik om titel in te voegen</a:t>
            </a:r>
          </a:p>
        </p:txBody>
      </p:sp>
    </p:spTree>
    <p:extLst>
      <p:ext uri="{BB962C8B-B14F-4D97-AF65-F5344CB8AC3E}">
        <p14:creationId xmlns:p14="http://schemas.microsoft.com/office/powerpoint/2010/main" val="13193945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endParaRPr lang="nl-NL" noProof="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nl-NL" noProof="0"/>
              <a:t>Klik om titel in te voegen</a:t>
            </a:r>
          </a:p>
        </p:txBody>
      </p:sp>
    </p:spTree>
    <p:extLst>
      <p:ext uri="{BB962C8B-B14F-4D97-AF65-F5344CB8AC3E}">
        <p14:creationId xmlns:p14="http://schemas.microsoft.com/office/powerpoint/2010/main" val="29630027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solidFill>
                  <a:schemeClr val="tx2"/>
                </a:solidFill>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endParaRPr lang="nl-NL" noProof="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endParaRPr lang="nl-NL" noProof="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endParaRPr lang="nl-NL" noProof="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endParaRPr lang="nl-NL" noProof="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endParaRPr lang="nl-NL" noProof="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endParaRPr lang="nl-NL" noProof="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endParaRPr lang="nl-NL" noProof="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endParaRPr lang="nl-NL" noProof="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endParaRPr lang="nl-NL" noProof="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endParaRPr lang="nl-NL" noProof="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endParaRPr lang="nl-NL" noProof="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endParaRPr lang="nl-NL" noProof="0"/>
          </a:p>
        </p:txBody>
      </p:sp>
    </p:spTree>
    <p:extLst>
      <p:ext uri="{BB962C8B-B14F-4D97-AF65-F5344CB8AC3E}">
        <p14:creationId xmlns:p14="http://schemas.microsoft.com/office/powerpoint/2010/main" val="2693322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solidFill>
                  <a:schemeClr val="tx2"/>
                </a:solidFill>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endParaRPr lang="nl-NL" noProof="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endParaRPr lang="nl-NL" noProof="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endParaRPr lang="nl-NL" noProof="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endParaRPr lang="nl-NL" noProof="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endParaRPr lang="nl-NL" noProof="0"/>
          </a:p>
        </p:txBody>
      </p:sp>
    </p:spTree>
    <p:extLst>
      <p:ext uri="{BB962C8B-B14F-4D97-AF65-F5344CB8AC3E}">
        <p14:creationId xmlns:p14="http://schemas.microsoft.com/office/powerpoint/2010/main" val="48887131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endParaRPr lang="nl-NL" noProof="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endParaRPr lang="nl-NL" noProof="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endParaRPr lang="nl-NL" noProof="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endParaRPr lang="nl-NL" noProof="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endParaRPr lang="nl-NL" noProof="0"/>
          </a:p>
        </p:txBody>
      </p:sp>
    </p:spTree>
    <p:extLst>
      <p:ext uri="{BB962C8B-B14F-4D97-AF65-F5344CB8AC3E}">
        <p14:creationId xmlns:p14="http://schemas.microsoft.com/office/powerpoint/2010/main" val="19064156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endParaRPr lang="nl-NL" noProof="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endParaRPr lang="nl-NL" noProof="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endParaRPr lang="nl-NL" noProof="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endParaRPr lang="nl-NL" noProof="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endParaRPr lang="nl-NL" noProof="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endParaRPr lang="nl-NL" noProof="0"/>
          </a:p>
        </p:txBody>
      </p:sp>
    </p:spTree>
    <p:extLst>
      <p:ext uri="{BB962C8B-B14F-4D97-AF65-F5344CB8AC3E}">
        <p14:creationId xmlns:p14="http://schemas.microsoft.com/office/powerpoint/2010/main" val="24340439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 (6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endParaRPr lang="nl-NL" noProof="0"/>
          </a:p>
        </p:txBody>
      </p:sp>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endParaRPr lang="nl-NL" noProof="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endParaRPr lang="nl-NL" noProof="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endParaRPr lang="nl-NL" noProof="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endParaRPr lang="nl-NL" noProof="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endParaRPr lang="nl-NL" noProof="0"/>
          </a:p>
        </p:txBody>
      </p:sp>
    </p:spTree>
    <p:extLst>
      <p:ext uri="{BB962C8B-B14F-4D97-AF65-F5344CB8AC3E}">
        <p14:creationId xmlns:p14="http://schemas.microsoft.com/office/powerpoint/2010/main" val="9227135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419369" y="1751832"/>
            <a:ext cx="1978923" cy="1978923"/>
          </a:xfrm>
          <a:prstGeom prst="ellipse">
            <a:avLst/>
          </a:prstGeom>
          <a:ln w="76200">
            <a:noFill/>
          </a:ln>
        </p:spPr>
        <p:txBody>
          <a:bodyPr/>
          <a:lstStyle>
            <a:lvl1pPr>
              <a:defRPr/>
            </a:lvl1pPr>
          </a:lstStyle>
          <a:p>
            <a:r>
              <a:rPr lang="nl-NL" noProof="0"/>
              <a:t>Picture</a:t>
            </a:r>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endParaRPr lang="nl-NL" noProof="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endParaRPr lang="nl-NL" noProof="0"/>
          </a:p>
        </p:txBody>
      </p:sp>
    </p:spTree>
    <p:extLst>
      <p:ext uri="{BB962C8B-B14F-4D97-AF65-F5344CB8AC3E}">
        <p14:creationId xmlns:p14="http://schemas.microsoft.com/office/powerpoint/2010/main" val="150423486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noProof="0"/>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endParaRPr lang="nl-NL" noProof="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endParaRPr lang="nl-NL" noProof="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endParaRPr lang="nl-NL" noProof="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endParaRPr lang="nl-NL" noProof="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endParaRPr lang="nl-NL" noProof="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endParaRPr lang="nl-NL" noProof="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endParaRPr lang="nl-NL" noProof="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endParaRPr lang="nl-NL" noProof="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endParaRPr lang="nl-NL" noProof="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endParaRPr lang="nl-NL" noProof="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172431" y="1670050"/>
            <a:ext cx="2320190" cy="791465"/>
          </a:xfrm>
        </p:spPr>
        <p:txBody>
          <a:bodyPr/>
          <a:lstStyle>
            <a:lvl1pPr>
              <a:defRPr/>
            </a:lvl1pPr>
          </a:lstStyle>
          <a:p>
            <a:pPr lvl="0"/>
            <a:r>
              <a:rPr lang="nl-NL" noProof="0"/>
              <a:t>Klik om tekst in te voegen</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hasCustomPrompt="1"/>
          </p:nvPr>
        </p:nvSpPr>
        <p:spPr>
          <a:xfrm>
            <a:off x="5172431" y="2612782"/>
            <a:ext cx="2320190" cy="791465"/>
          </a:xfrm>
        </p:spPr>
        <p:txBody>
          <a:bodyPr/>
          <a:lstStyle>
            <a:lvl1pPr>
              <a:defRPr/>
            </a:lvl1pPr>
          </a:lstStyle>
          <a:p>
            <a:pPr lvl="0"/>
            <a:r>
              <a:rPr lang="nl-NL" noProof="0"/>
              <a:t>Klik om tekst in te voegen</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hasCustomPrompt="1"/>
          </p:nvPr>
        </p:nvSpPr>
        <p:spPr>
          <a:xfrm>
            <a:off x="5172431" y="3554761"/>
            <a:ext cx="2320190" cy="791465"/>
          </a:xfrm>
        </p:spPr>
        <p:txBody>
          <a:bodyPr/>
          <a:lstStyle>
            <a:lvl1pPr>
              <a:defRPr/>
            </a:lvl1pPr>
          </a:lstStyle>
          <a:p>
            <a:pPr lvl="0"/>
            <a:r>
              <a:rPr lang="nl-NL" noProof="0"/>
              <a:t>Klik om tekst in te voegen</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hasCustomPrompt="1"/>
          </p:nvPr>
        </p:nvSpPr>
        <p:spPr>
          <a:xfrm>
            <a:off x="5172431" y="4496740"/>
            <a:ext cx="2320190" cy="791465"/>
          </a:xfrm>
        </p:spPr>
        <p:txBody>
          <a:bodyPr/>
          <a:lstStyle>
            <a:lvl1pPr>
              <a:defRPr/>
            </a:lvl1pPr>
          </a:lstStyle>
          <a:p>
            <a:pPr lvl="0"/>
            <a:r>
              <a:rPr lang="nl-NL" noProof="0"/>
              <a:t>Klik om tekst in te voegen</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hasCustomPrompt="1"/>
          </p:nvPr>
        </p:nvSpPr>
        <p:spPr>
          <a:xfrm>
            <a:off x="5172431" y="5438719"/>
            <a:ext cx="2320190" cy="791465"/>
          </a:xfrm>
        </p:spPr>
        <p:txBody>
          <a:bodyPr/>
          <a:lstStyle>
            <a:lvl1pPr>
              <a:defRPr/>
            </a:lvl1pPr>
          </a:lstStyle>
          <a:p>
            <a:pPr lvl="0"/>
            <a:r>
              <a:rPr lang="nl-NL" noProof="0"/>
              <a:t>Klik om tekst in te voegen</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hasCustomPrompt="1"/>
          </p:nvPr>
        </p:nvSpPr>
        <p:spPr>
          <a:xfrm>
            <a:off x="8876823" y="1670050"/>
            <a:ext cx="2320190" cy="791465"/>
          </a:xfrm>
        </p:spPr>
        <p:txBody>
          <a:bodyPr/>
          <a:lstStyle>
            <a:lvl1pPr>
              <a:defRPr/>
            </a:lvl1pPr>
          </a:lstStyle>
          <a:p>
            <a:pPr lvl="0"/>
            <a:r>
              <a:rPr lang="nl-NL" noProof="0"/>
              <a:t>Klik om tekst in te voegen</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hasCustomPrompt="1"/>
          </p:nvPr>
        </p:nvSpPr>
        <p:spPr>
          <a:xfrm>
            <a:off x="8876823" y="2612782"/>
            <a:ext cx="2320190" cy="791465"/>
          </a:xfrm>
        </p:spPr>
        <p:txBody>
          <a:bodyPr/>
          <a:lstStyle>
            <a:lvl1pPr>
              <a:defRPr/>
            </a:lvl1pPr>
          </a:lstStyle>
          <a:p>
            <a:pPr lvl="0"/>
            <a:r>
              <a:rPr lang="nl-NL" noProof="0"/>
              <a:t>Klik om tekst in te voegen</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hasCustomPrompt="1"/>
          </p:nvPr>
        </p:nvSpPr>
        <p:spPr>
          <a:xfrm>
            <a:off x="8876823" y="3554761"/>
            <a:ext cx="2320190" cy="791465"/>
          </a:xfrm>
        </p:spPr>
        <p:txBody>
          <a:bodyPr/>
          <a:lstStyle>
            <a:lvl1pPr>
              <a:defRPr/>
            </a:lvl1pPr>
          </a:lstStyle>
          <a:p>
            <a:pPr lvl="0"/>
            <a:r>
              <a:rPr lang="nl-NL" noProof="0"/>
              <a:t>Klik om tekst in te voegen</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hasCustomPrompt="1"/>
          </p:nvPr>
        </p:nvSpPr>
        <p:spPr>
          <a:xfrm>
            <a:off x="8876823" y="4496740"/>
            <a:ext cx="2320190" cy="791465"/>
          </a:xfrm>
        </p:spPr>
        <p:txBody>
          <a:bodyPr/>
          <a:lstStyle>
            <a:lvl1pPr>
              <a:defRPr/>
            </a:lvl1pPr>
          </a:lstStyle>
          <a:p>
            <a:pPr lvl="0"/>
            <a:r>
              <a:rPr lang="nl-NL" noProof="0"/>
              <a:t>Klik om tekst in te voegen</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hasCustomPrompt="1"/>
          </p:nvPr>
        </p:nvSpPr>
        <p:spPr>
          <a:xfrm>
            <a:off x="8876823" y="5438719"/>
            <a:ext cx="2320190" cy="791465"/>
          </a:xfrm>
        </p:spPr>
        <p:txBody>
          <a:bodyPr/>
          <a:lstStyle>
            <a:lvl1pPr marL="0" marR="0" indent="0" algn="l" defTabSz="685800" rtl="0" eaLnBrk="1" fontAlgn="auto" latinLnBrk="0" hangingPunct="1">
              <a:lnSpc>
                <a:spcPct val="90000"/>
              </a:lnSpc>
              <a:spcBef>
                <a:spcPts val="750"/>
              </a:spcBef>
              <a:spcAft>
                <a:spcPts val="0"/>
              </a:spcAft>
              <a:buClr>
                <a:srgbClr val="FF0000"/>
              </a:buClr>
              <a:buSzTx/>
              <a:buFontTx/>
              <a:buNone/>
              <a:tabLst/>
              <a:defRPr/>
            </a:lvl1pPr>
          </a:lstStyle>
          <a:p>
            <a:pPr lvl="0"/>
            <a:r>
              <a:rPr lang="nl-NL" noProof="0"/>
              <a:t>Klik om tekst in te voegen</a:t>
            </a:r>
          </a:p>
        </p:txBody>
      </p:sp>
    </p:spTree>
    <p:extLst>
      <p:ext uri="{BB962C8B-B14F-4D97-AF65-F5344CB8AC3E}">
        <p14:creationId xmlns:p14="http://schemas.microsoft.com/office/powerpoint/2010/main" val="22187346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hasCustomPrompt="1"/>
          </p:nvPr>
        </p:nvSpPr>
        <p:spPr>
          <a:xfrm>
            <a:off x="666750" y="1611881"/>
            <a:ext cx="5332398" cy="247650"/>
          </a:xfrm>
        </p:spPr>
        <p:txBody>
          <a:bodyPr/>
          <a:lstStyle>
            <a:lvl1pPr>
              <a:defRPr b="1"/>
            </a:lvl1pPr>
          </a:lstStyle>
          <a:p>
            <a:pPr lvl="0"/>
            <a:r>
              <a:rPr lang="nl-NL" noProof="0"/>
              <a:t>Klik om kop toe te voegen</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206350" y="1611881"/>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479999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Blank Slide" type="blank">
  <p:cSld name="Blank Slide">
    <p:spTree>
      <p:nvGrpSpPr>
        <p:cNvPr id="1" name="Shape 134"/>
        <p:cNvGrpSpPr/>
        <p:nvPr/>
      </p:nvGrpSpPr>
      <p:grpSpPr>
        <a:xfrm>
          <a:off x="0" y="0"/>
          <a:ext cx="0" cy="0"/>
          <a:chOff x="0" y="0"/>
          <a:chExt cx="0" cy="0"/>
        </a:xfrm>
      </p:grpSpPr>
    </p:spTree>
    <p:extLst>
      <p:ext uri="{BB962C8B-B14F-4D97-AF65-F5344CB8AC3E}">
        <p14:creationId xmlns:p14="http://schemas.microsoft.com/office/powerpoint/2010/main" val="28556239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59" y="1595"/>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p:nvPr/>
                    </p:nvPicPr>
                    <p:blipFill>
                      <a:blip r:embed="rId4"/>
                      <a:stretch>
                        <a:fillRect/>
                      </a:stretch>
                    </p:blipFill>
                    <p:spPr>
                      <a:xfrm>
                        <a:off x="1959" y="1595"/>
                        <a:ext cx="1953" cy="1587"/>
                      </a:xfrm>
                      <a:prstGeom prst="rect">
                        <a:avLst/>
                      </a:prstGeom>
                    </p:spPr>
                  </p:pic>
                </p:oleObj>
              </mc:Fallback>
            </mc:AlternateContent>
          </a:graphicData>
        </a:graphic>
      </p:graphicFrame>
    </p:spTree>
    <p:extLst>
      <p:ext uri="{BB962C8B-B14F-4D97-AF65-F5344CB8AC3E}">
        <p14:creationId xmlns:p14="http://schemas.microsoft.com/office/powerpoint/2010/main" val="140411717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8" y="1592263"/>
            <a:ext cx="10866440" cy="4716461"/>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1355485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hasCustomPrompt="1"/>
          </p:nvPr>
        </p:nvSpPr>
        <p:spPr>
          <a:xfrm>
            <a:off x="666750" y="1611881"/>
            <a:ext cx="3516680"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hasCustomPrompt="1"/>
          </p:nvPr>
        </p:nvSpPr>
        <p:spPr>
          <a:xfrm>
            <a:off x="4337660" y="1611881"/>
            <a:ext cx="3516680" cy="247650"/>
          </a:xfrm>
        </p:spPr>
        <p:txBody>
          <a:bodyPr/>
          <a:lstStyle>
            <a:lvl1pPr>
              <a:defRPr b="1"/>
            </a:lvl1pPr>
          </a:lstStyle>
          <a:p>
            <a:pPr lvl="0"/>
            <a:r>
              <a:rPr lang="nl-NL" noProof="0"/>
              <a:t>Klik om kop toe te voegen</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hasCustomPrompt="1"/>
          </p:nvPr>
        </p:nvSpPr>
        <p:spPr>
          <a:xfrm>
            <a:off x="8022067" y="1611881"/>
            <a:ext cx="3516680" cy="247650"/>
          </a:xfrm>
        </p:spPr>
        <p:txBody>
          <a:bodyPr/>
          <a:lstStyle>
            <a:lvl1pPr>
              <a:defRPr b="1"/>
            </a:lvl1pPr>
          </a:lstStyle>
          <a:p>
            <a:pPr lvl="0"/>
            <a:r>
              <a:rPr lang="nl-NL" noProof="0"/>
              <a:t>Klik om kop toe te voegen</a:t>
            </a:r>
          </a:p>
        </p:txBody>
      </p:sp>
      <p:sp>
        <p:nvSpPr>
          <p:cNvPr id="11" name="Text Placeholder 8">
            <a:extLst>
              <a:ext uri="{FF2B5EF4-FFF2-40B4-BE49-F238E27FC236}">
                <a16:creationId xmlns:a16="http://schemas.microsoft.com/office/drawing/2014/main" id="{56D51069-A0EF-4ED9-AFB6-7C5FA0BAD0A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Tree>
    <p:extLst>
      <p:ext uri="{BB962C8B-B14F-4D97-AF65-F5344CB8AC3E}">
        <p14:creationId xmlns:p14="http://schemas.microsoft.com/office/powerpoint/2010/main" val="36088047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64739364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206350" y="1592263"/>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1764013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3933374" y="1592263"/>
            <a:ext cx="7605374"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5871224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66749" y="1610863"/>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22404770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hasCustomPrompt="1"/>
          </p:nvPr>
        </p:nvSpPr>
        <p:spPr>
          <a:xfrm>
            <a:off x="666750" y="1611881"/>
            <a:ext cx="5332398" cy="247650"/>
          </a:xfrm>
        </p:spPr>
        <p:txBody>
          <a:bodyPr/>
          <a:lstStyle>
            <a:lvl1pPr>
              <a:defRPr b="1"/>
            </a:lvl1pPr>
          </a:lstStyle>
          <a:p>
            <a:pPr lvl="0"/>
            <a:r>
              <a:rPr lang="nl-NL" noProof="0"/>
              <a:t>Klik om kop toe te voegen</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206350" y="1611881"/>
            <a:ext cx="5332398"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6632122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hasCustomPrompt="1"/>
          </p:nvPr>
        </p:nvSpPr>
        <p:spPr>
          <a:xfrm>
            <a:off x="666747" y="1614179"/>
            <a:ext cx="5331600" cy="306388"/>
          </a:xfrm>
          <a:solidFill>
            <a:schemeClr val="tx2"/>
          </a:solidFill>
          <a:ln w="19050">
            <a:solidFill>
              <a:schemeClr val="accent1"/>
            </a:solidFill>
          </a:ln>
        </p:spPr>
        <p:txBody>
          <a:bodyPr anchor="ctr">
            <a:noAutofit/>
          </a:bodyPr>
          <a:lstStyle>
            <a:lvl1pPr algn="l">
              <a:defRPr b="1">
                <a:solidFill>
                  <a:schemeClr val="bg1"/>
                </a:solidFill>
              </a:defRPr>
            </a:lvl1pPr>
          </a:lstStyle>
          <a:p>
            <a:pPr lvl="0"/>
            <a:r>
              <a:rPr lang="nl-NL" noProof="0"/>
              <a:t>Klik om kop toe te voegen</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91440" tIns="45720" rIns="91440" bIns="4572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hasCustomPrompt="1"/>
          </p:nvPr>
        </p:nvSpPr>
        <p:spPr>
          <a:xfrm>
            <a:off x="6207148" y="1614179"/>
            <a:ext cx="5331600" cy="306388"/>
          </a:xfrm>
          <a:solidFill>
            <a:schemeClr val="tx2"/>
          </a:solidFill>
          <a:ln w="19050">
            <a:solidFill>
              <a:schemeClr val="accent1"/>
            </a:solidFill>
          </a:ln>
        </p:spPr>
        <p:txBody>
          <a:bodyPr vert="horz" lIns="91440" tIns="45720" rIns="91440" bIns="45720" rtlCol="0" anchor="ctr">
            <a:noAutofit/>
          </a:bodyPr>
          <a:lstStyle>
            <a:lvl1pPr algn="l">
              <a:defRPr lang="nl-NL" b="1" dirty="0">
                <a:solidFill>
                  <a:schemeClr val="bg1"/>
                </a:solidFill>
              </a:defRPr>
            </a:lvl1pPr>
          </a:lstStyle>
          <a:p>
            <a:pPr lvl="0"/>
            <a:r>
              <a:rPr lang="nl-NL" noProof="0"/>
              <a:t>Klik om kop toe te voegen</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91440" tIns="45720" rIns="91440" bIns="4572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7929869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hasCustomPrompt="1"/>
          </p:nvPr>
        </p:nvSpPr>
        <p:spPr>
          <a:xfrm>
            <a:off x="666747" y="1614179"/>
            <a:ext cx="5331600" cy="306388"/>
          </a:xfrm>
          <a:solidFill>
            <a:schemeClr val="tx2"/>
          </a:solidFill>
          <a:ln w="19050">
            <a:solidFill>
              <a:schemeClr val="accent1"/>
            </a:solidFill>
          </a:ln>
        </p:spPr>
        <p:txBody>
          <a:bodyPr anchor="ctr">
            <a:noAutofit/>
          </a:bodyPr>
          <a:lstStyle>
            <a:lvl1pPr algn="l">
              <a:defRPr b="1">
                <a:solidFill>
                  <a:schemeClr val="bg1"/>
                </a:solidFill>
              </a:defRPr>
            </a:lvl1pPr>
          </a:lstStyle>
          <a:p>
            <a:pPr lvl="0"/>
            <a:r>
              <a:rPr lang="nl-NL" noProof="0"/>
              <a:t>Klik om kop toe te voegen</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91440" tIns="45720" rIns="91440" bIns="4572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hasCustomPrompt="1"/>
          </p:nvPr>
        </p:nvSpPr>
        <p:spPr>
          <a:xfrm>
            <a:off x="6207148" y="1614179"/>
            <a:ext cx="5331600" cy="306388"/>
          </a:xfrm>
          <a:solidFill>
            <a:schemeClr val="tx2"/>
          </a:solidFill>
          <a:ln w="19050">
            <a:solidFill>
              <a:schemeClr val="accent1"/>
            </a:solidFill>
          </a:ln>
        </p:spPr>
        <p:txBody>
          <a:bodyPr vert="horz" lIns="91440" tIns="45720" rIns="91440" bIns="45720" rtlCol="0" anchor="ctr">
            <a:noAutofit/>
          </a:bodyPr>
          <a:lstStyle>
            <a:lvl1pPr algn="l">
              <a:defRPr lang="nl-NL" b="1" dirty="0">
                <a:solidFill>
                  <a:schemeClr val="bg1"/>
                </a:solidFill>
              </a:defRPr>
            </a:lvl1pPr>
          </a:lstStyle>
          <a:p>
            <a:pPr lvl="0"/>
            <a:r>
              <a:rPr lang="nl-NL" noProof="0"/>
              <a:t>Klik om kop toe te voegen</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91440" tIns="45720" rIns="91440" bIns="4572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5711972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1700668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Box (3) Charts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hasCustomPrompt="1"/>
          </p:nvPr>
        </p:nvSpPr>
        <p:spPr>
          <a:xfrm>
            <a:off x="666750" y="1611881"/>
            <a:ext cx="3516680"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hasCustomPrompt="1"/>
          </p:nvPr>
        </p:nvSpPr>
        <p:spPr>
          <a:xfrm>
            <a:off x="4337660" y="1611881"/>
            <a:ext cx="3516680" cy="247650"/>
          </a:xfrm>
        </p:spPr>
        <p:txBody>
          <a:bodyPr/>
          <a:lstStyle>
            <a:lvl1pPr>
              <a:defRPr b="1"/>
            </a:lvl1pPr>
          </a:lstStyle>
          <a:p>
            <a:pPr lvl="0"/>
            <a:r>
              <a:rPr lang="nl-NL" noProof="0"/>
              <a:t>Klik om kop toe te voegen</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hasCustomPrompt="1"/>
          </p:nvPr>
        </p:nvSpPr>
        <p:spPr>
          <a:xfrm>
            <a:off x="8022067" y="1611881"/>
            <a:ext cx="3516680"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41931775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hasCustomPrompt="1"/>
          </p:nvPr>
        </p:nvSpPr>
        <p:spPr>
          <a:xfrm>
            <a:off x="666747"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hasCustomPrompt="1"/>
          </p:nvPr>
        </p:nvSpPr>
        <p:spPr>
          <a:xfrm>
            <a:off x="4344407"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hasCustomPrompt="1"/>
          </p:nvPr>
        </p:nvSpPr>
        <p:spPr>
          <a:xfrm>
            <a:off x="8008570" y="1600532"/>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55012898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016177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hasCustomPrompt="1"/>
          </p:nvPr>
        </p:nvSpPr>
        <p:spPr>
          <a:xfrm>
            <a:off x="666747" y="1611881"/>
            <a:ext cx="5332398" cy="247650"/>
          </a:xfrm>
        </p:spPr>
        <p:txBody>
          <a:bodyPr/>
          <a:lstStyle>
            <a:lvl1pPr>
              <a:defRPr b="1"/>
            </a:lvl1pPr>
          </a:lstStyle>
          <a:p>
            <a:pPr lvl="0"/>
            <a:r>
              <a:rPr lang="nl-NL" noProof="0"/>
              <a:t>Klik om kop toe te voegen</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hasCustomPrompt="1"/>
          </p:nvPr>
        </p:nvSpPr>
        <p:spPr>
          <a:xfrm>
            <a:off x="6192852" y="1611881"/>
            <a:ext cx="5332398" cy="247650"/>
          </a:xfrm>
        </p:spPr>
        <p:txBody>
          <a:bodyPr/>
          <a:lstStyle>
            <a:lvl1pPr>
              <a:defRPr b="1"/>
            </a:lvl1pPr>
          </a:lstStyle>
          <a:p>
            <a:pPr lvl="0"/>
            <a:r>
              <a:rPr lang="nl-NL" noProof="0"/>
              <a:t>Klik om kop toe te voegen</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hasCustomPrompt="1"/>
          </p:nvPr>
        </p:nvSpPr>
        <p:spPr>
          <a:xfrm>
            <a:off x="666747" y="4034805"/>
            <a:ext cx="5332398"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hasCustomPrompt="1"/>
          </p:nvPr>
        </p:nvSpPr>
        <p:spPr>
          <a:xfrm>
            <a:off x="6192852" y="4034805"/>
            <a:ext cx="5332398"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295091787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hasCustomPrompt="1"/>
          </p:nvPr>
        </p:nvSpPr>
        <p:spPr>
          <a:xfrm>
            <a:off x="666747"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hasCustomPrompt="1"/>
          </p:nvPr>
        </p:nvSpPr>
        <p:spPr>
          <a:xfrm>
            <a:off x="6192051"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hasCustomPrompt="1"/>
          </p:nvPr>
        </p:nvSpPr>
        <p:spPr>
          <a:xfrm>
            <a:off x="666747" y="4078538"/>
            <a:ext cx="5331600" cy="306388"/>
          </a:xfrm>
          <a:solidFill>
            <a:schemeClr val="tx2"/>
          </a:solidFill>
          <a:ln w="19050">
            <a:solidFill>
              <a:schemeClr val="accent1"/>
            </a:solidFill>
          </a:ln>
        </p:spPr>
        <p:txBody>
          <a:bodyPr vert="horz" lIns="91440" tIns="45720" rIns="91440" bIns="45720" rtlCol="0" anchor="ctr">
            <a:noAutofit/>
          </a:bodyPr>
          <a:lstStyle>
            <a:lvl1pPr>
              <a:defRPr lang="nl-NL" b="1"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hasCustomPrompt="1"/>
          </p:nvPr>
        </p:nvSpPr>
        <p:spPr>
          <a:xfrm>
            <a:off x="6192051" y="4078538"/>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0979765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2556687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hasCustomPrompt="1"/>
          </p:nvPr>
        </p:nvSpPr>
        <p:spPr>
          <a:xfrm>
            <a:off x="666750" y="1611881"/>
            <a:ext cx="3516680" cy="247650"/>
          </a:xfrm>
        </p:spPr>
        <p:txBody>
          <a:bodyPr/>
          <a:lstStyle>
            <a:lvl1pPr>
              <a:defRPr b="1"/>
            </a:lvl1pPr>
          </a:lstStyle>
          <a:p>
            <a:pPr lvl="0"/>
            <a:r>
              <a:rPr lang="nl-NL" noProof="0"/>
              <a:t>Klik om kop toe te voegen</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hasCustomPrompt="1"/>
          </p:nvPr>
        </p:nvSpPr>
        <p:spPr>
          <a:xfrm>
            <a:off x="4337660" y="1611881"/>
            <a:ext cx="3516680" cy="247650"/>
          </a:xfrm>
        </p:spPr>
        <p:txBody>
          <a:bodyPr/>
          <a:lstStyle>
            <a:lvl1pPr>
              <a:defRPr b="1"/>
            </a:lvl1pPr>
          </a:lstStyle>
          <a:p>
            <a:pPr lvl="0"/>
            <a:r>
              <a:rPr lang="nl-NL" noProof="0"/>
              <a:t>Klik om kop toe te voegen</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hasCustomPrompt="1"/>
          </p:nvPr>
        </p:nvSpPr>
        <p:spPr>
          <a:xfrm>
            <a:off x="8022067" y="1611881"/>
            <a:ext cx="3516680" cy="247650"/>
          </a:xfrm>
        </p:spPr>
        <p:txBody>
          <a:bodyPr/>
          <a:lstStyle>
            <a:lvl1pPr>
              <a:defRPr b="1"/>
            </a:lvl1pPr>
          </a:lstStyle>
          <a:p>
            <a:pPr lvl="0"/>
            <a:r>
              <a:rPr lang="nl-NL" noProof="0"/>
              <a:t>Klik om kop toe te voegen</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hasCustomPrompt="1"/>
          </p:nvPr>
        </p:nvSpPr>
        <p:spPr>
          <a:xfrm>
            <a:off x="666750" y="4065752"/>
            <a:ext cx="3516680" cy="247650"/>
          </a:xfrm>
        </p:spPr>
        <p:txBody>
          <a:bodyPr/>
          <a:lstStyle>
            <a:lvl1pPr>
              <a:defRPr b="1"/>
            </a:lvl1pPr>
          </a:lstStyle>
          <a:p>
            <a:pPr lvl="0"/>
            <a:r>
              <a:rPr lang="nl-NL" noProof="0"/>
              <a:t>Klik om kop toe te voegen</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hasCustomPrompt="1"/>
          </p:nvPr>
        </p:nvSpPr>
        <p:spPr>
          <a:xfrm>
            <a:off x="4337660" y="4065752"/>
            <a:ext cx="3516680" cy="247650"/>
          </a:xfrm>
        </p:spPr>
        <p:txBody>
          <a:bodyPr/>
          <a:lstStyle>
            <a:lvl1pPr>
              <a:defRPr b="1"/>
            </a:lvl1pPr>
          </a:lstStyle>
          <a:p>
            <a:pPr lvl="0"/>
            <a:r>
              <a:rPr lang="nl-NL" noProof="0"/>
              <a:t>Klik om kop toe te voegen</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hasCustomPrompt="1"/>
          </p:nvPr>
        </p:nvSpPr>
        <p:spPr>
          <a:xfrm>
            <a:off x="8022067" y="4065752"/>
            <a:ext cx="3516680"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290996678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hasCustomPrompt="1"/>
          </p:nvPr>
        </p:nvSpPr>
        <p:spPr>
          <a:xfrm>
            <a:off x="666747"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hasCustomPrompt="1"/>
          </p:nvPr>
        </p:nvSpPr>
        <p:spPr>
          <a:xfrm>
            <a:off x="4344407"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hasCustomPrompt="1"/>
          </p:nvPr>
        </p:nvSpPr>
        <p:spPr>
          <a:xfrm>
            <a:off x="8008570" y="1614179"/>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hasCustomPrompt="1"/>
          </p:nvPr>
        </p:nvSpPr>
        <p:spPr>
          <a:xfrm>
            <a:off x="666747"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hasCustomPrompt="1"/>
          </p:nvPr>
        </p:nvSpPr>
        <p:spPr>
          <a:xfrm>
            <a:off x="4344407"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hasCustomPrompt="1"/>
          </p:nvPr>
        </p:nvSpPr>
        <p:spPr>
          <a:xfrm>
            <a:off x="8008570" y="4078955"/>
            <a:ext cx="3516682"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hasCustomPrompt="1"/>
          </p:nvPr>
        </p:nvSpPr>
        <p:spPr>
          <a:xfrm>
            <a:off x="666750" y="1228725"/>
            <a:ext cx="10872000" cy="247650"/>
          </a:xfrm>
        </p:spPr>
        <p:txBody>
          <a:bodyPr/>
          <a:lstStyle>
            <a:lvl1pPr>
              <a:defRPr/>
            </a:lvl1pPr>
          </a:lstStyle>
          <a:p>
            <a:pPr lvl="0"/>
            <a:r>
              <a:rPr lang="nl-NL" noProof="0"/>
              <a:t>Klik om subtitel in te voegen</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53972451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ver No Pic">
    <p:spTree>
      <p:nvGrpSpPr>
        <p:cNvPr id="1" name=""/>
        <p:cNvGrpSpPr/>
        <p:nvPr/>
      </p:nvGrpSpPr>
      <p:grpSpPr>
        <a:xfrm>
          <a:off x="0" y="0"/>
          <a:ext cx="0" cy="0"/>
          <a:chOff x="0" y="0"/>
          <a:chExt cx="0" cy="0"/>
        </a:xfrm>
      </p:grpSpPr>
      <p:sp>
        <p:nvSpPr>
          <p:cNvPr id="6" name="Rectangle 5"/>
          <p:cNvSpPr/>
          <p:nvPr userDrawn="1"/>
        </p:nvSpPr>
        <p:spPr>
          <a:xfrm>
            <a:off x="658813" y="0"/>
            <a:ext cx="115331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7" name="Tijdelijke aanduiding voor titel 1"/>
          <p:cNvSpPr>
            <a:spLocks noGrp="1"/>
          </p:cNvSpPr>
          <p:nvPr>
            <p:ph type="ctrTitle" hasCustomPrompt="1"/>
          </p:nvPr>
        </p:nvSpPr>
        <p:spPr>
          <a:xfrm>
            <a:off x="989445" y="1758950"/>
            <a:ext cx="9789584"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8" name="Tijdelijke aanduiding voor tekst 2"/>
          <p:cNvSpPr>
            <a:spLocks noGrp="1"/>
          </p:cNvSpPr>
          <p:nvPr>
            <p:ph type="body" idx="1" hasCustomPrompt="1"/>
          </p:nvPr>
        </p:nvSpPr>
        <p:spPr>
          <a:xfrm>
            <a:off x="989445" y="3602038"/>
            <a:ext cx="9789584"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Tree>
    <p:extLst>
      <p:ext uri="{BB962C8B-B14F-4D97-AF65-F5344CB8AC3E}">
        <p14:creationId xmlns:p14="http://schemas.microsoft.com/office/powerpoint/2010/main" val="21395616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58584637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sp>
        <p:nvSpPr>
          <p:cNvPr id="6" name="Rectangle 5"/>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
        <p:nvSpPr>
          <p:cNvPr id="9" name="Rectangle 8">
            <a:extLst>
              <a:ext uri="{FF2B5EF4-FFF2-40B4-BE49-F238E27FC236}">
                <a16:creationId xmlns:a16="http://schemas.microsoft.com/office/drawing/2014/main" id="{C8EE59D7-E2D5-4CAC-9E3A-721293572BE1}"/>
              </a:ext>
            </a:extLst>
          </p:cNvPr>
          <p:cNvSpPr/>
          <p:nvPr userDrawn="1"/>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endParaRPr lang="nl-NL" noProof="0"/>
          </a:p>
        </p:txBody>
      </p:sp>
    </p:spTree>
    <p:extLst>
      <p:ext uri="{BB962C8B-B14F-4D97-AF65-F5344CB8AC3E}">
        <p14:creationId xmlns:p14="http://schemas.microsoft.com/office/powerpoint/2010/main" val="18609933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noProof="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endParaRPr lang="nl-NL" noProof="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6916882"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6916882" cy="3973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a:t>Klik om subtitel in te voegen</a:t>
            </a:r>
          </a:p>
        </p:txBody>
      </p:sp>
    </p:spTree>
    <p:extLst>
      <p:ext uri="{BB962C8B-B14F-4D97-AF65-F5344CB8AC3E}">
        <p14:creationId xmlns:p14="http://schemas.microsoft.com/office/powerpoint/2010/main" val="198906097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a:lstStyle>
            <a:lvl1pPr>
              <a:defRPr sz="4000" b="1" u="none"/>
            </a:lvl1pPr>
          </a:lstStyle>
          <a:p>
            <a:pPr lvl="0"/>
            <a:r>
              <a:rPr lang="nl-NL" noProof="0"/>
              <a:t>Klik om hoofdstuknummer in te voegen</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a:lstStyle>
            <a:lvl1pPr>
              <a:defRPr sz="5400" b="1">
                <a:solidFill>
                  <a:schemeClr val="tx2"/>
                </a:solidFill>
              </a:defRPr>
            </a:lvl1pPr>
          </a:lstStyle>
          <a:p>
            <a:pPr lvl="0"/>
            <a:r>
              <a:rPr lang="nl-NL" noProof="0"/>
              <a:t>Klik om hoofdstuk titel in te voegen</a:t>
            </a:r>
          </a:p>
        </p:txBody>
      </p:sp>
    </p:spTree>
    <p:extLst>
      <p:ext uri="{BB962C8B-B14F-4D97-AF65-F5344CB8AC3E}">
        <p14:creationId xmlns:p14="http://schemas.microsoft.com/office/powerpoint/2010/main" val="66678367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userDrawn="1"/>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noProof="0">
              <a:solidFill>
                <a:srgbClr val="000000"/>
              </a:solidFill>
              <a:latin typeface="Corbel" panose="020B0503020204020204" pitchFamily="34" charset="0"/>
            </a:endParaRPr>
          </a:p>
        </p:txBody>
      </p:sp>
      <p:sp>
        <p:nvSpPr>
          <p:cNvPr id="2" name="Title 1"/>
          <p:cNvSpPr>
            <a:spLocks noGrp="1"/>
          </p:cNvSpPr>
          <p:nvPr>
            <p:ph type="title" hasCustomPrompt="1"/>
          </p:nvPr>
        </p:nvSpPr>
        <p:spPr>
          <a:xfrm rot="16200000">
            <a:off x="-1789060" y="2468072"/>
            <a:ext cx="6579421" cy="1643271"/>
          </a:xfrm>
          <a:prstGeom prst="rect">
            <a:avLst/>
          </a:prstGeom>
        </p:spPr>
        <p:txBody>
          <a:bodyPr/>
          <a:lstStyle>
            <a:lvl1pPr algn="ctr">
              <a:defRPr sz="5400">
                <a:solidFill>
                  <a:schemeClr val="tx2"/>
                </a:solidFill>
              </a:defRPr>
            </a:lvl1pPr>
          </a:lstStyle>
          <a:p>
            <a:r>
              <a:rPr lang="nl-NL" noProof="0"/>
              <a:t>Klik om titel in te voegen</a:t>
            </a:r>
          </a:p>
        </p:txBody>
      </p:sp>
      <p:sp>
        <p:nvSpPr>
          <p:cNvPr id="7" name="Footer Placeholder 6"/>
          <p:cNvSpPr>
            <a:spLocks noGrp="1"/>
          </p:cNvSpPr>
          <p:nvPr>
            <p:ph type="ftr" sz="quarter" idx="13"/>
          </p:nvPr>
        </p:nvSpPr>
        <p:spPr>
          <a:xfrm>
            <a:off x="679015" y="6579420"/>
            <a:ext cx="10011773" cy="225188"/>
          </a:xfrm>
          <a:prstGeom prst="rect">
            <a:avLst/>
          </a:prstGeom>
        </p:spPr>
        <p:txBody>
          <a:bodyPr/>
          <a:lstStyle>
            <a:lvl1pPr>
              <a:defRPr sz="1000">
                <a:latin typeface="Corbel" panose="020B0503020204020204" pitchFamily="34" charset="0"/>
              </a:defRPr>
            </a:lvl1pPr>
          </a:lstStyle>
          <a:p>
            <a:r>
              <a:rPr lang="nl-NL"/>
              <a:t>Informatiebijeenkomst 26 juli 2021 Europese Aanbesteding SVWI</a:t>
            </a:r>
          </a:p>
        </p:txBody>
      </p:sp>
      <p:sp>
        <p:nvSpPr>
          <p:cNvPr id="17" name="Slide Number Placeholder 5">
            <a:extLst>
              <a:ext uri="{FF2B5EF4-FFF2-40B4-BE49-F238E27FC236}">
                <a16:creationId xmlns:a16="http://schemas.microsoft.com/office/drawing/2014/main" id="{8F05B933-2137-41C1-8E87-28DFD097E66E}"/>
              </a:ext>
            </a:extLst>
          </p:cNvPr>
          <p:cNvSpPr>
            <a:spLocks noGrp="1"/>
          </p:cNvSpPr>
          <p:nvPr>
            <p:ph type="sldNum" sz="quarter" idx="12"/>
          </p:nvPr>
        </p:nvSpPr>
        <p:spPr>
          <a:xfrm>
            <a:off x="10845404" y="6579420"/>
            <a:ext cx="813612" cy="225188"/>
          </a:xfrm>
          <a:prstGeom prst="rect">
            <a:avLst/>
          </a:prstGeom>
        </p:spPr>
        <p:txBody>
          <a:bodyPr/>
          <a:lstStyle>
            <a:lvl1pPr algn="ctr">
              <a:defRPr sz="1050">
                <a:latin typeface="Corbel" panose="020B0503020204020204" pitchFamily="34" charset="0"/>
              </a:defRPr>
            </a:lvl1pPr>
          </a:lstStyle>
          <a:p>
            <a:fld id="{9493FAB8-1E51-48C1-887E-A59978B24DF9}" type="slidenum">
              <a:rPr lang="nl-NL" noProof="0" smtClean="0"/>
              <a:pPr/>
              <a:t>‹nr.›</a:t>
            </a:fld>
            <a:endParaRPr lang="nl-NL" noProof="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Tree>
    <p:extLst>
      <p:ext uri="{BB962C8B-B14F-4D97-AF65-F5344CB8AC3E}">
        <p14:creationId xmlns:p14="http://schemas.microsoft.com/office/powerpoint/2010/main" val="619099949"/>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endParaRPr lang="nl-NL" noProof="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a:defRPr sz="2000" b="1">
                <a:solidFill>
                  <a:srgbClr val="000000"/>
                </a:solidFill>
              </a:defRPr>
            </a:lvl1pPr>
          </a:lstStyle>
          <a:p>
            <a:pPr lvl="0"/>
            <a:r>
              <a:rPr lang="nl-NL" noProof="0"/>
              <a:t>Klik om titel in te voegen</a:t>
            </a:r>
          </a:p>
        </p:txBody>
      </p:sp>
    </p:spTree>
    <p:extLst>
      <p:ext uri="{BB962C8B-B14F-4D97-AF65-F5344CB8AC3E}">
        <p14:creationId xmlns:p14="http://schemas.microsoft.com/office/powerpoint/2010/main" val="20083464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endParaRPr lang="nl-NL" noProof="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nl-NL" noProof="0"/>
              <a:t>Klik om titel in te voegen</a:t>
            </a:r>
          </a:p>
        </p:txBody>
      </p:sp>
    </p:spTree>
    <p:extLst>
      <p:ext uri="{BB962C8B-B14F-4D97-AF65-F5344CB8AC3E}">
        <p14:creationId xmlns:p14="http://schemas.microsoft.com/office/powerpoint/2010/main" val="59364943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solidFill>
                  <a:schemeClr val="tx2"/>
                </a:solidFill>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endParaRPr lang="nl-NL" noProof="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endParaRPr lang="nl-NL" noProof="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endParaRPr lang="nl-NL" noProof="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endParaRPr lang="nl-NL" noProof="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endParaRPr lang="nl-NL" noProof="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endParaRPr lang="nl-NL" noProof="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endParaRPr lang="nl-NL" noProof="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endParaRPr lang="nl-NL" noProof="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endParaRPr lang="nl-NL" noProof="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endParaRPr lang="nl-NL" noProof="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endParaRPr lang="nl-NL" noProof="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endParaRPr lang="nl-NL" noProof="0"/>
          </a:p>
        </p:txBody>
      </p:sp>
    </p:spTree>
    <p:extLst>
      <p:ext uri="{BB962C8B-B14F-4D97-AF65-F5344CB8AC3E}">
        <p14:creationId xmlns:p14="http://schemas.microsoft.com/office/powerpoint/2010/main" val="366937479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solidFill>
                  <a:schemeClr val="tx2"/>
                </a:solidFill>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endParaRPr lang="nl-NL" noProof="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endParaRPr lang="nl-NL" noProof="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endParaRPr lang="nl-NL" noProof="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endParaRPr lang="nl-NL" noProof="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endParaRPr lang="nl-NL" noProof="0"/>
          </a:p>
        </p:txBody>
      </p:sp>
    </p:spTree>
    <p:extLst>
      <p:ext uri="{BB962C8B-B14F-4D97-AF65-F5344CB8AC3E}">
        <p14:creationId xmlns:p14="http://schemas.microsoft.com/office/powerpoint/2010/main" val="159850195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endParaRPr lang="nl-NL" noProof="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endParaRPr lang="nl-NL" noProof="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endParaRPr lang="nl-NL" noProof="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endParaRPr lang="nl-NL" noProof="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endParaRPr lang="nl-NL" noProof="0"/>
          </a:p>
        </p:txBody>
      </p:sp>
    </p:spTree>
    <p:extLst>
      <p:ext uri="{BB962C8B-B14F-4D97-AF65-F5344CB8AC3E}">
        <p14:creationId xmlns:p14="http://schemas.microsoft.com/office/powerpoint/2010/main" val="22811155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47"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r>
              <a:rPr lang="nl-NL"/>
              <a:t>Informatiebijeenkomst 26 juli 2021 Europese Aanbesteding SVWI</a:t>
            </a:r>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noProof="0" smtClean="0"/>
              <a:pPr/>
              <a:t>‹nr.›</a:t>
            </a:fld>
            <a:endParaRPr lang="nl-NL" noProof="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endParaRPr lang="nl-NL" noProof="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endParaRPr lang="nl-NL" noProof="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endParaRPr lang="nl-NL" noProof="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endParaRPr lang="nl-NL" noProof="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endParaRPr lang="nl-NL" noProof="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endParaRPr lang="nl-NL" noProof="0"/>
          </a:p>
        </p:txBody>
      </p:sp>
    </p:spTree>
    <p:extLst>
      <p:ext uri="{BB962C8B-B14F-4D97-AF65-F5344CB8AC3E}">
        <p14:creationId xmlns:p14="http://schemas.microsoft.com/office/powerpoint/2010/main" val="28983299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13" Type="http://schemas.openxmlformats.org/officeDocument/2006/relationships/tags" Target="../tags/tag74.xml"/><Relationship Id="rId18" Type="http://schemas.openxmlformats.org/officeDocument/2006/relationships/tags" Target="../tags/tag79.xml"/><Relationship Id="rId26" Type="http://schemas.openxmlformats.org/officeDocument/2006/relationships/tags" Target="../tags/tag87.xml"/><Relationship Id="rId39" Type="http://schemas.openxmlformats.org/officeDocument/2006/relationships/oleObject" Target="../embeddings/oleObject19.bin"/><Relationship Id="rId21" Type="http://schemas.openxmlformats.org/officeDocument/2006/relationships/tags" Target="../tags/tag82.xml"/><Relationship Id="rId34" Type="http://schemas.openxmlformats.org/officeDocument/2006/relationships/tags" Target="../tags/tag95.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5" Type="http://schemas.openxmlformats.org/officeDocument/2006/relationships/tags" Target="../tags/tag86.xml"/><Relationship Id="rId33" Type="http://schemas.openxmlformats.org/officeDocument/2006/relationships/tags" Target="../tags/tag94.xml"/><Relationship Id="rId38" Type="http://schemas.openxmlformats.org/officeDocument/2006/relationships/tags" Target="../tags/tag99.xml"/><Relationship Id="rId2" Type="http://schemas.openxmlformats.org/officeDocument/2006/relationships/slideLayout" Target="../slideLayouts/slideLayout281.xml"/><Relationship Id="rId16" Type="http://schemas.openxmlformats.org/officeDocument/2006/relationships/tags" Target="../tags/tag77.xml"/><Relationship Id="rId20" Type="http://schemas.openxmlformats.org/officeDocument/2006/relationships/tags" Target="../tags/tag81.xml"/><Relationship Id="rId29" Type="http://schemas.openxmlformats.org/officeDocument/2006/relationships/tags" Target="../tags/tag90.xml"/><Relationship Id="rId1" Type="http://schemas.openxmlformats.org/officeDocument/2006/relationships/slideLayout" Target="../slideLayouts/slideLayout280.xml"/><Relationship Id="rId6" Type="http://schemas.openxmlformats.org/officeDocument/2006/relationships/tags" Target="../tags/tag67.xml"/><Relationship Id="rId11" Type="http://schemas.openxmlformats.org/officeDocument/2006/relationships/tags" Target="../tags/tag72.xml"/><Relationship Id="rId24" Type="http://schemas.openxmlformats.org/officeDocument/2006/relationships/tags" Target="../tags/tag85.xml"/><Relationship Id="rId32" Type="http://schemas.openxmlformats.org/officeDocument/2006/relationships/tags" Target="../tags/tag93.xml"/><Relationship Id="rId37" Type="http://schemas.openxmlformats.org/officeDocument/2006/relationships/tags" Target="../tags/tag98.xml"/><Relationship Id="rId40" Type="http://schemas.openxmlformats.org/officeDocument/2006/relationships/image" Target="../media/image6.emf"/><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tags" Target="../tags/tag84.xml"/><Relationship Id="rId28" Type="http://schemas.openxmlformats.org/officeDocument/2006/relationships/tags" Target="../tags/tag89.xml"/><Relationship Id="rId36" Type="http://schemas.openxmlformats.org/officeDocument/2006/relationships/tags" Target="../tags/tag97.xml"/><Relationship Id="rId10" Type="http://schemas.openxmlformats.org/officeDocument/2006/relationships/tags" Target="../tags/tag71.xml"/><Relationship Id="rId19" Type="http://schemas.openxmlformats.org/officeDocument/2006/relationships/tags" Target="../tags/tag80.xml"/><Relationship Id="rId31" Type="http://schemas.openxmlformats.org/officeDocument/2006/relationships/tags" Target="../tags/tag92.xml"/><Relationship Id="rId4" Type="http://schemas.openxmlformats.org/officeDocument/2006/relationships/theme" Target="../theme/theme10.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tags" Target="../tags/tag83.xml"/><Relationship Id="rId27" Type="http://schemas.openxmlformats.org/officeDocument/2006/relationships/tags" Target="../tags/tag88.xml"/><Relationship Id="rId30" Type="http://schemas.openxmlformats.org/officeDocument/2006/relationships/tags" Target="../tags/tag91.xml"/><Relationship Id="rId35" Type="http://schemas.openxmlformats.org/officeDocument/2006/relationships/tags" Target="../tags/tag96.xml"/><Relationship Id="rId8" Type="http://schemas.openxmlformats.org/officeDocument/2006/relationships/tags" Target="../tags/tag69.xml"/><Relationship Id="rId3" Type="http://schemas.openxmlformats.org/officeDocument/2006/relationships/slideLayout" Target="../slideLayouts/slideLayout282.xml"/></Relationships>
</file>

<file path=ppt/slideMasters/_rels/slideMaster11.xml.rels><?xml version="1.0" encoding="UTF-8" standalone="yes"?>
<Relationships xmlns="http://schemas.openxmlformats.org/package/2006/relationships"><Relationship Id="rId13" Type="http://schemas.openxmlformats.org/officeDocument/2006/relationships/tags" Target="../tags/tag111.xml"/><Relationship Id="rId18" Type="http://schemas.openxmlformats.org/officeDocument/2006/relationships/tags" Target="../tags/tag116.xml"/><Relationship Id="rId26" Type="http://schemas.openxmlformats.org/officeDocument/2006/relationships/tags" Target="../tags/tag124.xml"/><Relationship Id="rId39" Type="http://schemas.openxmlformats.org/officeDocument/2006/relationships/tags" Target="../tags/tag137.xml"/><Relationship Id="rId21" Type="http://schemas.openxmlformats.org/officeDocument/2006/relationships/tags" Target="../tags/tag119.xml"/><Relationship Id="rId34" Type="http://schemas.openxmlformats.org/officeDocument/2006/relationships/tags" Target="../tags/tag132.xml"/><Relationship Id="rId42" Type="http://schemas.openxmlformats.org/officeDocument/2006/relationships/oleObject" Target="../embeddings/oleObject23.bin"/><Relationship Id="rId7" Type="http://schemas.openxmlformats.org/officeDocument/2006/relationships/theme" Target="../theme/theme11.xml"/><Relationship Id="rId2" Type="http://schemas.openxmlformats.org/officeDocument/2006/relationships/slideLayout" Target="../slideLayouts/slideLayout284.xml"/><Relationship Id="rId16" Type="http://schemas.openxmlformats.org/officeDocument/2006/relationships/tags" Target="../tags/tag114.xml"/><Relationship Id="rId20" Type="http://schemas.openxmlformats.org/officeDocument/2006/relationships/tags" Target="../tags/tag118.xml"/><Relationship Id="rId29" Type="http://schemas.openxmlformats.org/officeDocument/2006/relationships/tags" Target="../tags/tag127.xml"/><Relationship Id="rId41" Type="http://schemas.openxmlformats.org/officeDocument/2006/relationships/tags" Target="../tags/tag139.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tags" Target="../tags/tag109.xml"/><Relationship Id="rId24" Type="http://schemas.openxmlformats.org/officeDocument/2006/relationships/tags" Target="../tags/tag122.xml"/><Relationship Id="rId32" Type="http://schemas.openxmlformats.org/officeDocument/2006/relationships/tags" Target="../tags/tag130.xml"/><Relationship Id="rId37" Type="http://schemas.openxmlformats.org/officeDocument/2006/relationships/tags" Target="../tags/tag135.xml"/><Relationship Id="rId40" Type="http://schemas.openxmlformats.org/officeDocument/2006/relationships/tags" Target="../tags/tag138.xml"/><Relationship Id="rId5" Type="http://schemas.openxmlformats.org/officeDocument/2006/relationships/slideLayout" Target="../slideLayouts/slideLayout287.xml"/><Relationship Id="rId15" Type="http://schemas.openxmlformats.org/officeDocument/2006/relationships/tags" Target="../tags/tag113.xml"/><Relationship Id="rId23" Type="http://schemas.openxmlformats.org/officeDocument/2006/relationships/tags" Target="../tags/tag121.xml"/><Relationship Id="rId28" Type="http://schemas.openxmlformats.org/officeDocument/2006/relationships/tags" Target="../tags/tag126.xml"/><Relationship Id="rId36" Type="http://schemas.openxmlformats.org/officeDocument/2006/relationships/tags" Target="../tags/tag134.xml"/><Relationship Id="rId10" Type="http://schemas.openxmlformats.org/officeDocument/2006/relationships/tags" Target="../tags/tag108.xml"/><Relationship Id="rId19" Type="http://schemas.openxmlformats.org/officeDocument/2006/relationships/tags" Target="../tags/tag117.xml"/><Relationship Id="rId31" Type="http://schemas.openxmlformats.org/officeDocument/2006/relationships/tags" Target="../tags/tag129.xml"/><Relationship Id="rId44" Type="http://schemas.openxmlformats.org/officeDocument/2006/relationships/image" Target="../media/image21.png"/><Relationship Id="rId4" Type="http://schemas.openxmlformats.org/officeDocument/2006/relationships/slideLayout" Target="../slideLayouts/slideLayout286.xml"/><Relationship Id="rId9" Type="http://schemas.openxmlformats.org/officeDocument/2006/relationships/tags" Target="../tags/tag107.xml"/><Relationship Id="rId14" Type="http://schemas.openxmlformats.org/officeDocument/2006/relationships/tags" Target="../tags/tag112.xml"/><Relationship Id="rId22" Type="http://schemas.openxmlformats.org/officeDocument/2006/relationships/tags" Target="../tags/tag120.xml"/><Relationship Id="rId27" Type="http://schemas.openxmlformats.org/officeDocument/2006/relationships/tags" Target="../tags/tag125.xml"/><Relationship Id="rId30" Type="http://schemas.openxmlformats.org/officeDocument/2006/relationships/tags" Target="../tags/tag128.xml"/><Relationship Id="rId35" Type="http://schemas.openxmlformats.org/officeDocument/2006/relationships/tags" Target="../tags/tag133.xml"/><Relationship Id="rId43" Type="http://schemas.openxmlformats.org/officeDocument/2006/relationships/image" Target="../media/image6.emf"/><Relationship Id="rId8" Type="http://schemas.openxmlformats.org/officeDocument/2006/relationships/tags" Target="../tags/tag106.xml"/><Relationship Id="rId3" Type="http://schemas.openxmlformats.org/officeDocument/2006/relationships/slideLayout" Target="../slideLayouts/slideLayout285.xml"/><Relationship Id="rId12" Type="http://schemas.openxmlformats.org/officeDocument/2006/relationships/tags" Target="../tags/tag110.xml"/><Relationship Id="rId17" Type="http://schemas.openxmlformats.org/officeDocument/2006/relationships/tags" Target="../tags/tag115.xml"/><Relationship Id="rId25" Type="http://schemas.openxmlformats.org/officeDocument/2006/relationships/tags" Target="../tags/tag123.xml"/><Relationship Id="rId33" Type="http://schemas.openxmlformats.org/officeDocument/2006/relationships/tags" Target="../tags/tag131.xml"/><Relationship Id="rId38" Type="http://schemas.openxmlformats.org/officeDocument/2006/relationships/tags" Target="../tags/tag136.xml"/></Relationships>
</file>

<file path=ppt/slideMasters/_rels/slideMaster12.xml.rels><?xml version="1.0" encoding="UTF-8" standalone="yes"?>
<Relationships xmlns="http://schemas.openxmlformats.org/package/2006/relationships"><Relationship Id="rId13" Type="http://schemas.openxmlformats.org/officeDocument/2006/relationships/tags" Target="../tags/tag156.xml"/><Relationship Id="rId18" Type="http://schemas.openxmlformats.org/officeDocument/2006/relationships/tags" Target="../tags/tag161.xml"/><Relationship Id="rId26" Type="http://schemas.openxmlformats.org/officeDocument/2006/relationships/tags" Target="../tags/tag169.xml"/><Relationship Id="rId39" Type="http://schemas.openxmlformats.org/officeDocument/2006/relationships/oleObject" Target="../embeddings/oleObject28.bin"/><Relationship Id="rId21" Type="http://schemas.openxmlformats.org/officeDocument/2006/relationships/tags" Target="../tags/tag164.xml"/><Relationship Id="rId34" Type="http://schemas.openxmlformats.org/officeDocument/2006/relationships/tags" Target="../tags/tag177.xml"/><Relationship Id="rId7" Type="http://schemas.openxmlformats.org/officeDocument/2006/relationships/tags" Target="../tags/tag150.xml"/><Relationship Id="rId2" Type="http://schemas.openxmlformats.org/officeDocument/2006/relationships/slideLayout" Target="../slideLayouts/slideLayout290.xml"/><Relationship Id="rId16" Type="http://schemas.openxmlformats.org/officeDocument/2006/relationships/tags" Target="../tags/tag159.xml"/><Relationship Id="rId20" Type="http://schemas.openxmlformats.org/officeDocument/2006/relationships/tags" Target="../tags/tag163.xml"/><Relationship Id="rId29" Type="http://schemas.openxmlformats.org/officeDocument/2006/relationships/tags" Target="../tags/tag172.xml"/><Relationship Id="rId41" Type="http://schemas.openxmlformats.org/officeDocument/2006/relationships/image" Target="../media/image7.png"/><Relationship Id="rId1" Type="http://schemas.openxmlformats.org/officeDocument/2006/relationships/slideLayout" Target="../slideLayouts/slideLayout289.xml"/><Relationship Id="rId6" Type="http://schemas.openxmlformats.org/officeDocument/2006/relationships/tags" Target="../tags/tag149.xml"/><Relationship Id="rId11" Type="http://schemas.openxmlformats.org/officeDocument/2006/relationships/tags" Target="../tags/tag154.xml"/><Relationship Id="rId24" Type="http://schemas.openxmlformats.org/officeDocument/2006/relationships/tags" Target="../tags/tag167.xml"/><Relationship Id="rId32" Type="http://schemas.openxmlformats.org/officeDocument/2006/relationships/tags" Target="../tags/tag175.xml"/><Relationship Id="rId37" Type="http://schemas.openxmlformats.org/officeDocument/2006/relationships/tags" Target="../tags/tag180.xml"/><Relationship Id="rId40" Type="http://schemas.openxmlformats.org/officeDocument/2006/relationships/image" Target="../media/image6.emf"/><Relationship Id="rId5" Type="http://schemas.openxmlformats.org/officeDocument/2006/relationships/tags" Target="../tags/tag148.xml"/><Relationship Id="rId15" Type="http://schemas.openxmlformats.org/officeDocument/2006/relationships/tags" Target="../tags/tag158.xml"/><Relationship Id="rId23" Type="http://schemas.openxmlformats.org/officeDocument/2006/relationships/tags" Target="../tags/tag166.xml"/><Relationship Id="rId28" Type="http://schemas.openxmlformats.org/officeDocument/2006/relationships/tags" Target="../tags/tag171.xml"/><Relationship Id="rId36" Type="http://schemas.openxmlformats.org/officeDocument/2006/relationships/tags" Target="../tags/tag179.xml"/><Relationship Id="rId10" Type="http://schemas.openxmlformats.org/officeDocument/2006/relationships/tags" Target="../tags/tag153.xml"/><Relationship Id="rId19" Type="http://schemas.openxmlformats.org/officeDocument/2006/relationships/tags" Target="../tags/tag162.xml"/><Relationship Id="rId31" Type="http://schemas.openxmlformats.org/officeDocument/2006/relationships/tags" Target="../tags/tag174.xml"/><Relationship Id="rId4" Type="http://schemas.openxmlformats.org/officeDocument/2006/relationships/theme" Target="../theme/theme12.xml"/><Relationship Id="rId9" Type="http://schemas.openxmlformats.org/officeDocument/2006/relationships/tags" Target="../tags/tag152.xml"/><Relationship Id="rId14" Type="http://schemas.openxmlformats.org/officeDocument/2006/relationships/tags" Target="../tags/tag157.xml"/><Relationship Id="rId22" Type="http://schemas.openxmlformats.org/officeDocument/2006/relationships/tags" Target="../tags/tag165.xml"/><Relationship Id="rId27" Type="http://schemas.openxmlformats.org/officeDocument/2006/relationships/tags" Target="../tags/tag170.xml"/><Relationship Id="rId30" Type="http://schemas.openxmlformats.org/officeDocument/2006/relationships/tags" Target="../tags/tag173.xml"/><Relationship Id="rId35" Type="http://schemas.openxmlformats.org/officeDocument/2006/relationships/tags" Target="../tags/tag178.xml"/><Relationship Id="rId8" Type="http://schemas.openxmlformats.org/officeDocument/2006/relationships/tags" Target="../tags/tag151.xml"/><Relationship Id="rId3" Type="http://schemas.openxmlformats.org/officeDocument/2006/relationships/slideLayout" Target="../slideLayouts/slideLayout291.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tags" Target="../tags/tag168.xml"/><Relationship Id="rId33" Type="http://schemas.openxmlformats.org/officeDocument/2006/relationships/tags" Target="../tags/tag176.xml"/><Relationship Id="rId38" Type="http://schemas.openxmlformats.org/officeDocument/2006/relationships/tags" Target="../tags/tag181.xml"/></Relationships>
</file>

<file path=ppt/slideMasters/_rels/slideMaster13.xml.rels><?xml version="1.0" encoding="UTF-8" standalone="yes"?>
<Relationships xmlns="http://schemas.openxmlformats.org/package/2006/relationships"><Relationship Id="rId13" Type="http://schemas.openxmlformats.org/officeDocument/2006/relationships/tags" Target="../tags/tag196.xml"/><Relationship Id="rId18" Type="http://schemas.openxmlformats.org/officeDocument/2006/relationships/tags" Target="../tags/tag201.xml"/><Relationship Id="rId26" Type="http://schemas.openxmlformats.org/officeDocument/2006/relationships/tags" Target="../tags/tag209.xml"/><Relationship Id="rId39" Type="http://schemas.openxmlformats.org/officeDocument/2006/relationships/oleObject" Target="../embeddings/oleObject32.bin"/><Relationship Id="rId21" Type="http://schemas.openxmlformats.org/officeDocument/2006/relationships/tags" Target="../tags/tag204.xml"/><Relationship Id="rId34" Type="http://schemas.openxmlformats.org/officeDocument/2006/relationships/tags" Target="../tags/tag217.xml"/><Relationship Id="rId7" Type="http://schemas.openxmlformats.org/officeDocument/2006/relationships/tags" Target="../tags/tag190.xml"/><Relationship Id="rId2" Type="http://schemas.openxmlformats.org/officeDocument/2006/relationships/slideLayout" Target="../slideLayouts/slideLayout293.xml"/><Relationship Id="rId16" Type="http://schemas.openxmlformats.org/officeDocument/2006/relationships/tags" Target="../tags/tag199.xml"/><Relationship Id="rId20" Type="http://schemas.openxmlformats.org/officeDocument/2006/relationships/tags" Target="../tags/tag203.xml"/><Relationship Id="rId29" Type="http://schemas.openxmlformats.org/officeDocument/2006/relationships/tags" Target="../tags/tag212.xml"/><Relationship Id="rId41" Type="http://schemas.openxmlformats.org/officeDocument/2006/relationships/image" Target="../media/image21.png"/><Relationship Id="rId1" Type="http://schemas.openxmlformats.org/officeDocument/2006/relationships/slideLayout" Target="../slideLayouts/slideLayout292.xml"/><Relationship Id="rId6" Type="http://schemas.openxmlformats.org/officeDocument/2006/relationships/tags" Target="../tags/tag189.xml"/><Relationship Id="rId11" Type="http://schemas.openxmlformats.org/officeDocument/2006/relationships/tags" Target="../tags/tag194.xml"/><Relationship Id="rId24" Type="http://schemas.openxmlformats.org/officeDocument/2006/relationships/tags" Target="../tags/tag207.xml"/><Relationship Id="rId32" Type="http://schemas.openxmlformats.org/officeDocument/2006/relationships/tags" Target="../tags/tag215.xml"/><Relationship Id="rId37" Type="http://schemas.openxmlformats.org/officeDocument/2006/relationships/tags" Target="../tags/tag220.xml"/><Relationship Id="rId40" Type="http://schemas.openxmlformats.org/officeDocument/2006/relationships/image" Target="../media/image6.emf"/><Relationship Id="rId5" Type="http://schemas.openxmlformats.org/officeDocument/2006/relationships/tags" Target="../tags/tag188.xml"/><Relationship Id="rId15" Type="http://schemas.openxmlformats.org/officeDocument/2006/relationships/tags" Target="../tags/tag198.xml"/><Relationship Id="rId23" Type="http://schemas.openxmlformats.org/officeDocument/2006/relationships/tags" Target="../tags/tag206.xml"/><Relationship Id="rId28" Type="http://schemas.openxmlformats.org/officeDocument/2006/relationships/tags" Target="../tags/tag211.xml"/><Relationship Id="rId36" Type="http://schemas.openxmlformats.org/officeDocument/2006/relationships/tags" Target="../tags/tag219.xml"/><Relationship Id="rId10" Type="http://schemas.openxmlformats.org/officeDocument/2006/relationships/tags" Target="../tags/tag193.xml"/><Relationship Id="rId19" Type="http://schemas.openxmlformats.org/officeDocument/2006/relationships/tags" Target="../tags/tag202.xml"/><Relationship Id="rId31" Type="http://schemas.openxmlformats.org/officeDocument/2006/relationships/tags" Target="../tags/tag214.xml"/><Relationship Id="rId4" Type="http://schemas.openxmlformats.org/officeDocument/2006/relationships/theme" Target="../theme/theme13.xml"/><Relationship Id="rId9" Type="http://schemas.openxmlformats.org/officeDocument/2006/relationships/tags" Target="../tags/tag192.xml"/><Relationship Id="rId14" Type="http://schemas.openxmlformats.org/officeDocument/2006/relationships/tags" Target="../tags/tag197.xml"/><Relationship Id="rId22" Type="http://schemas.openxmlformats.org/officeDocument/2006/relationships/tags" Target="../tags/tag205.xml"/><Relationship Id="rId27" Type="http://schemas.openxmlformats.org/officeDocument/2006/relationships/tags" Target="../tags/tag210.xml"/><Relationship Id="rId30" Type="http://schemas.openxmlformats.org/officeDocument/2006/relationships/tags" Target="../tags/tag213.xml"/><Relationship Id="rId35" Type="http://schemas.openxmlformats.org/officeDocument/2006/relationships/tags" Target="../tags/tag218.xml"/><Relationship Id="rId8" Type="http://schemas.openxmlformats.org/officeDocument/2006/relationships/tags" Target="../tags/tag191.xml"/><Relationship Id="rId3" Type="http://schemas.openxmlformats.org/officeDocument/2006/relationships/slideLayout" Target="../slideLayouts/slideLayout294.xml"/><Relationship Id="rId12" Type="http://schemas.openxmlformats.org/officeDocument/2006/relationships/tags" Target="../tags/tag195.xml"/><Relationship Id="rId17" Type="http://schemas.openxmlformats.org/officeDocument/2006/relationships/tags" Target="../tags/tag200.xml"/><Relationship Id="rId25" Type="http://schemas.openxmlformats.org/officeDocument/2006/relationships/tags" Target="../tags/tag208.xml"/><Relationship Id="rId33" Type="http://schemas.openxmlformats.org/officeDocument/2006/relationships/tags" Target="../tags/tag216.xml"/><Relationship Id="rId38" Type="http://schemas.openxmlformats.org/officeDocument/2006/relationships/tags" Target="../tags/tag22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theme" Target="../theme/theme14.xml"/><Relationship Id="rId3" Type="http://schemas.openxmlformats.org/officeDocument/2006/relationships/slideLayout" Target="../slideLayouts/slideLayout297.xml"/><Relationship Id="rId21" Type="http://schemas.openxmlformats.org/officeDocument/2006/relationships/image" Target="../media/image22.emf"/><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oleObject" Target="../embeddings/oleObject36.bin"/><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image" Target="../media/image24.png"/><Relationship Id="rId10" Type="http://schemas.openxmlformats.org/officeDocument/2006/relationships/slideLayout" Target="../slideLayouts/slideLayout304.xml"/><Relationship Id="rId19" Type="http://schemas.openxmlformats.org/officeDocument/2006/relationships/tags" Target="../tags/tag228.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image" Target="../media/image23.png"/></Relationships>
</file>

<file path=ppt/slideMasters/_rels/slideMaster15.xml.rels><?xml version="1.0" encoding="UTF-8" standalone="yes"?>
<Relationships xmlns="http://schemas.openxmlformats.org/package/2006/relationships"><Relationship Id="rId13" Type="http://schemas.openxmlformats.org/officeDocument/2006/relationships/tags" Target="../tags/tag234.xml"/><Relationship Id="rId18" Type="http://schemas.openxmlformats.org/officeDocument/2006/relationships/tags" Target="../tags/tag239.xml"/><Relationship Id="rId26" Type="http://schemas.openxmlformats.org/officeDocument/2006/relationships/tags" Target="../tags/tag247.xml"/><Relationship Id="rId39" Type="http://schemas.openxmlformats.org/officeDocument/2006/relationships/tags" Target="../tags/tag260.xml"/><Relationship Id="rId21" Type="http://schemas.openxmlformats.org/officeDocument/2006/relationships/tags" Target="../tags/tag242.xml"/><Relationship Id="rId34" Type="http://schemas.openxmlformats.org/officeDocument/2006/relationships/tags" Target="../tags/tag255.xml"/><Relationship Id="rId42" Type="http://schemas.openxmlformats.org/officeDocument/2006/relationships/oleObject" Target="../embeddings/oleObject37.bin"/><Relationship Id="rId7" Type="http://schemas.openxmlformats.org/officeDocument/2006/relationships/theme" Target="../theme/theme15.xml"/><Relationship Id="rId2" Type="http://schemas.openxmlformats.org/officeDocument/2006/relationships/slideLayout" Target="../slideLayouts/slideLayout313.xml"/><Relationship Id="rId16" Type="http://schemas.openxmlformats.org/officeDocument/2006/relationships/tags" Target="../tags/tag237.xml"/><Relationship Id="rId20" Type="http://schemas.openxmlformats.org/officeDocument/2006/relationships/tags" Target="../tags/tag241.xml"/><Relationship Id="rId29" Type="http://schemas.openxmlformats.org/officeDocument/2006/relationships/tags" Target="../tags/tag250.xml"/><Relationship Id="rId41" Type="http://schemas.openxmlformats.org/officeDocument/2006/relationships/tags" Target="../tags/tag262.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tags" Target="../tags/tag232.xml"/><Relationship Id="rId24" Type="http://schemas.openxmlformats.org/officeDocument/2006/relationships/tags" Target="../tags/tag245.xml"/><Relationship Id="rId32" Type="http://schemas.openxmlformats.org/officeDocument/2006/relationships/tags" Target="../tags/tag253.xml"/><Relationship Id="rId37" Type="http://schemas.openxmlformats.org/officeDocument/2006/relationships/tags" Target="../tags/tag258.xml"/><Relationship Id="rId40" Type="http://schemas.openxmlformats.org/officeDocument/2006/relationships/tags" Target="../tags/tag261.xml"/><Relationship Id="rId5" Type="http://schemas.openxmlformats.org/officeDocument/2006/relationships/slideLayout" Target="../slideLayouts/slideLayout316.xml"/><Relationship Id="rId15" Type="http://schemas.openxmlformats.org/officeDocument/2006/relationships/tags" Target="../tags/tag236.xml"/><Relationship Id="rId23" Type="http://schemas.openxmlformats.org/officeDocument/2006/relationships/tags" Target="../tags/tag244.xml"/><Relationship Id="rId28" Type="http://schemas.openxmlformats.org/officeDocument/2006/relationships/tags" Target="../tags/tag249.xml"/><Relationship Id="rId36" Type="http://schemas.openxmlformats.org/officeDocument/2006/relationships/tags" Target="../tags/tag257.xml"/><Relationship Id="rId10" Type="http://schemas.openxmlformats.org/officeDocument/2006/relationships/tags" Target="../tags/tag231.xml"/><Relationship Id="rId19" Type="http://schemas.openxmlformats.org/officeDocument/2006/relationships/tags" Target="../tags/tag240.xml"/><Relationship Id="rId31" Type="http://schemas.openxmlformats.org/officeDocument/2006/relationships/tags" Target="../tags/tag252.xml"/><Relationship Id="rId44" Type="http://schemas.openxmlformats.org/officeDocument/2006/relationships/image" Target="../media/image21.png"/><Relationship Id="rId4" Type="http://schemas.openxmlformats.org/officeDocument/2006/relationships/slideLayout" Target="../slideLayouts/slideLayout315.xml"/><Relationship Id="rId9" Type="http://schemas.openxmlformats.org/officeDocument/2006/relationships/tags" Target="../tags/tag230.xml"/><Relationship Id="rId14" Type="http://schemas.openxmlformats.org/officeDocument/2006/relationships/tags" Target="../tags/tag235.xml"/><Relationship Id="rId22" Type="http://schemas.openxmlformats.org/officeDocument/2006/relationships/tags" Target="../tags/tag243.xml"/><Relationship Id="rId27" Type="http://schemas.openxmlformats.org/officeDocument/2006/relationships/tags" Target="../tags/tag248.xml"/><Relationship Id="rId30" Type="http://schemas.openxmlformats.org/officeDocument/2006/relationships/tags" Target="../tags/tag251.xml"/><Relationship Id="rId35" Type="http://schemas.openxmlformats.org/officeDocument/2006/relationships/tags" Target="../tags/tag256.xml"/><Relationship Id="rId43" Type="http://schemas.openxmlformats.org/officeDocument/2006/relationships/image" Target="../media/image6.emf"/><Relationship Id="rId8" Type="http://schemas.openxmlformats.org/officeDocument/2006/relationships/tags" Target="../tags/tag229.xml"/><Relationship Id="rId3" Type="http://schemas.openxmlformats.org/officeDocument/2006/relationships/slideLayout" Target="../slideLayouts/slideLayout314.xml"/><Relationship Id="rId12" Type="http://schemas.openxmlformats.org/officeDocument/2006/relationships/tags" Target="../tags/tag233.xml"/><Relationship Id="rId17" Type="http://schemas.openxmlformats.org/officeDocument/2006/relationships/tags" Target="../tags/tag238.xml"/><Relationship Id="rId25" Type="http://schemas.openxmlformats.org/officeDocument/2006/relationships/tags" Target="../tags/tag246.xml"/><Relationship Id="rId33" Type="http://schemas.openxmlformats.org/officeDocument/2006/relationships/tags" Target="../tags/tag254.xml"/><Relationship Id="rId38" Type="http://schemas.openxmlformats.org/officeDocument/2006/relationships/tags" Target="../tags/tag259.xml"/></Relationships>
</file>

<file path=ppt/slideMasters/_rels/slideMaster16.xml.rels><?xml version="1.0" encoding="UTF-8" standalone="yes"?>
<Relationships xmlns="http://schemas.openxmlformats.org/package/2006/relationships"><Relationship Id="rId13" Type="http://schemas.openxmlformats.org/officeDocument/2006/relationships/tags" Target="../tags/tag277.xml"/><Relationship Id="rId18" Type="http://schemas.openxmlformats.org/officeDocument/2006/relationships/tags" Target="../tags/tag282.xml"/><Relationship Id="rId26" Type="http://schemas.openxmlformats.org/officeDocument/2006/relationships/tags" Target="../tags/tag290.xml"/><Relationship Id="rId39" Type="http://schemas.openxmlformats.org/officeDocument/2006/relationships/tags" Target="../tags/tag303.xml"/><Relationship Id="rId21" Type="http://schemas.openxmlformats.org/officeDocument/2006/relationships/tags" Target="../tags/tag285.xml"/><Relationship Id="rId34" Type="http://schemas.openxmlformats.org/officeDocument/2006/relationships/tags" Target="../tags/tag298.xml"/><Relationship Id="rId42" Type="http://schemas.openxmlformats.org/officeDocument/2006/relationships/image" Target="../media/image6.emf"/><Relationship Id="rId7" Type="http://schemas.openxmlformats.org/officeDocument/2006/relationships/tags" Target="../tags/tag271.xml"/><Relationship Id="rId2" Type="http://schemas.openxmlformats.org/officeDocument/2006/relationships/slideLayout" Target="../slideLayouts/slideLayout319.xml"/><Relationship Id="rId16" Type="http://schemas.openxmlformats.org/officeDocument/2006/relationships/tags" Target="../tags/tag280.xml"/><Relationship Id="rId20" Type="http://schemas.openxmlformats.org/officeDocument/2006/relationships/tags" Target="../tags/tag284.xml"/><Relationship Id="rId29" Type="http://schemas.openxmlformats.org/officeDocument/2006/relationships/tags" Target="../tags/tag293.xml"/><Relationship Id="rId41" Type="http://schemas.openxmlformats.org/officeDocument/2006/relationships/oleObject" Target="../embeddings/oleObject43.bin"/><Relationship Id="rId1" Type="http://schemas.openxmlformats.org/officeDocument/2006/relationships/slideLayout" Target="../slideLayouts/slideLayout318.xml"/><Relationship Id="rId6" Type="http://schemas.openxmlformats.org/officeDocument/2006/relationships/theme" Target="../theme/theme16.xml"/><Relationship Id="rId11" Type="http://schemas.openxmlformats.org/officeDocument/2006/relationships/tags" Target="../tags/tag275.xml"/><Relationship Id="rId24" Type="http://schemas.openxmlformats.org/officeDocument/2006/relationships/tags" Target="../tags/tag288.xml"/><Relationship Id="rId32" Type="http://schemas.openxmlformats.org/officeDocument/2006/relationships/tags" Target="../tags/tag296.xml"/><Relationship Id="rId37" Type="http://schemas.openxmlformats.org/officeDocument/2006/relationships/tags" Target="../tags/tag301.xml"/><Relationship Id="rId40" Type="http://schemas.openxmlformats.org/officeDocument/2006/relationships/tags" Target="../tags/tag304.xml"/><Relationship Id="rId5" Type="http://schemas.openxmlformats.org/officeDocument/2006/relationships/slideLayout" Target="../slideLayouts/slideLayout322.xml"/><Relationship Id="rId15" Type="http://schemas.openxmlformats.org/officeDocument/2006/relationships/tags" Target="../tags/tag279.xml"/><Relationship Id="rId23" Type="http://schemas.openxmlformats.org/officeDocument/2006/relationships/tags" Target="../tags/tag287.xml"/><Relationship Id="rId28" Type="http://schemas.openxmlformats.org/officeDocument/2006/relationships/tags" Target="../tags/tag292.xml"/><Relationship Id="rId36" Type="http://schemas.openxmlformats.org/officeDocument/2006/relationships/tags" Target="../tags/tag300.xml"/><Relationship Id="rId10" Type="http://schemas.openxmlformats.org/officeDocument/2006/relationships/tags" Target="../tags/tag274.xml"/><Relationship Id="rId19" Type="http://schemas.openxmlformats.org/officeDocument/2006/relationships/tags" Target="../tags/tag283.xml"/><Relationship Id="rId31" Type="http://schemas.openxmlformats.org/officeDocument/2006/relationships/tags" Target="../tags/tag295.xml"/><Relationship Id="rId4" Type="http://schemas.openxmlformats.org/officeDocument/2006/relationships/slideLayout" Target="../slideLayouts/slideLayout321.xml"/><Relationship Id="rId9" Type="http://schemas.openxmlformats.org/officeDocument/2006/relationships/tags" Target="../tags/tag273.xml"/><Relationship Id="rId14" Type="http://schemas.openxmlformats.org/officeDocument/2006/relationships/tags" Target="../tags/tag278.xml"/><Relationship Id="rId22" Type="http://schemas.openxmlformats.org/officeDocument/2006/relationships/tags" Target="../tags/tag286.xml"/><Relationship Id="rId27" Type="http://schemas.openxmlformats.org/officeDocument/2006/relationships/tags" Target="../tags/tag291.xml"/><Relationship Id="rId30" Type="http://schemas.openxmlformats.org/officeDocument/2006/relationships/tags" Target="../tags/tag294.xml"/><Relationship Id="rId35" Type="http://schemas.openxmlformats.org/officeDocument/2006/relationships/tags" Target="../tags/tag299.xml"/><Relationship Id="rId43" Type="http://schemas.openxmlformats.org/officeDocument/2006/relationships/image" Target="../media/image21.png"/><Relationship Id="rId8" Type="http://schemas.openxmlformats.org/officeDocument/2006/relationships/tags" Target="../tags/tag272.xml"/><Relationship Id="rId3" Type="http://schemas.openxmlformats.org/officeDocument/2006/relationships/slideLayout" Target="../slideLayouts/slideLayout320.xml"/><Relationship Id="rId12" Type="http://schemas.openxmlformats.org/officeDocument/2006/relationships/tags" Target="../tags/tag276.xml"/><Relationship Id="rId17" Type="http://schemas.openxmlformats.org/officeDocument/2006/relationships/tags" Target="../tags/tag281.xml"/><Relationship Id="rId25" Type="http://schemas.openxmlformats.org/officeDocument/2006/relationships/tags" Target="../tags/tag289.xml"/><Relationship Id="rId33" Type="http://schemas.openxmlformats.org/officeDocument/2006/relationships/tags" Target="../tags/tag297.xml"/><Relationship Id="rId38" Type="http://schemas.openxmlformats.org/officeDocument/2006/relationships/tags" Target="../tags/tag302.xml"/></Relationships>
</file>

<file path=ppt/slideMasters/_rels/slideMaster17.xml.rels><?xml version="1.0" encoding="UTF-8" standalone="yes"?>
<Relationships xmlns="http://schemas.openxmlformats.org/package/2006/relationships"><Relationship Id="rId13" Type="http://schemas.openxmlformats.org/officeDocument/2006/relationships/tags" Target="../tags/tag319.xml"/><Relationship Id="rId18" Type="http://schemas.openxmlformats.org/officeDocument/2006/relationships/tags" Target="../tags/tag324.xml"/><Relationship Id="rId26" Type="http://schemas.openxmlformats.org/officeDocument/2006/relationships/tags" Target="../tags/tag332.xml"/><Relationship Id="rId39" Type="http://schemas.openxmlformats.org/officeDocument/2006/relationships/oleObject" Target="../embeddings/oleObject47.bin"/><Relationship Id="rId21" Type="http://schemas.openxmlformats.org/officeDocument/2006/relationships/tags" Target="../tags/tag327.xml"/><Relationship Id="rId34" Type="http://schemas.openxmlformats.org/officeDocument/2006/relationships/tags" Target="../tags/tag340.xml"/><Relationship Id="rId7" Type="http://schemas.openxmlformats.org/officeDocument/2006/relationships/tags" Target="../tags/tag313.xml"/><Relationship Id="rId2" Type="http://schemas.openxmlformats.org/officeDocument/2006/relationships/slideLayout" Target="../slideLayouts/slideLayout324.xml"/><Relationship Id="rId16" Type="http://schemas.openxmlformats.org/officeDocument/2006/relationships/tags" Target="../tags/tag322.xml"/><Relationship Id="rId20" Type="http://schemas.openxmlformats.org/officeDocument/2006/relationships/tags" Target="../tags/tag326.xml"/><Relationship Id="rId29" Type="http://schemas.openxmlformats.org/officeDocument/2006/relationships/tags" Target="../tags/tag335.xml"/><Relationship Id="rId41" Type="http://schemas.openxmlformats.org/officeDocument/2006/relationships/image" Target="../media/image7.png"/><Relationship Id="rId1" Type="http://schemas.openxmlformats.org/officeDocument/2006/relationships/slideLayout" Target="../slideLayouts/slideLayout323.xml"/><Relationship Id="rId6" Type="http://schemas.openxmlformats.org/officeDocument/2006/relationships/tags" Target="../tags/tag312.xml"/><Relationship Id="rId11" Type="http://schemas.openxmlformats.org/officeDocument/2006/relationships/tags" Target="../tags/tag317.xml"/><Relationship Id="rId24" Type="http://schemas.openxmlformats.org/officeDocument/2006/relationships/tags" Target="../tags/tag330.xml"/><Relationship Id="rId32" Type="http://schemas.openxmlformats.org/officeDocument/2006/relationships/tags" Target="../tags/tag338.xml"/><Relationship Id="rId37" Type="http://schemas.openxmlformats.org/officeDocument/2006/relationships/tags" Target="../tags/tag343.xml"/><Relationship Id="rId40" Type="http://schemas.openxmlformats.org/officeDocument/2006/relationships/image" Target="../media/image6.emf"/><Relationship Id="rId5" Type="http://schemas.openxmlformats.org/officeDocument/2006/relationships/tags" Target="../tags/tag311.xml"/><Relationship Id="rId15" Type="http://schemas.openxmlformats.org/officeDocument/2006/relationships/tags" Target="../tags/tag321.xml"/><Relationship Id="rId23" Type="http://schemas.openxmlformats.org/officeDocument/2006/relationships/tags" Target="../tags/tag329.xml"/><Relationship Id="rId28" Type="http://schemas.openxmlformats.org/officeDocument/2006/relationships/tags" Target="../tags/tag334.xml"/><Relationship Id="rId36" Type="http://schemas.openxmlformats.org/officeDocument/2006/relationships/tags" Target="../tags/tag342.xml"/><Relationship Id="rId10" Type="http://schemas.openxmlformats.org/officeDocument/2006/relationships/tags" Target="../tags/tag316.xml"/><Relationship Id="rId19" Type="http://schemas.openxmlformats.org/officeDocument/2006/relationships/tags" Target="../tags/tag325.xml"/><Relationship Id="rId31" Type="http://schemas.openxmlformats.org/officeDocument/2006/relationships/tags" Target="../tags/tag337.xml"/><Relationship Id="rId4" Type="http://schemas.openxmlformats.org/officeDocument/2006/relationships/theme" Target="../theme/theme17.xml"/><Relationship Id="rId9" Type="http://schemas.openxmlformats.org/officeDocument/2006/relationships/tags" Target="../tags/tag315.xml"/><Relationship Id="rId14" Type="http://schemas.openxmlformats.org/officeDocument/2006/relationships/tags" Target="../tags/tag320.xml"/><Relationship Id="rId22" Type="http://schemas.openxmlformats.org/officeDocument/2006/relationships/tags" Target="../tags/tag328.xml"/><Relationship Id="rId27" Type="http://schemas.openxmlformats.org/officeDocument/2006/relationships/tags" Target="../tags/tag333.xml"/><Relationship Id="rId30" Type="http://schemas.openxmlformats.org/officeDocument/2006/relationships/tags" Target="../tags/tag336.xml"/><Relationship Id="rId35" Type="http://schemas.openxmlformats.org/officeDocument/2006/relationships/tags" Target="../tags/tag341.xml"/><Relationship Id="rId8" Type="http://schemas.openxmlformats.org/officeDocument/2006/relationships/tags" Target="../tags/tag314.xml"/><Relationship Id="rId3" Type="http://schemas.openxmlformats.org/officeDocument/2006/relationships/slideLayout" Target="../slideLayouts/slideLayout325.xml"/><Relationship Id="rId12" Type="http://schemas.openxmlformats.org/officeDocument/2006/relationships/tags" Target="../tags/tag318.xml"/><Relationship Id="rId17" Type="http://schemas.openxmlformats.org/officeDocument/2006/relationships/tags" Target="../tags/tag323.xml"/><Relationship Id="rId25" Type="http://schemas.openxmlformats.org/officeDocument/2006/relationships/tags" Target="../tags/tag331.xml"/><Relationship Id="rId33" Type="http://schemas.openxmlformats.org/officeDocument/2006/relationships/tags" Target="../tags/tag339.xml"/><Relationship Id="rId38" Type="http://schemas.openxmlformats.org/officeDocument/2006/relationships/tags" Target="../tags/tag344.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338.xml"/><Relationship Id="rId18" Type="http://schemas.openxmlformats.org/officeDocument/2006/relationships/slideLayout" Target="../slideLayouts/slideLayout343.xml"/><Relationship Id="rId26" Type="http://schemas.openxmlformats.org/officeDocument/2006/relationships/slideLayout" Target="../slideLayouts/slideLayout351.xml"/><Relationship Id="rId39" Type="http://schemas.openxmlformats.org/officeDocument/2006/relationships/oleObject" Target="../embeddings/oleObject51.bin"/><Relationship Id="rId21" Type="http://schemas.openxmlformats.org/officeDocument/2006/relationships/slideLayout" Target="../slideLayouts/slideLayout346.xml"/><Relationship Id="rId34" Type="http://schemas.openxmlformats.org/officeDocument/2006/relationships/slideLayout" Target="../slideLayouts/slideLayout359.xml"/><Relationship Id="rId7" Type="http://schemas.openxmlformats.org/officeDocument/2006/relationships/slideLayout" Target="../slideLayouts/slideLayout332.xml"/><Relationship Id="rId12" Type="http://schemas.openxmlformats.org/officeDocument/2006/relationships/slideLayout" Target="../slideLayouts/slideLayout337.xml"/><Relationship Id="rId17" Type="http://schemas.openxmlformats.org/officeDocument/2006/relationships/slideLayout" Target="../slideLayouts/slideLayout342.xml"/><Relationship Id="rId25" Type="http://schemas.openxmlformats.org/officeDocument/2006/relationships/slideLayout" Target="../slideLayouts/slideLayout350.xml"/><Relationship Id="rId33" Type="http://schemas.openxmlformats.org/officeDocument/2006/relationships/slideLayout" Target="../slideLayouts/slideLayout358.xml"/><Relationship Id="rId38" Type="http://schemas.openxmlformats.org/officeDocument/2006/relationships/tags" Target="../tags/tag351.xml"/><Relationship Id="rId2" Type="http://schemas.openxmlformats.org/officeDocument/2006/relationships/slideLayout" Target="../slideLayouts/slideLayout327.xml"/><Relationship Id="rId16" Type="http://schemas.openxmlformats.org/officeDocument/2006/relationships/slideLayout" Target="../slideLayouts/slideLayout341.xml"/><Relationship Id="rId20" Type="http://schemas.openxmlformats.org/officeDocument/2006/relationships/slideLayout" Target="../slideLayouts/slideLayout345.xml"/><Relationship Id="rId29" Type="http://schemas.openxmlformats.org/officeDocument/2006/relationships/slideLayout" Target="../slideLayouts/slideLayout354.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24" Type="http://schemas.openxmlformats.org/officeDocument/2006/relationships/slideLayout" Target="../slideLayouts/slideLayout349.xml"/><Relationship Id="rId32" Type="http://schemas.openxmlformats.org/officeDocument/2006/relationships/slideLayout" Target="../slideLayouts/slideLayout357.xml"/><Relationship Id="rId37" Type="http://schemas.openxmlformats.org/officeDocument/2006/relationships/theme" Target="../theme/theme18.xml"/><Relationship Id="rId40" Type="http://schemas.openxmlformats.org/officeDocument/2006/relationships/image" Target="../media/image1.emf"/><Relationship Id="rId5" Type="http://schemas.openxmlformats.org/officeDocument/2006/relationships/slideLayout" Target="../slideLayouts/slideLayout330.xml"/><Relationship Id="rId15" Type="http://schemas.openxmlformats.org/officeDocument/2006/relationships/slideLayout" Target="../slideLayouts/slideLayout340.xml"/><Relationship Id="rId23" Type="http://schemas.openxmlformats.org/officeDocument/2006/relationships/slideLayout" Target="../slideLayouts/slideLayout348.xml"/><Relationship Id="rId28" Type="http://schemas.openxmlformats.org/officeDocument/2006/relationships/slideLayout" Target="../slideLayouts/slideLayout353.xml"/><Relationship Id="rId36" Type="http://schemas.openxmlformats.org/officeDocument/2006/relationships/slideLayout" Target="../slideLayouts/slideLayout361.xml"/><Relationship Id="rId10" Type="http://schemas.openxmlformats.org/officeDocument/2006/relationships/slideLayout" Target="../slideLayouts/slideLayout335.xml"/><Relationship Id="rId19" Type="http://schemas.openxmlformats.org/officeDocument/2006/relationships/slideLayout" Target="../slideLayouts/slideLayout344.xml"/><Relationship Id="rId31" Type="http://schemas.openxmlformats.org/officeDocument/2006/relationships/slideLayout" Target="../slideLayouts/slideLayout356.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slideLayout" Target="../slideLayouts/slideLayout339.xml"/><Relationship Id="rId22" Type="http://schemas.openxmlformats.org/officeDocument/2006/relationships/slideLayout" Target="../slideLayouts/slideLayout347.xml"/><Relationship Id="rId27" Type="http://schemas.openxmlformats.org/officeDocument/2006/relationships/slideLayout" Target="../slideLayouts/slideLayout352.xml"/><Relationship Id="rId30" Type="http://schemas.openxmlformats.org/officeDocument/2006/relationships/slideLayout" Target="../slideLayouts/slideLayout355.xml"/><Relationship Id="rId35" Type="http://schemas.openxmlformats.org/officeDocument/2006/relationships/slideLayout" Target="../slideLayouts/slideLayout360.xml"/><Relationship Id="rId8" Type="http://schemas.openxmlformats.org/officeDocument/2006/relationships/slideLayout" Target="../slideLayouts/slideLayout333.xml"/><Relationship Id="rId3" Type="http://schemas.openxmlformats.org/officeDocument/2006/relationships/slideLayout" Target="../slideLayouts/slideLayout32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18" Type="http://schemas.openxmlformats.org/officeDocument/2006/relationships/oleObject" Target="../embeddings/oleObject52.bin"/><Relationship Id="rId3" Type="http://schemas.openxmlformats.org/officeDocument/2006/relationships/slideLayout" Target="../slideLayouts/slideLayout364.xml"/><Relationship Id="rId21" Type="http://schemas.openxmlformats.org/officeDocument/2006/relationships/image" Target="../media/image24.png"/><Relationship Id="rId7" Type="http://schemas.openxmlformats.org/officeDocument/2006/relationships/slideLayout" Target="../slideLayouts/slideLayout368.xml"/><Relationship Id="rId12" Type="http://schemas.openxmlformats.org/officeDocument/2006/relationships/slideLayout" Target="../slideLayouts/slideLayout373.xml"/><Relationship Id="rId17" Type="http://schemas.openxmlformats.org/officeDocument/2006/relationships/tags" Target="../tags/tag352.xml"/><Relationship Id="rId2" Type="http://schemas.openxmlformats.org/officeDocument/2006/relationships/slideLayout" Target="../slideLayouts/slideLayout363.xml"/><Relationship Id="rId16" Type="http://schemas.openxmlformats.org/officeDocument/2006/relationships/theme" Target="../theme/theme19.xml"/><Relationship Id="rId20" Type="http://schemas.openxmlformats.org/officeDocument/2006/relationships/image" Target="../media/image23.png"/><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10" Type="http://schemas.openxmlformats.org/officeDocument/2006/relationships/slideLayout" Target="../slideLayouts/slideLayout371.xml"/><Relationship Id="rId19" Type="http://schemas.openxmlformats.org/officeDocument/2006/relationships/image" Target="../media/image22.emf"/><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oleObject" Target="../embeddings/oleObject3.bin"/><Relationship Id="rId21" Type="http://schemas.openxmlformats.org/officeDocument/2006/relationships/slideLayout" Target="../slideLayouts/slideLayout57.xml"/><Relationship Id="rId34" Type="http://schemas.openxmlformats.org/officeDocument/2006/relationships/slideLayout" Target="../slideLayouts/slideLayout70.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tags" Target="../tags/tag6.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tags" Target="../tags/tag5.xml"/><Relationship Id="rId40" Type="http://schemas.openxmlformats.org/officeDocument/2006/relationships/image" Target="../media/image1.emf"/><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theme" Target="../theme/theme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8" Type="http://schemas.openxmlformats.org/officeDocument/2006/relationships/slideLayout" Target="../slideLayouts/slideLayout44.xml"/><Relationship Id="rId3"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21" Type="http://schemas.openxmlformats.org/officeDocument/2006/relationships/slideLayout" Target="../slideLayouts/slideLayout92.xml"/><Relationship Id="rId34" Type="http://schemas.openxmlformats.org/officeDocument/2006/relationships/tags" Target="../tags/tag8.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theme" Target="../theme/theme3.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image" Target="../media/image1.emf"/><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oleObject" Target="../embeddings/oleObject5.bin"/><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tags" Target="../tags/tag9.xml"/><Relationship Id="rId8" Type="http://schemas.openxmlformats.org/officeDocument/2006/relationships/slideLayout" Target="../slideLayouts/slideLayout79.xml"/><Relationship Id="rId3"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9" Type="http://schemas.openxmlformats.org/officeDocument/2006/relationships/tags" Target="../tags/tag13.xml"/><Relationship Id="rId21" Type="http://schemas.openxmlformats.org/officeDocument/2006/relationships/slideLayout" Target="../slideLayouts/slideLayout124.xml"/><Relationship Id="rId34" Type="http://schemas.openxmlformats.org/officeDocument/2006/relationships/slideLayout" Target="../slideLayouts/slideLayout137.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slideLayout" Target="../slideLayouts/slideLayout132.xml"/><Relationship Id="rId41" Type="http://schemas.openxmlformats.org/officeDocument/2006/relationships/image" Target="../media/image1.emf"/><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slideLayout" Target="../slideLayouts/slideLayout135.xml"/><Relationship Id="rId37" Type="http://schemas.openxmlformats.org/officeDocument/2006/relationships/theme" Target="../theme/theme4.xml"/><Relationship Id="rId40" Type="http://schemas.openxmlformats.org/officeDocument/2006/relationships/oleObject" Target="../embeddings/oleObject7.bin"/><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36" Type="http://schemas.openxmlformats.org/officeDocument/2006/relationships/slideLayout" Target="../slideLayouts/slideLayout139.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slideLayout" Target="../slideLayouts/slideLayout134.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 Id="rId35" Type="http://schemas.openxmlformats.org/officeDocument/2006/relationships/slideLayout" Target="../slideLayouts/slideLayout138.xml"/><Relationship Id="rId8" Type="http://schemas.openxmlformats.org/officeDocument/2006/relationships/slideLayout" Target="../slideLayouts/slideLayout111.xml"/><Relationship Id="rId3" Type="http://schemas.openxmlformats.org/officeDocument/2006/relationships/slideLayout" Target="../slideLayouts/slideLayout106.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slideLayout" Target="../slideLayouts/slideLayout136.xml"/><Relationship Id="rId38" Type="http://schemas.openxmlformats.org/officeDocument/2006/relationships/tags" Target="../tags/tag1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slideLayout" Target="../slideLayouts/slideLayout165.xml"/><Relationship Id="rId39" Type="http://schemas.openxmlformats.org/officeDocument/2006/relationships/image" Target="../media/image1.emf"/><Relationship Id="rId21" Type="http://schemas.openxmlformats.org/officeDocument/2006/relationships/slideLayout" Target="../slideLayouts/slideLayout160.xml"/><Relationship Id="rId34" Type="http://schemas.openxmlformats.org/officeDocument/2006/relationships/slideLayout" Target="../slideLayouts/slideLayout173.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33" Type="http://schemas.openxmlformats.org/officeDocument/2006/relationships/slideLayout" Target="../slideLayouts/slideLayout172.xml"/><Relationship Id="rId38" Type="http://schemas.openxmlformats.org/officeDocument/2006/relationships/oleObject" Target="../embeddings/oleObject8.bin"/><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29" Type="http://schemas.openxmlformats.org/officeDocument/2006/relationships/slideLayout" Target="../slideLayouts/slideLayout168.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32" Type="http://schemas.openxmlformats.org/officeDocument/2006/relationships/slideLayout" Target="../slideLayouts/slideLayout171.xml"/><Relationship Id="rId37" Type="http://schemas.openxmlformats.org/officeDocument/2006/relationships/tags" Target="../tags/tag15.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slideLayout" Target="../slideLayouts/slideLayout167.xml"/><Relationship Id="rId36" Type="http://schemas.openxmlformats.org/officeDocument/2006/relationships/tags" Target="../tags/tag14.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31" Type="http://schemas.openxmlformats.org/officeDocument/2006/relationships/slideLayout" Target="../slideLayouts/slideLayout170.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 Id="rId30" Type="http://schemas.openxmlformats.org/officeDocument/2006/relationships/slideLayout" Target="../slideLayouts/slideLayout169.xml"/><Relationship Id="rId35" Type="http://schemas.openxmlformats.org/officeDocument/2006/relationships/theme" Target="../theme/theme5.xml"/><Relationship Id="rId8" Type="http://schemas.openxmlformats.org/officeDocument/2006/relationships/slideLayout" Target="../slideLayouts/slideLayout147.xml"/><Relationship Id="rId3" Type="http://schemas.openxmlformats.org/officeDocument/2006/relationships/slideLayout" Target="../slideLayouts/slideLayout14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21" Type="http://schemas.openxmlformats.org/officeDocument/2006/relationships/slideLayout" Target="../slideLayouts/slideLayout194.xml"/><Relationship Id="rId34" Type="http://schemas.openxmlformats.org/officeDocument/2006/relationships/tags" Target="../tags/tag17.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33" Type="http://schemas.openxmlformats.org/officeDocument/2006/relationships/theme" Target="../theme/theme6.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29" Type="http://schemas.openxmlformats.org/officeDocument/2006/relationships/slideLayout" Target="../slideLayouts/slideLayout202.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32" Type="http://schemas.openxmlformats.org/officeDocument/2006/relationships/slideLayout" Target="../slideLayouts/slideLayout205.xml"/><Relationship Id="rId37" Type="http://schemas.openxmlformats.org/officeDocument/2006/relationships/image" Target="../media/image1.emf"/><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slideLayout" Target="../slideLayouts/slideLayout201.xml"/><Relationship Id="rId36" Type="http://schemas.openxmlformats.org/officeDocument/2006/relationships/oleObject" Target="../embeddings/oleObject10.bin"/><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31" Type="http://schemas.openxmlformats.org/officeDocument/2006/relationships/slideLayout" Target="../slideLayouts/slideLayout204.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slideLayout" Target="../slideLayouts/slideLayout200.xml"/><Relationship Id="rId30" Type="http://schemas.openxmlformats.org/officeDocument/2006/relationships/slideLayout" Target="../slideLayouts/slideLayout203.xml"/><Relationship Id="rId35" Type="http://schemas.openxmlformats.org/officeDocument/2006/relationships/tags" Target="../tags/tag18.xml"/><Relationship Id="rId8" Type="http://schemas.openxmlformats.org/officeDocument/2006/relationships/slideLayout" Target="../slideLayouts/slideLayout181.xml"/><Relationship Id="rId3" Type="http://schemas.openxmlformats.org/officeDocument/2006/relationships/slideLayout" Target="../slideLayouts/slideLayout17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26" Type="http://schemas.openxmlformats.org/officeDocument/2006/relationships/slideLayout" Target="../slideLayouts/slideLayout231.xml"/><Relationship Id="rId39" Type="http://schemas.openxmlformats.org/officeDocument/2006/relationships/image" Target="../media/image1.emf"/><Relationship Id="rId21" Type="http://schemas.openxmlformats.org/officeDocument/2006/relationships/slideLayout" Target="../slideLayouts/slideLayout226.xml"/><Relationship Id="rId34" Type="http://schemas.openxmlformats.org/officeDocument/2006/relationships/slideLayout" Target="../slideLayouts/slideLayout239.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oleObject" Target="../embeddings/oleObject12.bin"/><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29" Type="http://schemas.openxmlformats.org/officeDocument/2006/relationships/slideLayout" Target="../slideLayouts/slideLayout234.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tags" Target="../tags/tag22.xml"/><Relationship Id="rId5" Type="http://schemas.openxmlformats.org/officeDocument/2006/relationships/slideLayout" Target="../slideLayouts/slideLayout210.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tags" Target="../tags/tag21.xml"/><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31" Type="http://schemas.openxmlformats.org/officeDocument/2006/relationships/slideLayout" Target="../slideLayouts/slideLayout236.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theme" Target="../theme/theme7.xml"/><Relationship Id="rId8" Type="http://schemas.openxmlformats.org/officeDocument/2006/relationships/slideLayout" Target="../slideLayouts/slideLayout213.xml"/><Relationship Id="rId3" Type="http://schemas.openxmlformats.org/officeDocument/2006/relationships/slideLayout" Target="../slideLayouts/slideLayout208.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26" Type="http://schemas.openxmlformats.org/officeDocument/2006/relationships/slideLayout" Target="../slideLayouts/slideLayout265.xml"/><Relationship Id="rId39" Type="http://schemas.openxmlformats.org/officeDocument/2006/relationships/oleObject" Target="../embeddings/oleObject13.bin"/><Relationship Id="rId21" Type="http://schemas.openxmlformats.org/officeDocument/2006/relationships/slideLayout" Target="../slideLayouts/slideLayout260.xml"/><Relationship Id="rId34" Type="http://schemas.openxmlformats.org/officeDocument/2006/relationships/slideLayout" Target="../slideLayouts/slideLayout273.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5" Type="http://schemas.openxmlformats.org/officeDocument/2006/relationships/slideLayout" Target="../slideLayouts/slideLayout264.xml"/><Relationship Id="rId33" Type="http://schemas.openxmlformats.org/officeDocument/2006/relationships/slideLayout" Target="../slideLayouts/slideLayout272.xml"/><Relationship Id="rId38" Type="http://schemas.openxmlformats.org/officeDocument/2006/relationships/tags" Target="../tags/tag23.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slideLayout" Target="../slideLayouts/slideLayout259.xml"/><Relationship Id="rId29" Type="http://schemas.openxmlformats.org/officeDocument/2006/relationships/slideLayout" Target="../slideLayouts/slideLayout268.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24" Type="http://schemas.openxmlformats.org/officeDocument/2006/relationships/slideLayout" Target="../slideLayouts/slideLayout263.xml"/><Relationship Id="rId32" Type="http://schemas.openxmlformats.org/officeDocument/2006/relationships/slideLayout" Target="../slideLayouts/slideLayout271.xml"/><Relationship Id="rId37" Type="http://schemas.openxmlformats.org/officeDocument/2006/relationships/theme" Target="../theme/theme8.xml"/><Relationship Id="rId40" Type="http://schemas.openxmlformats.org/officeDocument/2006/relationships/image" Target="../media/image1.emf"/><Relationship Id="rId5" Type="http://schemas.openxmlformats.org/officeDocument/2006/relationships/slideLayout" Target="../slideLayouts/slideLayout244.xml"/><Relationship Id="rId15" Type="http://schemas.openxmlformats.org/officeDocument/2006/relationships/slideLayout" Target="../slideLayouts/slideLayout254.xml"/><Relationship Id="rId23" Type="http://schemas.openxmlformats.org/officeDocument/2006/relationships/slideLayout" Target="../slideLayouts/slideLayout262.xml"/><Relationship Id="rId28" Type="http://schemas.openxmlformats.org/officeDocument/2006/relationships/slideLayout" Target="../slideLayouts/slideLayout267.xml"/><Relationship Id="rId36" Type="http://schemas.openxmlformats.org/officeDocument/2006/relationships/slideLayout" Target="../slideLayouts/slideLayout275.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31" Type="http://schemas.openxmlformats.org/officeDocument/2006/relationships/slideLayout" Target="../slideLayouts/slideLayout270.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 Id="rId27" Type="http://schemas.openxmlformats.org/officeDocument/2006/relationships/slideLayout" Target="../slideLayouts/slideLayout266.xml"/><Relationship Id="rId30" Type="http://schemas.openxmlformats.org/officeDocument/2006/relationships/slideLayout" Target="../slideLayouts/slideLayout269.xml"/><Relationship Id="rId35" Type="http://schemas.openxmlformats.org/officeDocument/2006/relationships/slideLayout" Target="../slideLayouts/slideLayout274.xml"/><Relationship Id="rId8" Type="http://schemas.openxmlformats.org/officeDocument/2006/relationships/slideLayout" Target="../slideLayouts/slideLayout247.xml"/><Relationship Id="rId3" Type="http://schemas.openxmlformats.org/officeDocument/2006/relationships/slideLayout" Target="../slideLayouts/slideLayout242.xml"/></Relationships>
</file>

<file path=ppt/slideMasters/_rels/slideMaster9.xml.rels><?xml version="1.0" encoding="UTF-8" standalone="yes"?>
<Relationships xmlns="http://schemas.openxmlformats.org/package/2006/relationships"><Relationship Id="rId13" Type="http://schemas.openxmlformats.org/officeDocument/2006/relationships/tags" Target="../tags/tag31.xml"/><Relationship Id="rId18" Type="http://schemas.openxmlformats.org/officeDocument/2006/relationships/tags" Target="../tags/tag36.xml"/><Relationship Id="rId26" Type="http://schemas.openxmlformats.org/officeDocument/2006/relationships/tags" Target="../tags/tag44.xml"/><Relationship Id="rId39" Type="http://schemas.openxmlformats.org/officeDocument/2006/relationships/tags" Target="../tags/tag57.xml"/><Relationship Id="rId21" Type="http://schemas.openxmlformats.org/officeDocument/2006/relationships/tags" Target="../tags/tag39.xml"/><Relationship Id="rId34" Type="http://schemas.openxmlformats.org/officeDocument/2006/relationships/tags" Target="../tags/tag52.xml"/><Relationship Id="rId42" Type="http://schemas.openxmlformats.org/officeDocument/2006/relationships/image" Target="../media/image7.png"/><Relationship Id="rId7" Type="http://schemas.openxmlformats.org/officeDocument/2006/relationships/tags" Target="../tags/tag25.xml"/><Relationship Id="rId2" Type="http://schemas.openxmlformats.org/officeDocument/2006/relationships/slideLayout" Target="../slideLayouts/slideLayout277.xml"/><Relationship Id="rId16" Type="http://schemas.openxmlformats.org/officeDocument/2006/relationships/tags" Target="../tags/tag34.xml"/><Relationship Id="rId20" Type="http://schemas.openxmlformats.org/officeDocument/2006/relationships/tags" Target="../tags/tag38.xml"/><Relationship Id="rId29" Type="http://schemas.openxmlformats.org/officeDocument/2006/relationships/tags" Target="../tags/tag47.xml"/><Relationship Id="rId41" Type="http://schemas.openxmlformats.org/officeDocument/2006/relationships/image" Target="../media/image6.emf"/><Relationship Id="rId1" Type="http://schemas.openxmlformats.org/officeDocument/2006/relationships/slideLayout" Target="../slideLayouts/slideLayout276.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tags" Target="../tags/tag42.xml"/><Relationship Id="rId32" Type="http://schemas.openxmlformats.org/officeDocument/2006/relationships/tags" Target="../tags/tag50.xml"/><Relationship Id="rId37" Type="http://schemas.openxmlformats.org/officeDocument/2006/relationships/tags" Target="../tags/tag55.xml"/><Relationship Id="rId40" Type="http://schemas.openxmlformats.org/officeDocument/2006/relationships/oleObject" Target="../embeddings/oleObject14.bin"/><Relationship Id="rId5" Type="http://schemas.openxmlformats.org/officeDocument/2006/relationships/theme" Target="../theme/theme9.xml"/><Relationship Id="rId15" Type="http://schemas.openxmlformats.org/officeDocument/2006/relationships/tags" Target="../tags/tag33.xml"/><Relationship Id="rId23" Type="http://schemas.openxmlformats.org/officeDocument/2006/relationships/tags" Target="../tags/tag41.xml"/><Relationship Id="rId28" Type="http://schemas.openxmlformats.org/officeDocument/2006/relationships/tags" Target="../tags/tag46.xml"/><Relationship Id="rId36" Type="http://schemas.openxmlformats.org/officeDocument/2006/relationships/tags" Target="../tags/tag54.xml"/><Relationship Id="rId10" Type="http://schemas.openxmlformats.org/officeDocument/2006/relationships/tags" Target="../tags/tag28.xml"/><Relationship Id="rId19" Type="http://schemas.openxmlformats.org/officeDocument/2006/relationships/tags" Target="../tags/tag37.xml"/><Relationship Id="rId31" Type="http://schemas.openxmlformats.org/officeDocument/2006/relationships/tags" Target="../tags/tag49.xml"/><Relationship Id="rId4" Type="http://schemas.openxmlformats.org/officeDocument/2006/relationships/slideLayout" Target="../slideLayouts/slideLayout279.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tags" Target="../tags/tag40.xml"/><Relationship Id="rId27" Type="http://schemas.openxmlformats.org/officeDocument/2006/relationships/tags" Target="../tags/tag45.xml"/><Relationship Id="rId30" Type="http://schemas.openxmlformats.org/officeDocument/2006/relationships/tags" Target="../tags/tag48.xml"/><Relationship Id="rId35" Type="http://schemas.openxmlformats.org/officeDocument/2006/relationships/tags" Target="../tags/tag53.xml"/><Relationship Id="rId8" Type="http://schemas.openxmlformats.org/officeDocument/2006/relationships/tags" Target="../tags/tag26.xml"/><Relationship Id="rId3" Type="http://schemas.openxmlformats.org/officeDocument/2006/relationships/slideLayout" Target="../slideLayouts/slideLayout278.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tags" Target="../tags/tag43.xml"/><Relationship Id="rId33" Type="http://schemas.openxmlformats.org/officeDocument/2006/relationships/tags" Target="../tags/tag51.xml"/><Relationship Id="rId38" Type="http://schemas.openxmlformats.org/officeDocument/2006/relationships/tags" Target="../tags/tag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ext uri="{D42A27DB-BD31-4B8C-83A1-F6EECF244321}">
                <p14:modId xmlns:p14="http://schemas.microsoft.com/office/powerpoint/2010/main" val="31843480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0" imgW="470" imgH="469" progId="TCLayout.ActiveDocument.1">
                  <p:embed/>
                </p:oleObj>
              </mc:Choice>
              <mc:Fallback>
                <p:oleObj name="think-cell Slide" r:id="rId40" imgW="470" imgH="469" progId="TCLayout.ActiveDocument.1">
                  <p:embed/>
                  <p:pic>
                    <p:nvPicPr>
                      <p:cNvPr id="4" name="Object 3" hidden="1"/>
                      <p:cNvPicPr/>
                      <p:nvPr/>
                    </p:nvPicPr>
                    <p:blipFill>
                      <a:blip r:embed="rId41"/>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848195-57A3-44A9-B2E4-69461356A0A8}"/>
              </a:ext>
            </a:extLst>
          </p:cNvPr>
          <p:cNvSpPr/>
          <p:nvPr userDrawn="1">
            <p:custDataLst>
              <p:tags r:id="rId39"/>
            </p:custDataLst>
          </p:nvPr>
        </p:nvSpPr>
        <p:spPr>
          <a:xfrm>
            <a:off x="0" y="0"/>
            <a:ext cx="158750" cy="158750"/>
          </a:xfrm>
          <a:prstGeom prst="rect">
            <a:avLst/>
          </a:prstGeom>
          <a:solidFill>
            <a:schemeClr val="bg1">
              <a:lumMod val="95000"/>
            </a:schemeClr>
          </a:solidFill>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90000"/>
              </a:lnSpc>
              <a:spcBef>
                <a:spcPts val="375"/>
              </a:spcBef>
              <a:spcAft>
                <a:spcPts val="0"/>
              </a:spcAft>
              <a:buClr>
                <a:schemeClr val="accent1"/>
              </a:buClr>
              <a:buSzTx/>
              <a:buFontTx/>
              <a:buNone/>
              <a:tabLst/>
            </a:pPr>
            <a:endParaRPr kumimoji="0" lang="nl-NL" sz="2800" b="1" i="0" u="none" strike="noStrike" kern="1200" cap="none" spc="0" normalizeH="0" baseline="0" noProof="0" err="1">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pSp>
        <p:nvGrpSpPr>
          <p:cNvPr id="11" name="Group 11">
            <a:extLst>
              <a:ext uri="{FF2B5EF4-FFF2-40B4-BE49-F238E27FC236}">
                <a16:creationId xmlns:a16="http://schemas.microsoft.com/office/drawing/2014/main" id="{61D53C77-5B12-4A68-8996-C158939B40D9}"/>
              </a:ext>
            </a:extLst>
          </p:cNvPr>
          <p:cNvGrpSpPr>
            <a:grpSpLocks/>
          </p:cNvGrpSpPr>
          <p:nvPr userDrawn="1"/>
        </p:nvGrpSpPr>
        <p:grpSpPr bwMode="auto">
          <a:xfrm>
            <a:off x="223714" y="302733"/>
            <a:ext cx="233074" cy="793147"/>
            <a:chOff x="115" y="102"/>
            <a:chExt cx="268" cy="912"/>
          </a:xfrm>
        </p:grpSpPr>
        <p:sp>
          <p:nvSpPr>
            <p:cNvPr id="14" name="Freeform 7">
              <a:extLst>
                <a:ext uri="{FF2B5EF4-FFF2-40B4-BE49-F238E27FC236}">
                  <a16:creationId xmlns:a16="http://schemas.microsoft.com/office/drawing/2014/main" id="{7609CFC7-E732-4E11-9A21-13B99366F545}"/>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sp>
          <p:nvSpPr>
            <p:cNvPr id="15" name="Freeform 8">
              <a:extLst>
                <a:ext uri="{FF2B5EF4-FFF2-40B4-BE49-F238E27FC236}">
                  <a16:creationId xmlns:a16="http://schemas.microsoft.com/office/drawing/2014/main" id="{3F5194B3-A6B3-48DC-8B66-64C53FCD7A0D}"/>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sp>
          <p:nvSpPr>
            <p:cNvPr id="16" name="Freeform 9">
              <a:extLst>
                <a:ext uri="{FF2B5EF4-FFF2-40B4-BE49-F238E27FC236}">
                  <a16:creationId xmlns:a16="http://schemas.microsoft.com/office/drawing/2014/main" id="{65AB6660-F832-44B8-9D11-99980143B01F}"/>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gr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72000" tIns="54000" rIns="72000" bIns="54000" rtlCol="0" anchor="b">
            <a:noAutofit/>
          </a:bodyPr>
          <a:lstStyle/>
          <a:p>
            <a:r>
              <a:rPr lang="nl-NL" noProof="0"/>
              <a:t>Klik om titel in te voegen</a:t>
            </a:r>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72000" tIns="54000" rIns="72000" bIns="54000" rtlCol="0">
            <a:noAutofit/>
          </a:bodyPr>
          <a:lstStyle/>
          <a:p>
            <a:pPr lvl="1"/>
            <a:r>
              <a:rPr lang="nl-NL" noProof="0"/>
              <a:t>Tekst</a:t>
            </a:r>
          </a:p>
          <a:p>
            <a:pPr lvl="2"/>
            <a:r>
              <a:rPr lang="nl-NL" noProof="0"/>
              <a:t>Tekst</a:t>
            </a:r>
          </a:p>
          <a:p>
            <a:pPr lvl="3"/>
            <a:r>
              <a:rPr lang="nl-NL" noProof="0"/>
              <a:t>Tekst</a:t>
            </a:r>
          </a:p>
          <a:p>
            <a:pPr lvl="4"/>
            <a:r>
              <a:rPr lang="nl-NL" noProof="0"/>
              <a:t>Tekst</a:t>
            </a:r>
          </a:p>
          <a:p>
            <a:pPr lvl="5"/>
            <a:r>
              <a:rPr lang="nl-NL" noProof="0"/>
              <a:t>Tekst</a:t>
            </a:r>
          </a:p>
          <a:p>
            <a:pPr lvl="6"/>
            <a:r>
              <a:rPr lang="nl-NL" noProof="0"/>
              <a:t>Tekst</a:t>
            </a:r>
          </a:p>
          <a:p>
            <a:pPr lvl="7"/>
            <a:r>
              <a:rPr lang="nl-NL" noProof="0"/>
              <a:t>Tekst</a:t>
            </a:r>
          </a:p>
          <a:p>
            <a:pPr lvl="8"/>
            <a:r>
              <a:rPr lang="nl-NL" noProof="0"/>
              <a:t>Tekst</a:t>
            </a:r>
          </a:p>
          <a:p>
            <a:pPr lvl="8"/>
            <a:endParaRPr lang="nl-NL" noProof="0"/>
          </a:p>
        </p:txBody>
      </p:sp>
      <p:sp>
        <p:nvSpPr>
          <p:cNvPr id="13" name="Footer Placeholder 12">
            <a:extLst>
              <a:ext uri="{FF2B5EF4-FFF2-40B4-BE49-F238E27FC236}">
                <a16:creationId xmlns:a16="http://schemas.microsoft.com/office/drawing/2014/main" id="{E1B012CD-240A-4B84-9270-B57DEB0856E1}"/>
              </a:ext>
            </a:extLst>
          </p:cNvPr>
          <p:cNvSpPr>
            <a:spLocks noGrp="1"/>
          </p:cNvSpPr>
          <p:nvPr>
            <p:ph type="ftr" sz="quarter" idx="3"/>
          </p:nvPr>
        </p:nvSpPr>
        <p:spPr>
          <a:xfrm>
            <a:off x="658813" y="6619875"/>
            <a:ext cx="9675812" cy="163512"/>
          </a:xfrm>
          <a:prstGeom prst="rect">
            <a:avLst/>
          </a:prstGeom>
        </p:spPr>
        <p:txBody>
          <a:bodyPr vert="horz" lIns="72000" tIns="18000" rIns="72000" bIns="18000" rtlCol="0" anchor="b"/>
          <a:lstStyle>
            <a:lvl1pPr algn="l">
              <a:defRPr sz="800">
                <a:solidFill>
                  <a:srgbClr val="000000"/>
                </a:solidFill>
                <a:latin typeface="+mn-lt"/>
              </a:defRPr>
            </a:lvl1pPr>
          </a:lstStyle>
          <a:p>
            <a:r>
              <a:rPr lang="nl-NL"/>
              <a:t>Informatiebijeenkomst 26 juli 2021 Europese Aanbesteding SVWI</a:t>
            </a:r>
          </a:p>
        </p:txBody>
      </p:sp>
      <p:sp>
        <p:nvSpPr>
          <p:cNvPr id="17" name="Slide Number Placeholder 16">
            <a:extLst>
              <a:ext uri="{FF2B5EF4-FFF2-40B4-BE49-F238E27FC236}">
                <a16:creationId xmlns:a16="http://schemas.microsoft.com/office/drawing/2014/main" id="{81D8C9C7-8523-4FC5-96C3-22AE670F7C7A}"/>
              </a:ext>
            </a:extLst>
          </p:cNvPr>
          <p:cNvSpPr>
            <a:spLocks noGrp="1"/>
          </p:cNvSpPr>
          <p:nvPr>
            <p:ph type="sldNum" sz="quarter" idx="4"/>
          </p:nvPr>
        </p:nvSpPr>
        <p:spPr>
          <a:xfrm>
            <a:off x="10510048" y="6619875"/>
            <a:ext cx="1023140" cy="168275"/>
          </a:xfrm>
          <a:prstGeom prst="rect">
            <a:avLst/>
          </a:prstGeom>
        </p:spPr>
        <p:txBody>
          <a:bodyPr vert="horz" lIns="91440" tIns="45720" rIns="91440" bIns="45720" rtlCol="0" anchor="ctr"/>
          <a:lstStyle>
            <a:lvl1pPr algn="r">
              <a:defRPr sz="1200">
                <a:solidFill>
                  <a:srgbClr val="000000"/>
                </a:solidFill>
                <a:latin typeface="+mn-lt"/>
              </a:defRPr>
            </a:lvl1pPr>
          </a:lstStyle>
          <a:p>
            <a:fld id="{992CD0B2-8AB2-4C6C-8876-E15753662C9B}" type="slidenum">
              <a:rPr lang="nl-NL" noProof="0" smtClean="0"/>
              <a:pPr/>
              <a:t>‹nr.›</a:t>
            </a:fld>
            <a:endParaRPr lang="nl-NL" noProof="0"/>
          </a:p>
        </p:txBody>
      </p:sp>
    </p:spTree>
    <p:extLst>
      <p:ext uri="{BB962C8B-B14F-4D97-AF65-F5344CB8AC3E}">
        <p14:creationId xmlns:p14="http://schemas.microsoft.com/office/powerpoint/2010/main" val="13847556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4061" r:id="rId36"/>
  </p:sldLayoutIdLst>
  <p:hf hdr="0" dt="0"/>
  <p:txStyles>
    <p:titleStyle>
      <a:lvl1pPr algn="l" defTabSz="685800" rtl="0" eaLnBrk="1" latinLnBrk="0" hangingPunct="1">
        <a:lnSpc>
          <a:spcPct val="90000"/>
        </a:lnSpc>
        <a:spcBef>
          <a:spcPct val="0"/>
        </a:spcBef>
        <a:buNone/>
        <a:defRPr sz="2800" b="1" kern="1200">
          <a:solidFill>
            <a:schemeClr val="tx2"/>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1913659590"/>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9" imgW="270" imgH="270" progId="TCLayout.ActiveDocument.1">
                  <p:embed/>
                </p:oleObj>
              </mc:Choice>
              <mc:Fallback>
                <p:oleObj name="think-cell Slide" r:id="rId39" imgW="270" imgH="270" progId="TCLayout.ActiveDocument.1">
                  <p:embed/>
                  <p:pic>
                    <p:nvPicPr>
                      <p:cNvPr id="2" name="Object 1" hidden="1"/>
                      <p:cNvPicPr/>
                      <p:nvPr/>
                    </p:nvPicPr>
                    <p:blipFill>
                      <a:blip r:embed="rId40"/>
                      <a:stretch>
                        <a:fillRect/>
                      </a:stretch>
                    </p:blipFill>
                    <p:spPr>
                      <a:xfrm>
                        <a:off x="0" y="0"/>
                        <a:ext cx="215979" cy="16197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13A703-F189-4854-97A2-C10D7EE5C491}"/>
              </a:ext>
            </a:extLst>
          </p:cNvPr>
          <p:cNvSpPr/>
          <p:nvPr userDrawn="1">
            <p:custDataLst>
              <p:tags r:id="rId6"/>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1036" name="Rectangle 286"/>
          <p:cNvSpPr>
            <a:spLocks noGrp="1" noChangeArrowheads="1"/>
          </p:cNvSpPr>
          <p:nvPr>
            <p:ph type="body" idx="1"/>
          </p:nvPr>
        </p:nvSpPr>
        <p:spPr bwMode="gray">
          <a:xfrm>
            <a:off x="233259" y="2698440"/>
            <a:ext cx="1172548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noProof="0" dirty="0"/>
              <a:t>Edit Master text styles</a:t>
            </a:r>
          </a:p>
          <a:p>
            <a:pPr lvl="1"/>
            <a:r>
              <a:rPr lang="nl-NL" noProof="0" dirty="0"/>
              <a:t>Second level</a:t>
            </a:r>
          </a:p>
          <a:p>
            <a:pPr lvl="2"/>
            <a:r>
              <a:rPr lang="nl-NL" noProof="0" dirty="0"/>
              <a:t>Third level</a:t>
            </a:r>
          </a:p>
          <a:p>
            <a:pPr lvl="3"/>
            <a:r>
              <a:rPr lang="nl-NL" noProof="0" dirty="0"/>
              <a:t>Fourth level</a:t>
            </a:r>
          </a:p>
          <a:p>
            <a:pPr lvl="4"/>
            <a:r>
              <a:rPr lang="nl-NL" noProof="0" dirty="0"/>
              <a:t>Fifth level</a:t>
            </a:r>
          </a:p>
        </p:txBody>
      </p:sp>
      <p:sp>
        <p:nvSpPr>
          <p:cNvPr id="19" name="Title Placeholder 2"/>
          <p:cNvSpPr>
            <a:spLocks noGrp="1" noChangeArrowheads="1"/>
          </p:cNvSpPr>
          <p:nvPr>
            <p:ph type="title"/>
          </p:nvPr>
        </p:nvSpPr>
        <p:spPr bwMode="gray">
          <a:xfrm>
            <a:off x="839041" y="283037"/>
            <a:ext cx="1111970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dirty="0"/>
              <a:t>Click to edit Master title style</a:t>
            </a:r>
          </a:p>
        </p:txBody>
      </p:sp>
      <p:sp>
        <p:nvSpPr>
          <p:cNvPr id="13" name="4. Footnote" hidden="1"/>
          <p:cNvSpPr txBox="1">
            <a:spLocks noChangeArrowheads="1"/>
          </p:cNvSpPr>
          <p:nvPr/>
        </p:nvSpPr>
        <p:spPr bwMode="gray">
          <a:xfrm>
            <a:off x="233259" y="6193144"/>
            <a:ext cx="117254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846" indent="-85846">
              <a:defRPr/>
            </a:pPr>
            <a:r>
              <a:rPr lang="nl-NL" sz="1020" baseline="0" noProof="0" dirty="0">
                <a:latin typeface="+mn-lt"/>
              </a:rPr>
              <a:t>1 Voetnoot </a:t>
            </a:r>
          </a:p>
        </p:txBody>
      </p:sp>
      <p:sp>
        <p:nvSpPr>
          <p:cNvPr id="14" name="5. Source" hidden="1"/>
          <p:cNvSpPr>
            <a:spLocks noChangeArrowheads="1"/>
          </p:cNvSpPr>
          <p:nvPr/>
        </p:nvSpPr>
        <p:spPr bwMode="gray">
          <a:xfrm>
            <a:off x="233259" y="6408862"/>
            <a:ext cx="11254650"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marL="319087" indent="-319087" defTabSz="913526">
              <a:tabLst/>
            </a:pPr>
            <a:r>
              <a:rPr lang="nl-NL" sz="1020" baseline="0" noProof="0" dirty="0">
                <a:solidFill>
                  <a:srgbClr val="000000"/>
                </a:solidFill>
                <a:latin typeface="+mn-lt"/>
              </a:rPr>
              <a:t>Bron: Bron</a:t>
            </a:r>
          </a:p>
        </p:txBody>
      </p:sp>
      <p:grpSp>
        <p:nvGrpSpPr>
          <p:cNvPr id="15" name="ACET" hidden="1"/>
          <p:cNvGrpSpPr>
            <a:grpSpLocks/>
          </p:cNvGrpSpPr>
          <p:nvPr/>
        </p:nvGrpSpPr>
        <p:grpSpPr bwMode="gray">
          <a:xfrm>
            <a:off x="233258" y="1895475"/>
            <a:ext cx="2317942" cy="531276"/>
            <a:chOff x="915" y="702"/>
            <a:chExt cx="2686" cy="328"/>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nl-NL" sz="1632" b="1" baseline="0" noProof="0" dirty="0">
                  <a:latin typeface="+mn-lt"/>
                  <a:ea typeface="+mn-ea"/>
                </a:rPr>
                <a:t>Titel</a:t>
              </a:r>
            </a:p>
            <a:p>
              <a:r>
                <a:rPr lang="nl-NL" sz="1632" baseline="0" noProof="0" dirty="0">
                  <a:solidFill>
                    <a:schemeClr val="tx1"/>
                  </a:solidFill>
                  <a:latin typeface="+mn-lt"/>
                  <a:ea typeface="+mn-ea"/>
                </a:rPr>
                <a:t>Meeteenheid</a:t>
              </a:r>
            </a:p>
          </p:txBody>
        </p:sp>
      </p:grpSp>
      <p:sp>
        <p:nvSpPr>
          <p:cNvPr id="3" name="pg number"/>
          <p:cNvSpPr>
            <a:spLocks/>
          </p:cNvSpPr>
          <p:nvPr/>
        </p:nvSpPr>
        <p:spPr bwMode="gray">
          <a:xfrm>
            <a:off x="11729760" y="6407190"/>
            <a:ext cx="228982" cy="160154"/>
          </a:xfrm>
          <a:prstGeom prst="rect">
            <a:avLst/>
          </a:prstGeom>
        </p:spPr>
        <p:txBody>
          <a:bodyPr vert="horz" wrap="none" lIns="0" tIns="0" rIns="0" bIns="0" rtlCol="0" anchor="ctr">
            <a:spAutoFit/>
          </a:bodyPr>
          <a:lstStyle/>
          <a:p>
            <a:pPr lvl="0" algn="r"/>
            <a:fld id="{42C328C1-A84F-4A39-A664-DBA00541A8C6}" type="slidenum">
              <a:rPr lang="nl-NL" sz="1020" noProof="0" smtClean="0">
                <a:latin typeface="+mn-lt"/>
              </a:rPr>
              <a:pPr lvl="0" algn="r"/>
              <a:t>‹nr.›</a:t>
            </a:fld>
            <a:endParaRPr lang="nl-NL" sz="1020" baseline="0" noProof="0" dirty="0">
              <a:solidFill>
                <a:schemeClr val="tx1"/>
              </a:solidFill>
              <a:latin typeface="+mn-lt"/>
            </a:endParaRPr>
          </a:p>
        </p:txBody>
      </p:sp>
      <p:sp>
        <p:nvSpPr>
          <p:cNvPr id="11" name="3. Unit of measure" hidden="1"/>
          <p:cNvSpPr txBox="1">
            <a:spLocks noChangeArrowheads="1"/>
          </p:cNvSpPr>
          <p:nvPr/>
        </p:nvSpPr>
        <p:spPr bwMode="gray">
          <a:xfrm>
            <a:off x="839041" y="721487"/>
            <a:ext cx="1111970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549088" algn="l"/>
              </a:tabLst>
              <a:defRPr/>
            </a:pPr>
            <a:r>
              <a:rPr lang="nl-NL" sz="1632" baseline="0" noProof="0" dirty="0">
                <a:solidFill>
                  <a:schemeClr val="tx1"/>
                </a:solidFill>
                <a:latin typeface="+mn-lt"/>
              </a:rPr>
              <a:t>Meeteenheid</a:t>
            </a:r>
          </a:p>
        </p:txBody>
      </p:sp>
      <p:sp>
        <p:nvSpPr>
          <p:cNvPr id="77" name="1. On-page tracker" hidden="1"/>
          <p:cNvSpPr>
            <a:spLocks noChangeArrowheads="1"/>
          </p:cNvSpPr>
          <p:nvPr/>
        </p:nvSpPr>
        <p:spPr bwMode="gray">
          <a:xfrm>
            <a:off x="839040" y="45940"/>
            <a:ext cx="768531"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549088" algn="l"/>
              </a:tabLst>
            </a:pPr>
            <a:r>
              <a:rPr lang="nl-NL" sz="1428" cap="all" baseline="0" dirty="0">
                <a:latin typeface="+mn-lt"/>
                <a:ea typeface="+mj-ea"/>
              </a:rPr>
              <a:t>TRACKER</a:t>
            </a:r>
          </a:p>
        </p:txBody>
      </p:sp>
      <p:sp>
        <p:nvSpPr>
          <p:cNvPr id="93" name="Oval" hidden="1"/>
          <p:cNvSpPr txBox="1">
            <a:spLocks/>
          </p:cNvSpPr>
          <p:nvPr>
            <p:custDataLst>
              <p:tags r:id="rId7"/>
            </p:custDataLst>
          </p:nvPr>
        </p:nvSpPr>
        <p:spPr bwMode="gray">
          <a:xfrm>
            <a:off x="6878923" y="1451179"/>
            <a:ext cx="1554978" cy="1554955"/>
          </a:xfrm>
          <a:prstGeom prst="ellipse">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731" tIns="36731" rIns="36731" bIns="36731"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a:r>
              <a:rPr lang="nl-NL" sz="1632" dirty="0">
                <a:latin typeface="+mn-lt"/>
              </a:rPr>
              <a:t>Text</a:t>
            </a:r>
          </a:p>
        </p:txBody>
      </p:sp>
      <p:sp>
        <p:nvSpPr>
          <p:cNvPr id="94" name="Body3" hidden="1"/>
          <p:cNvSpPr txBox="1">
            <a:spLocks/>
          </p:cNvSpPr>
          <p:nvPr>
            <p:custDataLst>
              <p:tags r:id="rId8"/>
            </p:custDataLst>
          </p:nvPr>
        </p:nvSpPr>
        <p:spPr bwMode="gray">
          <a:xfrm>
            <a:off x="3492958" y="1451179"/>
            <a:ext cx="1554978" cy="1554955"/>
          </a:xfrm>
          <a:prstGeom prst="rect">
            <a:avLst/>
          </a:prstGeom>
          <a:solidFill>
            <a:schemeClr val="accent1"/>
          </a:solidFill>
          <a:ln w="9525">
            <a:no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5" name="RoundedRectangle" hidden="1"/>
          <p:cNvSpPr txBox="1">
            <a:spLocks/>
          </p:cNvSpPr>
          <p:nvPr>
            <p:custDataLst>
              <p:tags r:id="rId9"/>
            </p:custDataLst>
          </p:nvPr>
        </p:nvSpPr>
        <p:spPr bwMode="gray">
          <a:xfrm>
            <a:off x="5185940" y="1451179"/>
            <a:ext cx="1554978" cy="1554955"/>
          </a:xfrm>
          <a:prstGeom prst="roundRect">
            <a:avLst/>
          </a:prstGeom>
          <a:solidFill>
            <a:schemeClr val="accent1"/>
          </a:solidFill>
          <a:ln w="9525">
            <a:no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6" name="Arrow" hidden="1"/>
          <p:cNvSpPr txBox="1"/>
          <p:nvPr>
            <p:custDataLst>
              <p:tags r:id="rId10"/>
            </p:custDataLst>
          </p:nvPr>
        </p:nvSpPr>
        <p:spPr bwMode="gray">
          <a:xfrm>
            <a:off x="3490717" y="4223444"/>
            <a:ext cx="1865974" cy="932973"/>
          </a:xfrm>
          <a:prstGeom prst="rightArrow">
            <a:avLst>
              <a:gd name="adj1" fmla="val 54000"/>
              <a:gd name="adj2" fmla="val 37676"/>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3462"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7" name="DirArrow" hidden="1"/>
          <p:cNvSpPr>
            <a:spLocks noChangeArrowheads="1"/>
          </p:cNvSpPr>
          <p:nvPr>
            <p:custDataLst>
              <p:tags r:id="rId11"/>
            </p:custDataLst>
          </p:nvPr>
        </p:nvSpPr>
        <p:spPr bwMode="gray">
          <a:xfrm rot="5400000">
            <a:off x="7170376" y="2852710"/>
            <a:ext cx="3153449" cy="350388"/>
          </a:xfrm>
          <a:prstGeom prst="triangle">
            <a:avLst>
              <a:gd name="adj" fmla="val 50000"/>
            </a:avLst>
          </a:prstGeom>
          <a:solidFill>
            <a:schemeClr val="accent1"/>
          </a:solidFill>
          <a:ln w="9525">
            <a:noFill/>
            <a:miter lim="800000"/>
            <a:headEnd/>
            <a:tailEnd/>
          </a:ln>
          <a:effectLst/>
        </p:spPr>
        <p:txBody>
          <a:bodyPr wrap="none" anchor="ctr"/>
          <a:lstStyle/>
          <a:p>
            <a:endParaRPr lang="nl-NL" sz="1632" dirty="0">
              <a:latin typeface="+mn-lt"/>
            </a:endParaRPr>
          </a:p>
        </p:txBody>
      </p:sp>
      <p:sp>
        <p:nvSpPr>
          <p:cNvPr id="98" name="Bracket" hidden="1"/>
          <p:cNvSpPr>
            <a:spLocks noChangeAspect="1"/>
          </p:cNvSpPr>
          <p:nvPr>
            <p:custDataLst>
              <p:tags r:id="rId12"/>
            </p:custDataLst>
          </p:nvPr>
        </p:nvSpPr>
        <p:spPr bwMode="gray">
          <a:xfrm>
            <a:off x="8179251" y="3148303"/>
            <a:ext cx="193510" cy="1865946"/>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2524"/>
              <a:gd name="connsiteY0" fmla="*/ 0 h 3096"/>
              <a:gd name="connsiteX1" fmla="*/ 2474 w 2524"/>
              <a:gd name="connsiteY1" fmla="*/ 1944 h 3096"/>
              <a:gd name="connsiteX2" fmla="*/ 2474 w 2524"/>
              <a:gd name="connsiteY2" fmla="*/ 2472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524"/>
              <a:gd name="connsiteY0" fmla="*/ 0 h 3096"/>
              <a:gd name="connsiteX1" fmla="*/ 38 w 2524"/>
              <a:gd name="connsiteY1" fmla="*/ 0 h 3096"/>
              <a:gd name="connsiteX2" fmla="*/ 2474 w 2524"/>
              <a:gd name="connsiteY2" fmla="*/ 2472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524"/>
              <a:gd name="connsiteY0" fmla="*/ 0 h 3096"/>
              <a:gd name="connsiteX1" fmla="*/ 38 w 2524"/>
              <a:gd name="connsiteY1" fmla="*/ 0 h 3096"/>
              <a:gd name="connsiteX2" fmla="*/ 38 w 2524"/>
              <a:gd name="connsiteY2" fmla="*/ 536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474"/>
              <a:gd name="connsiteY0" fmla="*/ 0 h 3096"/>
              <a:gd name="connsiteX1" fmla="*/ 38 w 2474"/>
              <a:gd name="connsiteY1" fmla="*/ 0 h 3096"/>
              <a:gd name="connsiteX2" fmla="*/ 38 w 2474"/>
              <a:gd name="connsiteY2" fmla="*/ 536 h 3096"/>
              <a:gd name="connsiteX3" fmla="*/ 57 w 2474"/>
              <a:gd name="connsiteY3" fmla="*/ 576 h 3096"/>
              <a:gd name="connsiteX4" fmla="*/ 2474 w 2474"/>
              <a:gd name="connsiteY4" fmla="*/ 2568 h 3096"/>
              <a:gd name="connsiteX5" fmla="*/ 2474 w 2474"/>
              <a:gd name="connsiteY5" fmla="*/ 3096 h 3096"/>
              <a:gd name="connsiteX6" fmla="*/ 2409 w 2474"/>
              <a:gd name="connsiteY6" fmla="*/ 3096 h 3096"/>
              <a:gd name="connsiteX0" fmla="*/ 0 w 2474"/>
              <a:gd name="connsiteY0" fmla="*/ 0 h 3096"/>
              <a:gd name="connsiteX1" fmla="*/ 38 w 2474"/>
              <a:gd name="connsiteY1" fmla="*/ 0 h 3096"/>
              <a:gd name="connsiteX2" fmla="*/ 38 w 2474"/>
              <a:gd name="connsiteY2" fmla="*/ 536 h 3096"/>
              <a:gd name="connsiteX3" fmla="*/ 57 w 2474"/>
              <a:gd name="connsiteY3" fmla="*/ 576 h 3096"/>
              <a:gd name="connsiteX4" fmla="*/ 38 w 2474"/>
              <a:gd name="connsiteY4" fmla="*/ 616 h 3096"/>
              <a:gd name="connsiteX5" fmla="*/ 2474 w 2474"/>
              <a:gd name="connsiteY5" fmla="*/ 3096 h 3096"/>
              <a:gd name="connsiteX6" fmla="*/ 2409 w 2474"/>
              <a:gd name="connsiteY6" fmla="*/ 3096 h 3096"/>
              <a:gd name="connsiteX0" fmla="*/ 0 w 2409"/>
              <a:gd name="connsiteY0" fmla="*/ 0 h 3096"/>
              <a:gd name="connsiteX1" fmla="*/ 38 w 2409"/>
              <a:gd name="connsiteY1" fmla="*/ 0 h 3096"/>
              <a:gd name="connsiteX2" fmla="*/ 38 w 2409"/>
              <a:gd name="connsiteY2" fmla="*/ 536 h 3096"/>
              <a:gd name="connsiteX3" fmla="*/ 57 w 2409"/>
              <a:gd name="connsiteY3" fmla="*/ 576 h 3096"/>
              <a:gd name="connsiteX4" fmla="*/ 38 w 2409"/>
              <a:gd name="connsiteY4" fmla="*/ 616 h 3096"/>
              <a:gd name="connsiteX5" fmla="*/ 38 w 2409"/>
              <a:gd name="connsiteY5" fmla="*/ 1152 h 3096"/>
              <a:gd name="connsiteX6" fmla="*/ 2409 w 2409"/>
              <a:gd name="connsiteY6" fmla="*/ 3096 h 3096"/>
              <a:gd name="connsiteX0" fmla="*/ 0 w 57"/>
              <a:gd name="connsiteY0" fmla="*/ 0 h 1152"/>
              <a:gd name="connsiteX1" fmla="*/ 38 w 57"/>
              <a:gd name="connsiteY1" fmla="*/ 0 h 1152"/>
              <a:gd name="connsiteX2" fmla="*/ 38 w 57"/>
              <a:gd name="connsiteY2" fmla="*/ 536 h 1152"/>
              <a:gd name="connsiteX3" fmla="*/ 57 w 57"/>
              <a:gd name="connsiteY3" fmla="*/ 576 h 1152"/>
              <a:gd name="connsiteX4" fmla="*/ 38 w 57"/>
              <a:gd name="connsiteY4" fmla="*/ 616 h 1152"/>
              <a:gd name="connsiteX5" fmla="*/ 38 w 57"/>
              <a:gd name="connsiteY5" fmla="*/ 1152 h 1152"/>
              <a:gd name="connsiteX6" fmla="*/ 0 w 57"/>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 h="1152">
                <a:moveTo>
                  <a:pt x="0" y="0"/>
                </a:moveTo>
                <a:lnTo>
                  <a:pt x="38" y="0"/>
                </a:lnTo>
                <a:lnTo>
                  <a:pt x="38" y="536"/>
                </a:lnTo>
                <a:lnTo>
                  <a:pt x="57" y="576"/>
                </a:lnTo>
                <a:lnTo>
                  <a:pt x="38" y="616"/>
                </a:lnTo>
                <a:lnTo>
                  <a:pt x="38"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632" dirty="0">
              <a:latin typeface="+mn-lt"/>
            </a:endParaRPr>
          </a:p>
        </p:txBody>
      </p:sp>
      <p:grpSp>
        <p:nvGrpSpPr>
          <p:cNvPr id="99" name="Flow" hidden="1"/>
          <p:cNvGrpSpPr/>
          <p:nvPr>
            <p:custDataLst>
              <p:tags r:id="rId13"/>
            </p:custDataLst>
          </p:nvPr>
        </p:nvGrpSpPr>
        <p:grpSpPr bwMode="gray">
          <a:xfrm>
            <a:off x="3492958" y="3148303"/>
            <a:ext cx="1865974" cy="932973"/>
            <a:chOff x="5905500" y="3124200"/>
            <a:chExt cx="1828800" cy="914400"/>
          </a:xfrm>
        </p:grpSpPr>
        <p:sp>
          <p:nvSpPr>
            <p:cNvPr id="100" name="Freeform 99"/>
            <p:cNvSpPr/>
            <p:nvPr>
              <p:custDataLst>
                <p:tags r:id="rId37"/>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1" name="TextBox 100"/>
            <p:cNvSpPr txBox="1"/>
            <p:nvPr>
              <p:custDataLst>
                <p:tags r:id="rId38"/>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grpSp>
      <p:grpSp>
        <p:nvGrpSpPr>
          <p:cNvPr id="102" name="SplitFlow" hidden="1"/>
          <p:cNvGrpSpPr/>
          <p:nvPr>
            <p:custDataLst>
              <p:tags r:id="rId14"/>
            </p:custDataLst>
          </p:nvPr>
        </p:nvGrpSpPr>
        <p:grpSpPr bwMode="gray">
          <a:xfrm>
            <a:off x="5538529" y="3148303"/>
            <a:ext cx="1865974" cy="932973"/>
            <a:chOff x="114300" y="1270000"/>
            <a:chExt cx="1828800" cy="914400"/>
          </a:xfrm>
        </p:grpSpPr>
        <p:sp>
          <p:nvSpPr>
            <p:cNvPr id="103" name="Freeform 102"/>
            <p:cNvSpPr/>
            <p:nvPr>
              <p:custDataLst>
                <p:tags r:id="rId33"/>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4" name="TextBox 103"/>
            <p:cNvSpPr txBox="1"/>
            <p:nvPr>
              <p:custDataLst>
                <p:tags r:id="rId34"/>
              </p:custDataLst>
            </p:nvPr>
          </p:nvSpPr>
          <p:spPr bwMode="gray">
            <a:xfrm>
              <a:off x="177800" y="13271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sp>
          <p:nvSpPr>
            <p:cNvPr id="105" name="Freeform 104"/>
            <p:cNvSpPr/>
            <p:nvPr>
              <p:custDataLst>
                <p:tags r:id="rId35"/>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6" name="TextBox 105"/>
            <p:cNvSpPr txBox="1"/>
            <p:nvPr>
              <p:custDataLst>
                <p:tags r:id="rId36"/>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grpSp>
      <p:grpSp>
        <p:nvGrpSpPr>
          <p:cNvPr id="107" name="LegendBoxes" hidden="1"/>
          <p:cNvGrpSpPr>
            <a:grpSpLocks/>
          </p:cNvGrpSpPr>
          <p:nvPr/>
        </p:nvGrpSpPr>
        <p:grpSpPr bwMode="gray">
          <a:xfrm>
            <a:off x="11134285" y="721486"/>
            <a:ext cx="835802" cy="1022061"/>
            <a:chOff x="4936" y="176"/>
            <a:chExt cx="516" cy="631"/>
          </a:xfrm>
        </p:grpSpPr>
        <p:sp>
          <p:nvSpPr>
            <p:cNvPr id="108" name="Legend1"/>
            <p:cNvSpPr>
              <a:spLocks noChangeArrowheads="1"/>
            </p:cNvSpPr>
            <p:nvPr/>
          </p:nvSpPr>
          <p:spPr bwMode="gray">
            <a:xfrm>
              <a:off x="5096" y="176"/>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09" name="LegendRectangle1"/>
            <p:cNvSpPr>
              <a:spLocks noChangeArrowheads="1"/>
            </p:cNvSpPr>
            <p:nvPr/>
          </p:nvSpPr>
          <p:spPr bwMode="gray">
            <a:xfrm>
              <a:off x="4936" y="182"/>
              <a:ext cx="104" cy="104"/>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0" name="Legend2"/>
            <p:cNvSpPr>
              <a:spLocks noChangeArrowheads="1"/>
            </p:cNvSpPr>
            <p:nvPr/>
          </p:nvSpPr>
          <p:spPr bwMode="gray">
            <a:xfrm>
              <a:off x="5096" y="347"/>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1" name="LegendRectangle2"/>
            <p:cNvSpPr>
              <a:spLocks noChangeArrowheads="1"/>
            </p:cNvSpPr>
            <p:nvPr/>
          </p:nvSpPr>
          <p:spPr bwMode="gray">
            <a:xfrm>
              <a:off x="4936" y="353"/>
              <a:ext cx="104" cy="104"/>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2" name="Legend3"/>
            <p:cNvSpPr>
              <a:spLocks noChangeArrowheads="1"/>
            </p:cNvSpPr>
            <p:nvPr/>
          </p:nvSpPr>
          <p:spPr bwMode="gray">
            <a:xfrm>
              <a:off x="5096" y="517"/>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3" name="LegendRectangle3"/>
            <p:cNvSpPr>
              <a:spLocks noChangeArrowheads="1"/>
            </p:cNvSpPr>
            <p:nvPr/>
          </p:nvSpPr>
          <p:spPr bwMode="gray">
            <a:xfrm>
              <a:off x="4936" y="523"/>
              <a:ext cx="104" cy="104"/>
            </a:xfrm>
            <a:prstGeom prst="rect">
              <a:avLst/>
            </a:prstGeom>
            <a:solidFill>
              <a:schemeClr val="accent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4" name="Legend4"/>
            <p:cNvSpPr>
              <a:spLocks noChangeArrowheads="1"/>
            </p:cNvSpPr>
            <p:nvPr/>
          </p:nvSpPr>
          <p:spPr bwMode="gray">
            <a:xfrm>
              <a:off x="5096" y="688"/>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5" name="LegendRectangle4"/>
            <p:cNvSpPr>
              <a:spLocks noChangeArrowheads="1"/>
            </p:cNvSpPr>
            <p:nvPr/>
          </p:nvSpPr>
          <p:spPr bwMode="gray">
            <a:xfrm>
              <a:off x="4936" y="694"/>
              <a:ext cx="104" cy="104"/>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16" name="LegendLines" hidden="1"/>
          <p:cNvGrpSpPr>
            <a:grpSpLocks/>
          </p:cNvGrpSpPr>
          <p:nvPr/>
        </p:nvGrpSpPr>
        <p:grpSpPr bwMode="gray">
          <a:xfrm>
            <a:off x="10820047" y="721486"/>
            <a:ext cx="1150037" cy="749943"/>
            <a:chOff x="4750" y="176"/>
            <a:chExt cx="710" cy="463"/>
          </a:xfrm>
        </p:grpSpPr>
        <p:sp>
          <p:nvSpPr>
            <p:cNvPr id="117" name="LineLegend1"/>
            <p:cNvSpPr>
              <a:spLocks noChangeShapeType="1"/>
            </p:cNvSpPr>
            <p:nvPr/>
          </p:nvSpPr>
          <p:spPr bwMode="gray">
            <a:xfrm>
              <a:off x="4750" y="234"/>
              <a:ext cx="288" cy="0"/>
            </a:xfrm>
            <a:prstGeom prst="line">
              <a:avLst/>
            </a:prstGeom>
            <a:noFill/>
            <a:ln w="2857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18" name="LineLegend2"/>
            <p:cNvSpPr>
              <a:spLocks noChangeShapeType="1"/>
            </p:cNvSpPr>
            <p:nvPr/>
          </p:nvSpPr>
          <p:spPr bwMode="gray">
            <a:xfrm>
              <a:off x="4750" y="406"/>
              <a:ext cx="288" cy="0"/>
            </a:xfrm>
            <a:prstGeom prst="line">
              <a:avLst/>
            </a:prstGeom>
            <a:noFill/>
            <a:ln w="28575">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19" name="LineLegend3"/>
            <p:cNvSpPr>
              <a:spLocks noChangeShapeType="1"/>
            </p:cNvSpPr>
            <p:nvPr/>
          </p:nvSpPr>
          <p:spPr bwMode="gray">
            <a:xfrm>
              <a:off x="4750" y="578"/>
              <a:ext cx="288" cy="0"/>
            </a:xfrm>
            <a:prstGeom prst="line">
              <a:avLst/>
            </a:prstGeom>
            <a:noFill/>
            <a:ln w="28575">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20" name="Legend1"/>
            <p:cNvSpPr>
              <a:spLocks noChangeArrowheads="1"/>
            </p:cNvSpPr>
            <p:nvPr/>
          </p:nvSpPr>
          <p:spPr bwMode="gray">
            <a:xfrm>
              <a:off x="5104" y="176"/>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21" name="Legend2"/>
            <p:cNvSpPr>
              <a:spLocks noChangeArrowheads="1"/>
            </p:cNvSpPr>
            <p:nvPr/>
          </p:nvSpPr>
          <p:spPr bwMode="gray">
            <a:xfrm>
              <a:off x="5104" y="348"/>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22" name="Legend3"/>
            <p:cNvSpPr>
              <a:spLocks noChangeArrowheads="1"/>
            </p:cNvSpPr>
            <p:nvPr/>
          </p:nvSpPr>
          <p:spPr bwMode="gray">
            <a:xfrm>
              <a:off x="5104" y="520"/>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grpSp>
      <p:grpSp>
        <p:nvGrpSpPr>
          <p:cNvPr id="123" name="Sticker" hidden="1"/>
          <p:cNvGrpSpPr/>
          <p:nvPr/>
        </p:nvGrpSpPr>
        <p:grpSpPr bwMode="gray">
          <a:xfrm>
            <a:off x="11368295" y="719589"/>
            <a:ext cx="590448" cy="250146"/>
            <a:chOff x="8162090" y="283891"/>
            <a:chExt cx="578685" cy="245166"/>
          </a:xfrm>
        </p:grpSpPr>
        <p:sp>
          <p:nvSpPr>
            <p:cNvPr id="124" name="StickerRectangle"/>
            <p:cNvSpPr>
              <a:spLocks noChangeArrowheads="1"/>
            </p:cNvSpPr>
            <p:nvPr/>
          </p:nvSpPr>
          <p:spPr bwMode="gray">
            <a:xfrm>
              <a:off x="8162090" y="283891"/>
              <a:ext cx="578685" cy="2451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913526">
                <a:buClr>
                  <a:schemeClr val="tx2"/>
                </a:buClr>
              </a:pPr>
              <a:r>
                <a:rPr lang="nl-NL" sz="1224" noProof="0" dirty="0">
                  <a:solidFill>
                    <a:schemeClr val="tx1"/>
                  </a:solidFill>
                  <a:latin typeface="+mn-lt"/>
                </a:rPr>
                <a:t>STICKER</a:t>
              </a:r>
            </a:p>
          </p:txBody>
        </p:sp>
        <p:cxnSp>
          <p:nvCxnSpPr>
            <p:cNvPr id="125" name="AutoShape 32"/>
            <p:cNvCxnSpPr>
              <a:cxnSpLocks noChangeShapeType="1"/>
              <a:stCxn id="124" idx="4"/>
              <a:endCxn id="124" idx="6"/>
            </p:cNvCxnSpPr>
            <p:nvPr/>
          </p:nvCxnSpPr>
          <p:spPr bwMode="gray">
            <a:xfrm>
              <a:off x="8162090" y="529057"/>
              <a:ext cx="57868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2"/>
              <a:endCxn id="124" idx="0"/>
            </p:cNvCxnSpPr>
            <p:nvPr userDrawn="1"/>
          </p:nvCxnSpPr>
          <p:spPr bwMode="gray">
            <a:xfrm>
              <a:off x="8162090" y="283891"/>
              <a:ext cx="57868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8" name="LegendMoons" hidden="1">
            <a:extLst>
              <a:ext uri="{FF2B5EF4-FFF2-40B4-BE49-F238E27FC236}">
                <a16:creationId xmlns:a16="http://schemas.microsoft.com/office/drawing/2014/main" id="{9D74EF3F-2EAF-4D4B-8FF9-DE4300E7A04F}"/>
              </a:ext>
            </a:extLst>
          </p:cNvPr>
          <p:cNvGrpSpPr/>
          <p:nvPr userDrawn="1"/>
        </p:nvGrpSpPr>
        <p:grpSpPr bwMode="gray">
          <a:xfrm>
            <a:off x="11065636" y="721486"/>
            <a:ext cx="904556" cy="1333317"/>
            <a:chOff x="9205424" y="664256"/>
            <a:chExt cx="886536" cy="1306774"/>
          </a:xfrm>
        </p:grpSpPr>
        <p:grpSp>
          <p:nvGrpSpPr>
            <p:cNvPr id="128" name="MoonLegend1"/>
            <p:cNvGrpSpPr>
              <a:grpSpLocks noChangeAspect="1"/>
            </p:cNvGrpSpPr>
            <p:nvPr>
              <p:custDataLst>
                <p:tags r:id="rId18"/>
              </p:custDataLst>
            </p:nvPr>
          </p:nvGrpSpPr>
          <p:grpSpPr bwMode="gray">
            <a:xfrm>
              <a:off x="9205424" y="664256"/>
              <a:ext cx="209550" cy="209551"/>
              <a:chOff x="4533" y="183"/>
              <a:chExt cx="144" cy="144"/>
            </a:xfrm>
          </p:grpSpPr>
          <p:sp>
            <p:nvSpPr>
              <p:cNvPr id="146" name="Oval 38"/>
              <p:cNvSpPr>
                <a:spLocks noChangeAspect="1" noChangeArrowheads="1"/>
              </p:cNvSpPr>
              <p:nvPr>
                <p:custDataLst>
                  <p:tags r:id="rId31"/>
                </p:custDataLst>
              </p:nvPr>
            </p:nvSpPr>
            <p:spPr bwMode="gray">
              <a:xfrm>
                <a:off x="4533" y="183"/>
                <a:ext cx="144" cy="144"/>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7" name="Arc 39"/>
              <p:cNvSpPr>
                <a:spLocks noChangeAspect="1"/>
              </p:cNvSpPr>
              <p:nvPr>
                <p:custDataLst>
                  <p:tags r:id="rId32"/>
                </p:custDataLst>
              </p:nvPr>
            </p:nvSpPr>
            <p:spPr bwMode="gray">
              <a:xfrm>
                <a:off x="4533" y="183"/>
                <a:ext cx="144" cy="144"/>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29" name="MoonLegend2"/>
            <p:cNvGrpSpPr>
              <a:grpSpLocks noChangeAspect="1"/>
            </p:cNvGrpSpPr>
            <p:nvPr>
              <p:custDataLst>
                <p:tags r:id="rId19"/>
              </p:custDataLst>
            </p:nvPr>
          </p:nvGrpSpPr>
          <p:grpSpPr bwMode="gray">
            <a:xfrm>
              <a:off x="9205424" y="938562"/>
              <a:ext cx="209550" cy="209551"/>
              <a:chOff x="1694" y="2044"/>
              <a:chExt cx="160" cy="160"/>
            </a:xfrm>
          </p:grpSpPr>
          <p:sp>
            <p:nvSpPr>
              <p:cNvPr id="144" name="Oval 41"/>
              <p:cNvSpPr>
                <a:spLocks noChangeAspect="1" noChangeArrowheads="1"/>
              </p:cNvSpPr>
              <p:nvPr>
                <p:custDataLst>
                  <p:tags r:id="rId29"/>
                </p:custDataLst>
              </p:nvPr>
            </p:nvSpPr>
            <p:spPr bwMode="gray">
              <a:xfrm>
                <a:off x="1694" y="2044"/>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5" name="Arc 42"/>
              <p:cNvSpPr>
                <a:spLocks noChangeAspect="1"/>
              </p:cNvSpPr>
              <p:nvPr>
                <p:custDataLst>
                  <p:tags r:id="rId30"/>
                </p:custDataLst>
              </p:nvPr>
            </p:nvSpPr>
            <p:spPr bwMode="gray">
              <a:xfrm>
                <a:off x="1694" y="2044"/>
                <a:ext cx="160" cy="160"/>
              </a:xfrm>
              <a:prstGeom prst="arc">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30" name="MoonLegend4"/>
            <p:cNvGrpSpPr>
              <a:grpSpLocks noChangeAspect="1"/>
            </p:cNvGrpSpPr>
            <p:nvPr>
              <p:custDataLst>
                <p:tags r:id="rId20"/>
              </p:custDataLst>
            </p:nvPr>
          </p:nvGrpSpPr>
          <p:grpSpPr bwMode="gray">
            <a:xfrm>
              <a:off x="9205424" y="1487174"/>
              <a:ext cx="209550" cy="209551"/>
              <a:chOff x="4495" y="1198"/>
              <a:chExt cx="160" cy="160"/>
            </a:xfrm>
          </p:grpSpPr>
          <p:sp>
            <p:nvSpPr>
              <p:cNvPr id="142" name="Oval 47"/>
              <p:cNvSpPr>
                <a:spLocks noChangeAspect="1" noChangeArrowheads="1"/>
              </p:cNvSpPr>
              <p:nvPr>
                <p:custDataLst>
                  <p:tags r:id="rId27"/>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3" name="Arc 48"/>
              <p:cNvSpPr>
                <a:spLocks noChangeAspect="1"/>
              </p:cNvSpPr>
              <p:nvPr>
                <p:custDataLst>
                  <p:tags r:id="rId28"/>
                </p:custDataLst>
              </p:nvPr>
            </p:nvSpPr>
            <p:spPr bwMode="gray">
              <a:xfrm>
                <a:off x="4495" y="1198"/>
                <a:ext cx="160" cy="160"/>
              </a:xfrm>
              <a:prstGeom prst="arc">
                <a:avLst>
                  <a:gd name="adj1" fmla="val 16200000"/>
                  <a:gd name="adj2" fmla="val 108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31" name="MoonLegend5"/>
            <p:cNvGrpSpPr>
              <a:grpSpLocks noChangeAspect="1"/>
            </p:cNvGrpSpPr>
            <p:nvPr>
              <p:custDataLst>
                <p:tags r:id="rId21"/>
              </p:custDataLst>
            </p:nvPr>
          </p:nvGrpSpPr>
          <p:grpSpPr bwMode="gray">
            <a:xfrm>
              <a:off x="9205424" y="1761479"/>
              <a:ext cx="209550" cy="209551"/>
              <a:chOff x="4495" y="1440"/>
              <a:chExt cx="160" cy="160"/>
            </a:xfrm>
          </p:grpSpPr>
          <p:sp>
            <p:nvSpPr>
              <p:cNvPr id="140" name="Oval 50"/>
              <p:cNvSpPr>
                <a:spLocks noChangeAspect="1" noChangeArrowheads="1"/>
              </p:cNvSpPr>
              <p:nvPr>
                <p:custDataLst>
                  <p:tags r:id="rId25"/>
                </p:custDataLst>
              </p:nvPr>
            </p:nvSpPr>
            <p:spPr bwMode="gray">
              <a:xfrm>
                <a:off x="4495" y="1440"/>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1" name="Oval 51"/>
              <p:cNvSpPr>
                <a:spLocks noChangeAspect="1" noChangeArrowheads="1"/>
              </p:cNvSpPr>
              <p:nvPr>
                <p:custDataLst>
                  <p:tags r:id="rId26"/>
                </p:custDataLst>
              </p:nvPr>
            </p:nvSpPr>
            <p:spPr bwMode="gray">
              <a:xfrm>
                <a:off x="4495" y="1440"/>
                <a:ext cx="160" cy="160"/>
              </a:xfrm>
              <a:prstGeom prst="arc">
                <a:avLst>
                  <a:gd name="adj1" fmla="val 16200000"/>
                  <a:gd name="adj2" fmla="val 162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sp>
          <p:nvSpPr>
            <p:cNvPr id="132" name="Legend1"/>
            <p:cNvSpPr>
              <a:spLocks noChangeArrowheads="1"/>
            </p:cNvSpPr>
            <p:nvPr/>
          </p:nvSpPr>
          <p:spPr bwMode="gray">
            <a:xfrm>
              <a:off x="9526099" y="676699"/>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3" name="Legend2"/>
            <p:cNvSpPr>
              <a:spLocks noChangeArrowheads="1"/>
            </p:cNvSpPr>
            <p:nvPr/>
          </p:nvSpPr>
          <p:spPr bwMode="gray">
            <a:xfrm>
              <a:off x="9526099" y="951005"/>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4" name="Legend3"/>
            <p:cNvSpPr>
              <a:spLocks noChangeArrowheads="1"/>
            </p:cNvSpPr>
            <p:nvPr/>
          </p:nvSpPr>
          <p:spPr bwMode="gray">
            <a:xfrm>
              <a:off x="9526099" y="1225311"/>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5" name="Legend4"/>
            <p:cNvSpPr>
              <a:spLocks noChangeArrowheads="1"/>
            </p:cNvSpPr>
            <p:nvPr/>
          </p:nvSpPr>
          <p:spPr bwMode="gray">
            <a:xfrm>
              <a:off x="9526099" y="1499617"/>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6" name="Legend5"/>
            <p:cNvSpPr>
              <a:spLocks noChangeArrowheads="1"/>
            </p:cNvSpPr>
            <p:nvPr/>
          </p:nvSpPr>
          <p:spPr bwMode="gray">
            <a:xfrm>
              <a:off x="9526099" y="1773922"/>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grpSp>
          <p:nvGrpSpPr>
            <p:cNvPr id="137" name="MoonLegend3"/>
            <p:cNvGrpSpPr>
              <a:grpSpLocks noChangeAspect="1"/>
            </p:cNvGrpSpPr>
            <p:nvPr>
              <p:custDataLst>
                <p:tags r:id="rId22"/>
              </p:custDataLst>
            </p:nvPr>
          </p:nvGrpSpPr>
          <p:grpSpPr bwMode="gray">
            <a:xfrm>
              <a:off x="9205424" y="1212868"/>
              <a:ext cx="209550" cy="209551"/>
              <a:chOff x="4495" y="1198"/>
              <a:chExt cx="160" cy="160"/>
            </a:xfrm>
          </p:grpSpPr>
          <p:sp>
            <p:nvSpPr>
              <p:cNvPr id="138" name="Oval 47"/>
              <p:cNvSpPr>
                <a:spLocks noChangeAspect="1" noChangeArrowheads="1"/>
              </p:cNvSpPr>
              <p:nvPr>
                <p:custDataLst>
                  <p:tags r:id="rId23"/>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39" name="Arc 48"/>
              <p:cNvSpPr>
                <a:spLocks noChangeAspect="1"/>
              </p:cNvSpPr>
              <p:nvPr>
                <p:custDataLst>
                  <p:tags r:id="rId24"/>
                </p:custDataLst>
              </p:nvPr>
            </p:nvSpPr>
            <p:spPr bwMode="gray">
              <a:xfrm>
                <a:off x="4495" y="1198"/>
                <a:ext cx="160" cy="160"/>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grpSp>
        <p:nvGrpSpPr>
          <p:cNvPr id="148" name="Moon" hidden="1"/>
          <p:cNvGrpSpPr/>
          <p:nvPr>
            <p:custDataLst>
              <p:tags r:id="rId15"/>
            </p:custDataLst>
          </p:nvPr>
        </p:nvGrpSpPr>
        <p:grpSpPr bwMode="gray">
          <a:xfrm>
            <a:off x="11699579" y="2698440"/>
            <a:ext cx="259163" cy="259159"/>
            <a:chOff x="762000" y="1270000"/>
            <a:chExt cx="254000" cy="254000"/>
          </a:xfrm>
        </p:grpSpPr>
        <p:sp>
          <p:nvSpPr>
            <p:cNvPr id="149" name="Oval 148"/>
            <p:cNvSpPr/>
            <p:nvPr/>
          </p:nvSpPr>
          <p:spPr bwMode="gray">
            <a:xfrm>
              <a:off x="762000" y="1270000"/>
              <a:ext cx="254000" cy="254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37" dirty="0">
                <a:solidFill>
                  <a:schemeClr val="tx1"/>
                </a:solidFill>
              </a:endParaRPr>
            </a:p>
          </p:txBody>
        </p:sp>
        <p:sp>
          <p:nvSpPr>
            <p:cNvPr id="150" name="Arc 149"/>
            <p:cNvSpPr/>
            <p:nvPr/>
          </p:nvSpPr>
          <p:spPr bwMode="gray">
            <a:xfrm>
              <a:off x="762000" y="1270000"/>
              <a:ext cx="254000" cy="254000"/>
            </a:xfrm>
            <a:prstGeom prst="arc">
              <a:avLst/>
            </a:prstGeom>
            <a:solidFill>
              <a:schemeClr val="accent4"/>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837" dirty="0"/>
            </a:p>
          </p:txBody>
        </p:sp>
      </p:grpSp>
      <p:sp>
        <p:nvSpPr>
          <p:cNvPr id="72" name="SingleChevron" hidden="1">
            <a:extLst>
              <a:ext uri="{FF2B5EF4-FFF2-40B4-BE49-F238E27FC236}">
                <a16:creationId xmlns:a16="http://schemas.microsoft.com/office/drawing/2014/main" id="{F76CFF7D-6557-4985-9AC8-0BA5374E926A}"/>
              </a:ext>
            </a:extLst>
          </p:cNvPr>
          <p:cNvSpPr>
            <a:spLocks noChangeAspect="1"/>
          </p:cNvSpPr>
          <p:nvPr/>
        </p:nvSpPr>
        <p:spPr bwMode="gray">
          <a:xfrm>
            <a:off x="5558038" y="4431545"/>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nvGrpSpPr>
          <p:cNvPr id="73" name="DoubleChevron2" hidden="1">
            <a:extLst>
              <a:ext uri="{FF2B5EF4-FFF2-40B4-BE49-F238E27FC236}">
                <a16:creationId xmlns:a16="http://schemas.microsoft.com/office/drawing/2014/main" id="{03430B6D-F4A8-4F59-B66C-8C207F43DAF7}"/>
              </a:ext>
            </a:extLst>
          </p:cNvPr>
          <p:cNvGrpSpPr>
            <a:grpSpLocks noChangeAspect="1"/>
          </p:cNvGrpSpPr>
          <p:nvPr/>
        </p:nvGrpSpPr>
        <p:grpSpPr bwMode="gray">
          <a:xfrm>
            <a:off x="6852326" y="4431545"/>
            <a:ext cx="1268194" cy="1554955"/>
            <a:chOff x="1270000" y="1270000"/>
            <a:chExt cx="2951957" cy="3619500"/>
          </a:xfrm>
          <a:solidFill>
            <a:schemeClr val="accent1"/>
          </a:solidFill>
        </p:grpSpPr>
        <p:sp>
          <p:nvSpPr>
            <p:cNvPr id="78" name="Chevron1">
              <a:extLst>
                <a:ext uri="{FF2B5EF4-FFF2-40B4-BE49-F238E27FC236}">
                  <a16:creationId xmlns:a16="http://schemas.microsoft.com/office/drawing/2014/main" id="{BEF86B13-F0F9-44E8-BC82-D3B1F01A2E04}"/>
                </a:ext>
              </a:extLst>
            </p:cNvPr>
            <p:cNvSpPr>
              <a:spLocks noChangeAspect="1"/>
            </p:cNvSpPr>
            <p:nvPr userDrawn="1"/>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sp>
          <p:nvSpPr>
            <p:cNvPr id="79" name="Chevron2">
              <a:extLst>
                <a:ext uri="{FF2B5EF4-FFF2-40B4-BE49-F238E27FC236}">
                  <a16:creationId xmlns:a16="http://schemas.microsoft.com/office/drawing/2014/main" id="{8DE836DF-98B4-4DEB-AD7B-399DB9FCD487}"/>
                </a:ext>
              </a:extLst>
            </p:cNvPr>
            <p:cNvSpPr>
              <a:spLocks noChangeAspect="1"/>
            </p:cNvSpPr>
            <p:nvPr userDrawn="1"/>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grpSp>
        <p:nvGrpSpPr>
          <p:cNvPr id="74" name="DoubleChevron" hidden="1">
            <a:extLst>
              <a:ext uri="{FF2B5EF4-FFF2-40B4-BE49-F238E27FC236}">
                <a16:creationId xmlns:a16="http://schemas.microsoft.com/office/drawing/2014/main" id="{DD1F7A8A-45A7-4E8C-8541-B4A77C4549C2}"/>
              </a:ext>
            </a:extLst>
          </p:cNvPr>
          <p:cNvGrpSpPr>
            <a:grpSpLocks noChangeAspect="1"/>
          </p:cNvGrpSpPr>
          <p:nvPr/>
        </p:nvGrpSpPr>
        <p:grpSpPr bwMode="gray">
          <a:xfrm>
            <a:off x="6027861" y="4431545"/>
            <a:ext cx="1034947" cy="1554955"/>
            <a:chOff x="1270000" y="1270000"/>
            <a:chExt cx="2409032" cy="3619500"/>
          </a:xfrm>
          <a:solidFill>
            <a:schemeClr val="accent1"/>
          </a:solidFill>
        </p:grpSpPr>
        <p:sp>
          <p:nvSpPr>
            <p:cNvPr id="75" name="Chevron1">
              <a:extLst>
                <a:ext uri="{FF2B5EF4-FFF2-40B4-BE49-F238E27FC236}">
                  <a16:creationId xmlns:a16="http://schemas.microsoft.com/office/drawing/2014/main" id="{FE91783C-386A-49DF-98E2-044BFF2D9715}"/>
                </a:ext>
              </a:extLst>
            </p:cNvPr>
            <p:cNvSpPr>
              <a:spLocks noChangeAspect="1"/>
            </p:cNvSpPr>
            <p:nvPr userDrawn="1"/>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sp>
          <p:nvSpPr>
            <p:cNvPr id="76" name="Chevron2">
              <a:extLst>
                <a:ext uri="{FF2B5EF4-FFF2-40B4-BE49-F238E27FC236}">
                  <a16:creationId xmlns:a16="http://schemas.microsoft.com/office/drawing/2014/main" id="{23EED61E-5E5B-4DC3-AA5C-EF1657A66CE6}"/>
                </a:ext>
              </a:extLst>
            </p:cNvPr>
            <p:cNvSpPr>
              <a:spLocks noChangeAspect="1"/>
            </p:cNvSpPr>
            <p:nvPr userDrawn="1"/>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sp>
        <p:nvSpPr>
          <p:cNvPr id="80" name="TitleTrackerAlpha" hidden="1">
            <a:extLst>
              <a:ext uri="{FF2B5EF4-FFF2-40B4-BE49-F238E27FC236}">
                <a16:creationId xmlns:a16="http://schemas.microsoft.com/office/drawing/2014/main" id="{DBBF5B7D-AEA7-4B32-86DF-D97974B2332B}"/>
              </a:ext>
            </a:extLst>
          </p:cNvPr>
          <p:cNvSpPr/>
          <p:nvPr>
            <p:custDataLst>
              <p:tags r:id="rId16"/>
            </p:custDataLst>
          </p:nvPr>
        </p:nvSpPr>
        <p:spPr bwMode="gray">
          <a:xfrm>
            <a:off x="839040" y="225253"/>
            <a:ext cx="492410" cy="492402"/>
          </a:xfrm>
          <a:prstGeom prst="ellipse">
            <a:avLst/>
          </a:prstGeom>
          <a:solidFill>
            <a:schemeClr val="bg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nl-NL" sz="2449" b="1" dirty="0">
                <a:solidFill>
                  <a:schemeClr val="tx2"/>
                </a:solidFill>
                <a:latin typeface="+mj-lt"/>
              </a:rPr>
              <a:t>A</a:t>
            </a:r>
          </a:p>
        </p:txBody>
      </p:sp>
      <p:sp>
        <p:nvSpPr>
          <p:cNvPr id="81" name="TitleTrackerNum" hidden="1">
            <a:extLst>
              <a:ext uri="{FF2B5EF4-FFF2-40B4-BE49-F238E27FC236}">
                <a16:creationId xmlns:a16="http://schemas.microsoft.com/office/drawing/2014/main" id="{794CED1F-6725-4459-8907-48C740430B0C}"/>
              </a:ext>
            </a:extLst>
          </p:cNvPr>
          <p:cNvSpPr/>
          <p:nvPr>
            <p:custDataLst>
              <p:tags r:id="rId17"/>
            </p:custDataLst>
          </p:nvPr>
        </p:nvSpPr>
        <p:spPr bwMode="gray">
          <a:xfrm>
            <a:off x="839040" y="225253"/>
            <a:ext cx="492410" cy="492402"/>
          </a:xfrm>
          <a:prstGeom prst="ellipse">
            <a:avLst/>
          </a:prstGeom>
          <a:solidFill>
            <a:schemeClr val="bg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nl-NL" sz="2449" b="1" dirty="0">
                <a:solidFill>
                  <a:schemeClr val="tx2"/>
                </a:solidFill>
                <a:latin typeface="+mj-lt"/>
              </a:rPr>
              <a:t>1</a:t>
            </a:r>
          </a:p>
        </p:txBody>
      </p:sp>
      <p:grpSp>
        <p:nvGrpSpPr>
          <p:cNvPr id="155" name="Group 154">
            <a:extLst>
              <a:ext uri="{FF2B5EF4-FFF2-40B4-BE49-F238E27FC236}">
                <a16:creationId xmlns:a16="http://schemas.microsoft.com/office/drawing/2014/main" id="{D5277C95-E1E2-4256-90CF-0E3D9E82775F}"/>
              </a:ext>
            </a:extLst>
          </p:cNvPr>
          <p:cNvGrpSpPr/>
          <p:nvPr userDrawn="1"/>
        </p:nvGrpSpPr>
        <p:grpSpPr bwMode="ltGray">
          <a:xfrm>
            <a:off x="233258" y="106904"/>
            <a:ext cx="426000" cy="1448052"/>
            <a:chOff x="177800" y="104775"/>
            <a:chExt cx="417513" cy="1419225"/>
          </a:xfrm>
          <a:solidFill>
            <a:schemeClr val="tx2"/>
          </a:solidFill>
        </p:grpSpPr>
        <p:sp>
          <p:nvSpPr>
            <p:cNvPr id="156" name="Freeform 42">
              <a:extLst>
                <a:ext uri="{FF2B5EF4-FFF2-40B4-BE49-F238E27FC236}">
                  <a16:creationId xmlns:a16="http://schemas.microsoft.com/office/drawing/2014/main" id="{2632F7AF-F5FB-4620-AF44-CD765C50CB67}"/>
                </a:ext>
              </a:extLst>
            </p:cNvPr>
            <p:cNvSpPr>
              <a:spLocks/>
            </p:cNvSpPr>
            <p:nvPr userDrawn="1"/>
          </p:nvSpPr>
          <p:spPr bwMode="ltGray">
            <a:xfrm>
              <a:off x="177800" y="1108075"/>
              <a:ext cx="417513" cy="415925"/>
            </a:xfrm>
            <a:custGeom>
              <a:avLst/>
              <a:gdLst>
                <a:gd name="T0" fmla="*/ 0 w 263"/>
                <a:gd name="T1" fmla="*/ 209 h 262"/>
                <a:gd name="T2" fmla="*/ 80 w 263"/>
                <a:gd name="T3" fmla="*/ 131 h 262"/>
                <a:gd name="T4" fmla="*/ 0 w 263"/>
                <a:gd name="T5" fmla="*/ 52 h 262"/>
                <a:gd name="T6" fmla="*/ 53 w 263"/>
                <a:gd name="T7" fmla="*/ 0 h 262"/>
                <a:gd name="T8" fmla="*/ 132 w 263"/>
                <a:gd name="T9" fmla="*/ 78 h 262"/>
                <a:gd name="T10" fmla="*/ 210 w 263"/>
                <a:gd name="T11" fmla="*/ 0 h 262"/>
                <a:gd name="T12" fmla="*/ 263 w 263"/>
                <a:gd name="T13" fmla="*/ 52 h 262"/>
                <a:gd name="T14" fmla="*/ 185 w 263"/>
                <a:gd name="T15" fmla="*/ 131 h 262"/>
                <a:gd name="T16" fmla="*/ 263 w 263"/>
                <a:gd name="T17" fmla="*/ 209 h 262"/>
                <a:gd name="T18" fmla="*/ 210 w 263"/>
                <a:gd name="T19" fmla="*/ 262 h 262"/>
                <a:gd name="T20" fmla="*/ 132 w 263"/>
                <a:gd name="T21" fmla="*/ 183 h 262"/>
                <a:gd name="T22" fmla="*/ 53 w 263"/>
                <a:gd name="T23" fmla="*/ 262 h 262"/>
                <a:gd name="T24" fmla="*/ 0 w 263"/>
                <a:gd name="T25" fmla="*/ 20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2">
                  <a:moveTo>
                    <a:pt x="0" y="209"/>
                  </a:moveTo>
                  <a:lnTo>
                    <a:pt x="80" y="131"/>
                  </a:lnTo>
                  <a:lnTo>
                    <a:pt x="0" y="52"/>
                  </a:lnTo>
                  <a:lnTo>
                    <a:pt x="53" y="0"/>
                  </a:lnTo>
                  <a:lnTo>
                    <a:pt x="132" y="78"/>
                  </a:lnTo>
                  <a:lnTo>
                    <a:pt x="210" y="0"/>
                  </a:lnTo>
                  <a:lnTo>
                    <a:pt x="263" y="52"/>
                  </a:lnTo>
                  <a:lnTo>
                    <a:pt x="185" y="131"/>
                  </a:lnTo>
                  <a:lnTo>
                    <a:pt x="263" y="209"/>
                  </a:lnTo>
                  <a:lnTo>
                    <a:pt x="210" y="262"/>
                  </a:lnTo>
                  <a:lnTo>
                    <a:pt x="132" y="183"/>
                  </a:lnTo>
                  <a:lnTo>
                    <a:pt x="53" y="262"/>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157" name="Freeform 43">
              <a:extLst>
                <a:ext uri="{FF2B5EF4-FFF2-40B4-BE49-F238E27FC236}">
                  <a16:creationId xmlns:a16="http://schemas.microsoft.com/office/drawing/2014/main" id="{EAEBA356-DF50-406B-A0F8-71773E1B6C83}"/>
                </a:ext>
              </a:extLst>
            </p:cNvPr>
            <p:cNvSpPr>
              <a:spLocks/>
            </p:cNvSpPr>
            <p:nvPr userDrawn="1"/>
          </p:nvSpPr>
          <p:spPr bwMode="ltGray">
            <a:xfrm>
              <a:off x="177800" y="104775"/>
              <a:ext cx="417513" cy="417513"/>
            </a:xfrm>
            <a:custGeom>
              <a:avLst/>
              <a:gdLst>
                <a:gd name="T0" fmla="*/ 0 w 263"/>
                <a:gd name="T1" fmla="*/ 211 h 263"/>
                <a:gd name="T2" fmla="*/ 80 w 263"/>
                <a:gd name="T3" fmla="*/ 132 h 263"/>
                <a:gd name="T4" fmla="*/ 0 w 263"/>
                <a:gd name="T5" fmla="*/ 53 h 263"/>
                <a:gd name="T6" fmla="*/ 53 w 263"/>
                <a:gd name="T7" fmla="*/ 0 h 263"/>
                <a:gd name="T8" fmla="*/ 132 w 263"/>
                <a:gd name="T9" fmla="*/ 80 h 263"/>
                <a:gd name="T10" fmla="*/ 210 w 263"/>
                <a:gd name="T11" fmla="*/ 0 h 263"/>
                <a:gd name="T12" fmla="*/ 263 w 263"/>
                <a:gd name="T13" fmla="*/ 53 h 263"/>
                <a:gd name="T14" fmla="*/ 185 w 263"/>
                <a:gd name="T15" fmla="*/ 132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2"/>
                  </a:lnTo>
                  <a:lnTo>
                    <a:pt x="0" y="53"/>
                  </a:lnTo>
                  <a:lnTo>
                    <a:pt x="53" y="0"/>
                  </a:lnTo>
                  <a:lnTo>
                    <a:pt x="132" y="80"/>
                  </a:lnTo>
                  <a:lnTo>
                    <a:pt x="210" y="0"/>
                  </a:lnTo>
                  <a:lnTo>
                    <a:pt x="263" y="53"/>
                  </a:lnTo>
                  <a:lnTo>
                    <a:pt x="185" y="132"/>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158" name="Freeform 44">
              <a:extLst>
                <a:ext uri="{FF2B5EF4-FFF2-40B4-BE49-F238E27FC236}">
                  <a16:creationId xmlns:a16="http://schemas.microsoft.com/office/drawing/2014/main" id="{4BC8CEA6-C57E-4F7B-A57F-2A3E140774AF}"/>
                </a:ext>
              </a:extLst>
            </p:cNvPr>
            <p:cNvSpPr>
              <a:spLocks/>
            </p:cNvSpPr>
            <p:nvPr userDrawn="1"/>
          </p:nvSpPr>
          <p:spPr bwMode="ltGray">
            <a:xfrm>
              <a:off x="177800" y="606425"/>
              <a:ext cx="417513" cy="417513"/>
            </a:xfrm>
            <a:custGeom>
              <a:avLst/>
              <a:gdLst>
                <a:gd name="T0" fmla="*/ 0 w 263"/>
                <a:gd name="T1" fmla="*/ 211 h 263"/>
                <a:gd name="T2" fmla="*/ 80 w 263"/>
                <a:gd name="T3" fmla="*/ 131 h 263"/>
                <a:gd name="T4" fmla="*/ 0 w 263"/>
                <a:gd name="T5" fmla="*/ 53 h 263"/>
                <a:gd name="T6" fmla="*/ 53 w 263"/>
                <a:gd name="T7" fmla="*/ 0 h 263"/>
                <a:gd name="T8" fmla="*/ 132 w 263"/>
                <a:gd name="T9" fmla="*/ 79 h 263"/>
                <a:gd name="T10" fmla="*/ 210 w 263"/>
                <a:gd name="T11" fmla="*/ 0 h 263"/>
                <a:gd name="T12" fmla="*/ 263 w 263"/>
                <a:gd name="T13" fmla="*/ 53 h 263"/>
                <a:gd name="T14" fmla="*/ 185 w 263"/>
                <a:gd name="T15" fmla="*/ 131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1"/>
                  </a:lnTo>
                  <a:lnTo>
                    <a:pt x="0" y="53"/>
                  </a:lnTo>
                  <a:lnTo>
                    <a:pt x="53" y="0"/>
                  </a:lnTo>
                  <a:lnTo>
                    <a:pt x="132" y="79"/>
                  </a:lnTo>
                  <a:lnTo>
                    <a:pt x="210" y="0"/>
                  </a:lnTo>
                  <a:lnTo>
                    <a:pt x="263" y="53"/>
                  </a:lnTo>
                  <a:lnTo>
                    <a:pt x="185" y="131"/>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grpSp>
    </p:spTree>
    <p:extLst>
      <p:ext uri="{BB962C8B-B14F-4D97-AF65-F5344CB8AC3E}">
        <p14:creationId xmlns:p14="http://schemas.microsoft.com/office/powerpoint/2010/main" val="3523399405"/>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Lst>
  <p:hf hdr="0" dt="0"/>
  <p:txStyles>
    <p:titleStyle>
      <a:lvl1pPr algn="l" defTabSz="913526" rtl="0" eaLnBrk="1" fontAlgn="base" hangingPunct="1">
        <a:spcBef>
          <a:spcPct val="0"/>
        </a:spcBef>
        <a:spcAft>
          <a:spcPct val="0"/>
        </a:spcAft>
        <a:tabLst>
          <a:tab pos="549088" algn="l"/>
        </a:tabLst>
        <a:defRPr sz="244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83654" indent="-183654" algn="l" defTabSz="913526" rtl="0" eaLnBrk="1" fontAlgn="base" hangingPunct="1">
        <a:spcBef>
          <a:spcPct val="0"/>
        </a:spcBef>
        <a:spcAft>
          <a:spcPct val="0"/>
        </a:spcAft>
        <a:buClr>
          <a:schemeClr val="tx2"/>
        </a:buClr>
        <a:buSzPct val="125000"/>
        <a:buFont typeface="Arial" pitchFamily="34" charset="0"/>
        <a:buChar char="•"/>
        <a:defRPr sz="1632" baseline="0">
          <a:solidFill>
            <a:schemeClr val="tx1"/>
          </a:solidFill>
          <a:latin typeface="+mn-lt"/>
        </a:defRPr>
      </a:lvl2pPr>
      <a:lvl3pPr marL="367308" indent="-183654"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550962" indent="-183654" algn="l" defTabSz="913526" rtl="0" eaLnBrk="1" fontAlgn="base" hangingPunct="1">
        <a:spcBef>
          <a:spcPct val="0"/>
        </a:spcBef>
        <a:spcAft>
          <a:spcPct val="0"/>
        </a:spcAft>
        <a:buClr>
          <a:schemeClr val="tx2"/>
        </a:buClr>
        <a:buSzPct val="120000"/>
        <a:buFont typeface="Arial" pitchFamily="34" charset="0"/>
        <a:buChar char="◦"/>
        <a:defRPr sz="1632" baseline="0">
          <a:solidFill>
            <a:schemeClr val="tx1"/>
          </a:solidFill>
          <a:latin typeface="+mn-lt"/>
        </a:defRPr>
      </a:lvl4pPr>
      <a:lvl5pPr marL="734616" indent="-183654"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18274536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42" imgW="270" imgH="270" progId="TCLayout.ActiveDocument.1">
                  <p:embed/>
                </p:oleObj>
              </mc:Choice>
              <mc:Fallback>
                <p:oleObj name="think-cell Slide" r:id="rId42" imgW="270" imgH="270" progId="TCLayout.ActiveDocument.1">
                  <p:embed/>
                  <p:pic>
                    <p:nvPicPr>
                      <p:cNvPr id="2" name="Object 1" hidden="1"/>
                      <p:cNvPicPr/>
                      <p:nvPr/>
                    </p:nvPicPr>
                    <p:blipFill>
                      <a:blip r:embed="rId43"/>
                      <a:stretch>
                        <a:fillRect/>
                      </a:stretch>
                    </p:blipFill>
                    <p:spPr>
                      <a:xfrm>
                        <a:off x="0" y="0"/>
                        <a:ext cx="215979" cy="16197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13A703-F189-4854-97A2-C10D7EE5C491}"/>
              </a:ext>
            </a:extLst>
          </p:cNvPr>
          <p:cNvSpPr/>
          <p:nvPr userDrawn="1">
            <p:custDataLst>
              <p:tags r:id="rId9"/>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1036" name="Rectangle 286"/>
          <p:cNvSpPr>
            <a:spLocks noGrp="1" noChangeArrowheads="1"/>
          </p:cNvSpPr>
          <p:nvPr>
            <p:ph type="body" idx="1"/>
          </p:nvPr>
        </p:nvSpPr>
        <p:spPr bwMode="gray">
          <a:xfrm>
            <a:off x="233259" y="2698440"/>
            <a:ext cx="1172548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noProof="0" dirty="0"/>
              <a:t>Edit Master text styles</a:t>
            </a:r>
          </a:p>
          <a:p>
            <a:pPr lvl="1"/>
            <a:r>
              <a:rPr lang="nl-NL" noProof="0" dirty="0"/>
              <a:t>Second level</a:t>
            </a:r>
          </a:p>
          <a:p>
            <a:pPr lvl="2"/>
            <a:r>
              <a:rPr lang="nl-NL" noProof="0" dirty="0"/>
              <a:t>Third level</a:t>
            </a:r>
          </a:p>
          <a:p>
            <a:pPr lvl="3"/>
            <a:r>
              <a:rPr lang="nl-NL" noProof="0" dirty="0"/>
              <a:t>Fourth level</a:t>
            </a:r>
          </a:p>
          <a:p>
            <a:pPr lvl="4"/>
            <a:r>
              <a:rPr lang="nl-NL" noProof="0" dirty="0"/>
              <a:t>Fifth level</a:t>
            </a:r>
          </a:p>
        </p:txBody>
      </p:sp>
      <p:sp>
        <p:nvSpPr>
          <p:cNvPr id="19" name="Title Placeholder 2"/>
          <p:cNvSpPr>
            <a:spLocks noGrp="1" noChangeArrowheads="1"/>
          </p:cNvSpPr>
          <p:nvPr>
            <p:ph type="title"/>
          </p:nvPr>
        </p:nvSpPr>
        <p:spPr bwMode="gray">
          <a:xfrm>
            <a:off x="839041" y="283037"/>
            <a:ext cx="1111970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dirty="0"/>
              <a:t>Click to edit Master title style</a:t>
            </a:r>
          </a:p>
        </p:txBody>
      </p:sp>
      <p:sp>
        <p:nvSpPr>
          <p:cNvPr id="13" name="4. Footnote" hidden="1"/>
          <p:cNvSpPr txBox="1">
            <a:spLocks noChangeArrowheads="1"/>
          </p:cNvSpPr>
          <p:nvPr/>
        </p:nvSpPr>
        <p:spPr bwMode="gray">
          <a:xfrm>
            <a:off x="233259" y="6193144"/>
            <a:ext cx="117254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846" indent="-85846">
              <a:defRPr/>
            </a:pPr>
            <a:r>
              <a:rPr lang="nl-NL" sz="1020" baseline="0" noProof="0" dirty="0">
                <a:latin typeface="+mn-lt"/>
              </a:rPr>
              <a:t>1 Voetnoot </a:t>
            </a:r>
          </a:p>
        </p:txBody>
      </p:sp>
      <p:sp>
        <p:nvSpPr>
          <p:cNvPr id="14" name="5. Source" hidden="1"/>
          <p:cNvSpPr>
            <a:spLocks noChangeArrowheads="1"/>
          </p:cNvSpPr>
          <p:nvPr/>
        </p:nvSpPr>
        <p:spPr bwMode="gray">
          <a:xfrm>
            <a:off x="233259" y="6408862"/>
            <a:ext cx="11254650"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marL="319087" indent="-319087" defTabSz="913526">
              <a:tabLst/>
            </a:pPr>
            <a:r>
              <a:rPr lang="nl-NL" sz="1020" baseline="0" noProof="0" dirty="0">
                <a:solidFill>
                  <a:srgbClr val="000000"/>
                </a:solidFill>
                <a:latin typeface="+mn-lt"/>
              </a:rPr>
              <a:t>Bron: Bron</a:t>
            </a:r>
          </a:p>
        </p:txBody>
      </p:sp>
      <p:grpSp>
        <p:nvGrpSpPr>
          <p:cNvPr id="15" name="ACET" hidden="1"/>
          <p:cNvGrpSpPr>
            <a:grpSpLocks/>
          </p:cNvGrpSpPr>
          <p:nvPr/>
        </p:nvGrpSpPr>
        <p:grpSpPr bwMode="gray">
          <a:xfrm>
            <a:off x="233258" y="1895475"/>
            <a:ext cx="2317942" cy="531276"/>
            <a:chOff x="915" y="702"/>
            <a:chExt cx="2686" cy="328"/>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nl-NL" sz="1632" b="1" baseline="0" noProof="0" dirty="0">
                  <a:latin typeface="+mn-lt"/>
                  <a:ea typeface="+mn-ea"/>
                </a:rPr>
                <a:t>Titel</a:t>
              </a:r>
            </a:p>
            <a:p>
              <a:r>
                <a:rPr lang="nl-NL" sz="1632" baseline="0" noProof="0" dirty="0">
                  <a:solidFill>
                    <a:schemeClr val="tx1"/>
                  </a:solidFill>
                  <a:latin typeface="+mn-lt"/>
                  <a:ea typeface="+mn-ea"/>
                </a:rPr>
                <a:t>Meeteenheid</a:t>
              </a:r>
            </a:p>
          </p:txBody>
        </p:sp>
      </p:grpSp>
      <p:sp>
        <p:nvSpPr>
          <p:cNvPr id="3" name="pg number"/>
          <p:cNvSpPr>
            <a:spLocks/>
          </p:cNvSpPr>
          <p:nvPr/>
        </p:nvSpPr>
        <p:spPr bwMode="gray">
          <a:xfrm>
            <a:off x="11729760" y="6407190"/>
            <a:ext cx="228982" cy="160154"/>
          </a:xfrm>
          <a:prstGeom prst="rect">
            <a:avLst/>
          </a:prstGeom>
        </p:spPr>
        <p:txBody>
          <a:bodyPr vert="horz" wrap="none" lIns="0" tIns="0" rIns="0" bIns="0" rtlCol="0" anchor="ctr">
            <a:spAutoFit/>
          </a:bodyPr>
          <a:lstStyle/>
          <a:p>
            <a:pPr lvl="0" algn="r"/>
            <a:fld id="{42C328C1-A84F-4A39-A664-DBA00541A8C6}" type="slidenum">
              <a:rPr lang="nl-NL" sz="1020" noProof="0" smtClean="0">
                <a:latin typeface="+mn-lt"/>
              </a:rPr>
              <a:pPr lvl="0" algn="r"/>
              <a:t>‹nr.›</a:t>
            </a:fld>
            <a:endParaRPr lang="nl-NL" sz="1020" baseline="0" noProof="0" dirty="0">
              <a:solidFill>
                <a:schemeClr val="tx1"/>
              </a:solidFill>
              <a:latin typeface="+mn-lt"/>
            </a:endParaRPr>
          </a:p>
        </p:txBody>
      </p:sp>
      <p:sp>
        <p:nvSpPr>
          <p:cNvPr id="11" name="3. Unit of measure" hidden="1"/>
          <p:cNvSpPr txBox="1">
            <a:spLocks noChangeArrowheads="1"/>
          </p:cNvSpPr>
          <p:nvPr/>
        </p:nvSpPr>
        <p:spPr bwMode="gray">
          <a:xfrm>
            <a:off x="839041" y="721487"/>
            <a:ext cx="1111970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549088" algn="l"/>
              </a:tabLst>
              <a:defRPr/>
            </a:pPr>
            <a:r>
              <a:rPr lang="nl-NL" sz="1632" baseline="0" noProof="0" dirty="0">
                <a:solidFill>
                  <a:schemeClr val="tx1"/>
                </a:solidFill>
                <a:latin typeface="+mn-lt"/>
              </a:rPr>
              <a:t>Meeteenheid</a:t>
            </a:r>
          </a:p>
        </p:txBody>
      </p:sp>
      <p:sp>
        <p:nvSpPr>
          <p:cNvPr id="77" name="1. On-page tracker" hidden="1"/>
          <p:cNvSpPr>
            <a:spLocks noChangeArrowheads="1"/>
          </p:cNvSpPr>
          <p:nvPr/>
        </p:nvSpPr>
        <p:spPr bwMode="gray">
          <a:xfrm>
            <a:off x="839040" y="45940"/>
            <a:ext cx="768531"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549088" algn="l"/>
              </a:tabLst>
            </a:pPr>
            <a:r>
              <a:rPr lang="nl-NL" sz="1428" cap="all" baseline="0" dirty="0">
                <a:latin typeface="+mn-lt"/>
                <a:ea typeface="+mj-ea"/>
              </a:rPr>
              <a:t>TRACKER</a:t>
            </a:r>
          </a:p>
        </p:txBody>
      </p:sp>
      <p:sp>
        <p:nvSpPr>
          <p:cNvPr id="93" name="Oval" hidden="1"/>
          <p:cNvSpPr txBox="1">
            <a:spLocks/>
          </p:cNvSpPr>
          <p:nvPr>
            <p:custDataLst>
              <p:tags r:id="rId10"/>
            </p:custDataLst>
          </p:nvPr>
        </p:nvSpPr>
        <p:spPr bwMode="gray">
          <a:xfrm>
            <a:off x="6878923" y="1451179"/>
            <a:ext cx="1554978" cy="1554955"/>
          </a:xfrm>
          <a:prstGeom prst="ellipse">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731" tIns="36731" rIns="36731" bIns="36731"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a:r>
              <a:rPr lang="nl-NL" sz="1632" dirty="0">
                <a:latin typeface="+mn-lt"/>
              </a:rPr>
              <a:t>Text</a:t>
            </a:r>
          </a:p>
        </p:txBody>
      </p:sp>
      <p:sp>
        <p:nvSpPr>
          <p:cNvPr id="94" name="Body3" hidden="1"/>
          <p:cNvSpPr txBox="1">
            <a:spLocks/>
          </p:cNvSpPr>
          <p:nvPr>
            <p:custDataLst>
              <p:tags r:id="rId11"/>
            </p:custDataLst>
          </p:nvPr>
        </p:nvSpPr>
        <p:spPr bwMode="gray">
          <a:xfrm>
            <a:off x="3492958" y="1451179"/>
            <a:ext cx="1554978" cy="1554955"/>
          </a:xfrm>
          <a:prstGeom prst="rect">
            <a:avLst/>
          </a:prstGeom>
          <a:solidFill>
            <a:schemeClr val="accent1"/>
          </a:solidFill>
          <a:ln w="9525">
            <a:no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5" name="RoundedRectangle" hidden="1"/>
          <p:cNvSpPr txBox="1">
            <a:spLocks/>
          </p:cNvSpPr>
          <p:nvPr>
            <p:custDataLst>
              <p:tags r:id="rId12"/>
            </p:custDataLst>
          </p:nvPr>
        </p:nvSpPr>
        <p:spPr bwMode="gray">
          <a:xfrm>
            <a:off x="5185940" y="1451179"/>
            <a:ext cx="1554978" cy="1554955"/>
          </a:xfrm>
          <a:prstGeom prst="roundRect">
            <a:avLst/>
          </a:prstGeom>
          <a:solidFill>
            <a:schemeClr val="accent1"/>
          </a:solidFill>
          <a:ln w="9525">
            <a:no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6" name="Arrow" hidden="1"/>
          <p:cNvSpPr txBox="1"/>
          <p:nvPr>
            <p:custDataLst>
              <p:tags r:id="rId13"/>
            </p:custDataLst>
          </p:nvPr>
        </p:nvSpPr>
        <p:spPr bwMode="gray">
          <a:xfrm>
            <a:off x="3490717" y="4223444"/>
            <a:ext cx="1865974" cy="932973"/>
          </a:xfrm>
          <a:prstGeom prst="rightArrow">
            <a:avLst>
              <a:gd name="adj1" fmla="val 54000"/>
              <a:gd name="adj2" fmla="val 37676"/>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3462"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7" name="DirArrow" hidden="1"/>
          <p:cNvSpPr>
            <a:spLocks noChangeArrowheads="1"/>
          </p:cNvSpPr>
          <p:nvPr>
            <p:custDataLst>
              <p:tags r:id="rId14"/>
            </p:custDataLst>
          </p:nvPr>
        </p:nvSpPr>
        <p:spPr bwMode="gray">
          <a:xfrm rot="5400000">
            <a:off x="7170376" y="2852710"/>
            <a:ext cx="3153449" cy="350388"/>
          </a:xfrm>
          <a:prstGeom prst="triangle">
            <a:avLst>
              <a:gd name="adj" fmla="val 50000"/>
            </a:avLst>
          </a:prstGeom>
          <a:solidFill>
            <a:schemeClr val="accent1"/>
          </a:solidFill>
          <a:ln w="9525">
            <a:noFill/>
            <a:miter lim="800000"/>
            <a:headEnd/>
            <a:tailEnd/>
          </a:ln>
          <a:effectLst/>
        </p:spPr>
        <p:txBody>
          <a:bodyPr wrap="none" anchor="ctr"/>
          <a:lstStyle/>
          <a:p>
            <a:endParaRPr lang="nl-NL" sz="1632" dirty="0">
              <a:latin typeface="+mn-lt"/>
            </a:endParaRPr>
          </a:p>
        </p:txBody>
      </p:sp>
      <p:sp>
        <p:nvSpPr>
          <p:cNvPr id="98" name="Bracket" hidden="1"/>
          <p:cNvSpPr>
            <a:spLocks noChangeAspect="1"/>
          </p:cNvSpPr>
          <p:nvPr>
            <p:custDataLst>
              <p:tags r:id="rId15"/>
            </p:custDataLst>
          </p:nvPr>
        </p:nvSpPr>
        <p:spPr bwMode="gray">
          <a:xfrm>
            <a:off x="8179251" y="3148303"/>
            <a:ext cx="193510" cy="1865946"/>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2524"/>
              <a:gd name="connsiteY0" fmla="*/ 0 h 3096"/>
              <a:gd name="connsiteX1" fmla="*/ 2474 w 2524"/>
              <a:gd name="connsiteY1" fmla="*/ 1944 h 3096"/>
              <a:gd name="connsiteX2" fmla="*/ 2474 w 2524"/>
              <a:gd name="connsiteY2" fmla="*/ 2472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524"/>
              <a:gd name="connsiteY0" fmla="*/ 0 h 3096"/>
              <a:gd name="connsiteX1" fmla="*/ 38 w 2524"/>
              <a:gd name="connsiteY1" fmla="*/ 0 h 3096"/>
              <a:gd name="connsiteX2" fmla="*/ 2474 w 2524"/>
              <a:gd name="connsiteY2" fmla="*/ 2472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524"/>
              <a:gd name="connsiteY0" fmla="*/ 0 h 3096"/>
              <a:gd name="connsiteX1" fmla="*/ 38 w 2524"/>
              <a:gd name="connsiteY1" fmla="*/ 0 h 3096"/>
              <a:gd name="connsiteX2" fmla="*/ 38 w 2524"/>
              <a:gd name="connsiteY2" fmla="*/ 536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474"/>
              <a:gd name="connsiteY0" fmla="*/ 0 h 3096"/>
              <a:gd name="connsiteX1" fmla="*/ 38 w 2474"/>
              <a:gd name="connsiteY1" fmla="*/ 0 h 3096"/>
              <a:gd name="connsiteX2" fmla="*/ 38 w 2474"/>
              <a:gd name="connsiteY2" fmla="*/ 536 h 3096"/>
              <a:gd name="connsiteX3" fmla="*/ 57 w 2474"/>
              <a:gd name="connsiteY3" fmla="*/ 576 h 3096"/>
              <a:gd name="connsiteX4" fmla="*/ 2474 w 2474"/>
              <a:gd name="connsiteY4" fmla="*/ 2568 h 3096"/>
              <a:gd name="connsiteX5" fmla="*/ 2474 w 2474"/>
              <a:gd name="connsiteY5" fmla="*/ 3096 h 3096"/>
              <a:gd name="connsiteX6" fmla="*/ 2409 w 2474"/>
              <a:gd name="connsiteY6" fmla="*/ 3096 h 3096"/>
              <a:gd name="connsiteX0" fmla="*/ 0 w 2474"/>
              <a:gd name="connsiteY0" fmla="*/ 0 h 3096"/>
              <a:gd name="connsiteX1" fmla="*/ 38 w 2474"/>
              <a:gd name="connsiteY1" fmla="*/ 0 h 3096"/>
              <a:gd name="connsiteX2" fmla="*/ 38 w 2474"/>
              <a:gd name="connsiteY2" fmla="*/ 536 h 3096"/>
              <a:gd name="connsiteX3" fmla="*/ 57 w 2474"/>
              <a:gd name="connsiteY3" fmla="*/ 576 h 3096"/>
              <a:gd name="connsiteX4" fmla="*/ 38 w 2474"/>
              <a:gd name="connsiteY4" fmla="*/ 616 h 3096"/>
              <a:gd name="connsiteX5" fmla="*/ 2474 w 2474"/>
              <a:gd name="connsiteY5" fmla="*/ 3096 h 3096"/>
              <a:gd name="connsiteX6" fmla="*/ 2409 w 2474"/>
              <a:gd name="connsiteY6" fmla="*/ 3096 h 3096"/>
              <a:gd name="connsiteX0" fmla="*/ 0 w 2409"/>
              <a:gd name="connsiteY0" fmla="*/ 0 h 3096"/>
              <a:gd name="connsiteX1" fmla="*/ 38 w 2409"/>
              <a:gd name="connsiteY1" fmla="*/ 0 h 3096"/>
              <a:gd name="connsiteX2" fmla="*/ 38 w 2409"/>
              <a:gd name="connsiteY2" fmla="*/ 536 h 3096"/>
              <a:gd name="connsiteX3" fmla="*/ 57 w 2409"/>
              <a:gd name="connsiteY3" fmla="*/ 576 h 3096"/>
              <a:gd name="connsiteX4" fmla="*/ 38 w 2409"/>
              <a:gd name="connsiteY4" fmla="*/ 616 h 3096"/>
              <a:gd name="connsiteX5" fmla="*/ 38 w 2409"/>
              <a:gd name="connsiteY5" fmla="*/ 1152 h 3096"/>
              <a:gd name="connsiteX6" fmla="*/ 2409 w 2409"/>
              <a:gd name="connsiteY6" fmla="*/ 3096 h 3096"/>
              <a:gd name="connsiteX0" fmla="*/ 0 w 57"/>
              <a:gd name="connsiteY0" fmla="*/ 0 h 1152"/>
              <a:gd name="connsiteX1" fmla="*/ 38 w 57"/>
              <a:gd name="connsiteY1" fmla="*/ 0 h 1152"/>
              <a:gd name="connsiteX2" fmla="*/ 38 w 57"/>
              <a:gd name="connsiteY2" fmla="*/ 536 h 1152"/>
              <a:gd name="connsiteX3" fmla="*/ 57 w 57"/>
              <a:gd name="connsiteY3" fmla="*/ 576 h 1152"/>
              <a:gd name="connsiteX4" fmla="*/ 38 w 57"/>
              <a:gd name="connsiteY4" fmla="*/ 616 h 1152"/>
              <a:gd name="connsiteX5" fmla="*/ 38 w 57"/>
              <a:gd name="connsiteY5" fmla="*/ 1152 h 1152"/>
              <a:gd name="connsiteX6" fmla="*/ 0 w 57"/>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 h="1152">
                <a:moveTo>
                  <a:pt x="0" y="0"/>
                </a:moveTo>
                <a:lnTo>
                  <a:pt x="38" y="0"/>
                </a:lnTo>
                <a:lnTo>
                  <a:pt x="38" y="536"/>
                </a:lnTo>
                <a:lnTo>
                  <a:pt x="57" y="576"/>
                </a:lnTo>
                <a:lnTo>
                  <a:pt x="38" y="616"/>
                </a:lnTo>
                <a:lnTo>
                  <a:pt x="38"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632" dirty="0">
              <a:latin typeface="+mn-lt"/>
            </a:endParaRPr>
          </a:p>
        </p:txBody>
      </p:sp>
      <p:grpSp>
        <p:nvGrpSpPr>
          <p:cNvPr id="99" name="Flow" hidden="1"/>
          <p:cNvGrpSpPr/>
          <p:nvPr>
            <p:custDataLst>
              <p:tags r:id="rId16"/>
            </p:custDataLst>
          </p:nvPr>
        </p:nvGrpSpPr>
        <p:grpSpPr bwMode="gray">
          <a:xfrm>
            <a:off x="3492958" y="3148303"/>
            <a:ext cx="1865974" cy="932973"/>
            <a:chOff x="5905500" y="3124200"/>
            <a:chExt cx="1828800" cy="914400"/>
          </a:xfrm>
        </p:grpSpPr>
        <p:sp>
          <p:nvSpPr>
            <p:cNvPr id="100" name="Freeform 99"/>
            <p:cNvSpPr/>
            <p:nvPr>
              <p:custDataLst>
                <p:tags r:id="rId40"/>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1" name="TextBox 100"/>
            <p:cNvSpPr txBox="1"/>
            <p:nvPr>
              <p:custDataLst>
                <p:tags r:id="rId41"/>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grpSp>
      <p:grpSp>
        <p:nvGrpSpPr>
          <p:cNvPr id="102" name="SplitFlow" hidden="1"/>
          <p:cNvGrpSpPr/>
          <p:nvPr>
            <p:custDataLst>
              <p:tags r:id="rId17"/>
            </p:custDataLst>
          </p:nvPr>
        </p:nvGrpSpPr>
        <p:grpSpPr bwMode="gray">
          <a:xfrm>
            <a:off x="5538529" y="3148303"/>
            <a:ext cx="1865974" cy="932973"/>
            <a:chOff x="114300" y="1270000"/>
            <a:chExt cx="1828800" cy="914400"/>
          </a:xfrm>
        </p:grpSpPr>
        <p:sp>
          <p:nvSpPr>
            <p:cNvPr id="103" name="Freeform 102"/>
            <p:cNvSpPr/>
            <p:nvPr>
              <p:custDataLst>
                <p:tags r:id="rId36"/>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4" name="TextBox 103"/>
            <p:cNvSpPr txBox="1"/>
            <p:nvPr>
              <p:custDataLst>
                <p:tags r:id="rId37"/>
              </p:custDataLst>
            </p:nvPr>
          </p:nvSpPr>
          <p:spPr bwMode="gray">
            <a:xfrm>
              <a:off x="177800" y="13271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sp>
          <p:nvSpPr>
            <p:cNvPr id="105" name="Freeform 104"/>
            <p:cNvSpPr/>
            <p:nvPr>
              <p:custDataLst>
                <p:tags r:id="rId38"/>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6" name="TextBox 105"/>
            <p:cNvSpPr txBox="1"/>
            <p:nvPr>
              <p:custDataLst>
                <p:tags r:id="rId39"/>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grpSp>
      <p:grpSp>
        <p:nvGrpSpPr>
          <p:cNvPr id="107" name="LegendBoxes" hidden="1"/>
          <p:cNvGrpSpPr>
            <a:grpSpLocks/>
          </p:cNvGrpSpPr>
          <p:nvPr/>
        </p:nvGrpSpPr>
        <p:grpSpPr bwMode="gray">
          <a:xfrm>
            <a:off x="11134285" y="721486"/>
            <a:ext cx="835802" cy="1022061"/>
            <a:chOff x="4936" y="176"/>
            <a:chExt cx="516" cy="631"/>
          </a:xfrm>
        </p:grpSpPr>
        <p:sp>
          <p:nvSpPr>
            <p:cNvPr id="108" name="Legend1"/>
            <p:cNvSpPr>
              <a:spLocks noChangeArrowheads="1"/>
            </p:cNvSpPr>
            <p:nvPr/>
          </p:nvSpPr>
          <p:spPr bwMode="gray">
            <a:xfrm>
              <a:off x="5096" y="176"/>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09" name="LegendRectangle1"/>
            <p:cNvSpPr>
              <a:spLocks noChangeArrowheads="1"/>
            </p:cNvSpPr>
            <p:nvPr/>
          </p:nvSpPr>
          <p:spPr bwMode="gray">
            <a:xfrm>
              <a:off x="4936" y="182"/>
              <a:ext cx="104" cy="104"/>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0" name="Legend2"/>
            <p:cNvSpPr>
              <a:spLocks noChangeArrowheads="1"/>
            </p:cNvSpPr>
            <p:nvPr/>
          </p:nvSpPr>
          <p:spPr bwMode="gray">
            <a:xfrm>
              <a:off x="5096" y="347"/>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1" name="LegendRectangle2"/>
            <p:cNvSpPr>
              <a:spLocks noChangeArrowheads="1"/>
            </p:cNvSpPr>
            <p:nvPr/>
          </p:nvSpPr>
          <p:spPr bwMode="gray">
            <a:xfrm>
              <a:off x="4936" y="353"/>
              <a:ext cx="104" cy="104"/>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2" name="Legend3"/>
            <p:cNvSpPr>
              <a:spLocks noChangeArrowheads="1"/>
            </p:cNvSpPr>
            <p:nvPr/>
          </p:nvSpPr>
          <p:spPr bwMode="gray">
            <a:xfrm>
              <a:off x="5096" y="517"/>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3" name="LegendRectangle3"/>
            <p:cNvSpPr>
              <a:spLocks noChangeArrowheads="1"/>
            </p:cNvSpPr>
            <p:nvPr/>
          </p:nvSpPr>
          <p:spPr bwMode="gray">
            <a:xfrm>
              <a:off x="4936" y="523"/>
              <a:ext cx="104" cy="104"/>
            </a:xfrm>
            <a:prstGeom prst="rect">
              <a:avLst/>
            </a:prstGeom>
            <a:solidFill>
              <a:schemeClr val="accent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4" name="Legend4"/>
            <p:cNvSpPr>
              <a:spLocks noChangeArrowheads="1"/>
            </p:cNvSpPr>
            <p:nvPr/>
          </p:nvSpPr>
          <p:spPr bwMode="gray">
            <a:xfrm>
              <a:off x="5096" y="688"/>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5" name="LegendRectangle4"/>
            <p:cNvSpPr>
              <a:spLocks noChangeArrowheads="1"/>
            </p:cNvSpPr>
            <p:nvPr/>
          </p:nvSpPr>
          <p:spPr bwMode="gray">
            <a:xfrm>
              <a:off x="4936" y="694"/>
              <a:ext cx="104" cy="104"/>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16" name="LegendLines" hidden="1"/>
          <p:cNvGrpSpPr>
            <a:grpSpLocks/>
          </p:cNvGrpSpPr>
          <p:nvPr/>
        </p:nvGrpSpPr>
        <p:grpSpPr bwMode="gray">
          <a:xfrm>
            <a:off x="10820047" y="721486"/>
            <a:ext cx="1150037" cy="749943"/>
            <a:chOff x="4750" y="176"/>
            <a:chExt cx="710" cy="463"/>
          </a:xfrm>
        </p:grpSpPr>
        <p:sp>
          <p:nvSpPr>
            <p:cNvPr id="117" name="LineLegend1"/>
            <p:cNvSpPr>
              <a:spLocks noChangeShapeType="1"/>
            </p:cNvSpPr>
            <p:nvPr/>
          </p:nvSpPr>
          <p:spPr bwMode="gray">
            <a:xfrm>
              <a:off x="4750" y="234"/>
              <a:ext cx="288" cy="0"/>
            </a:xfrm>
            <a:prstGeom prst="line">
              <a:avLst/>
            </a:prstGeom>
            <a:noFill/>
            <a:ln w="2857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18" name="LineLegend2"/>
            <p:cNvSpPr>
              <a:spLocks noChangeShapeType="1"/>
            </p:cNvSpPr>
            <p:nvPr/>
          </p:nvSpPr>
          <p:spPr bwMode="gray">
            <a:xfrm>
              <a:off x="4750" y="406"/>
              <a:ext cx="288" cy="0"/>
            </a:xfrm>
            <a:prstGeom prst="line">
              <a:avLst/>
            </a:prstGeom>
            <a:noFill/>
            <a:ln w="28575">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19" name="LineLegend3"/>
            <p:cNvSpPr>
              <a:spLocks noChangeShapeType="1"/>
            </p:cNvSpPr>
            <p:nvPr/>
          </p:nvSpPr>
          <p:spPr bwMode="gray">
            <a:xfrm>
              <a:off x="4750" y="578"/>
              <a:ext cx="288" cy="0"/>
            </a:xfrm>
            <a:prstGeom prst="line">
              <a:avLst/>
            </a:prstGeom>
            <a:noFill/>
            <a:ln w="28575">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20" name="Legend1"/>
            <p:cNvSpPr>
              <a:spLocks noChangeArrowheads="1"/>
            </p:cNvSpPr>
            <p:nvPr/>
          </p:nvSpPr>
          <p:spPr bwMode="gray">
            <a:xfrm>
              <a:off x="5104" y="176"/>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21" name="Legend2"/>
            <p:cNvSpPr>
              <a:spLocks noChangeArrowheads="1"/>
            </p:cNvSpPr>
            <p:nvPr/>
          </p:nvSpPr>
          <p:spPr bwMode="gray">
            <a:xfrm>
              <a:off x="5104" y="348"/>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22" name="Legend3"/>
            <p:cNvSpPr>
              <a:spLocks noChangeArrowheads="1"/>
            </p:cNvSpPr>
            <p:nvPr/>
          </p:nvSpPr>
          <p:spPr bwMode="gray">
            <a:xfrm>
              <a:off x="5104" y="520"/>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grpSp>
      <p:grpSp>
        <p:nvGrpSpPr>
          <p:cNvPr id="123" name="Sticker" hidden="1"/>
          <p:cNvGrpSpPr/>
          <p:nvPr/>
        </p:nvGrpSpPr>
        <p:grpSpPr bwMode="gray">
          <a:xfrm>
            <a:off x="11368295" y="719589"/>
            <a:ext cx="590448" cy="250146"/>
            <a:chOff x="8162090" y="283891"/>
            <a:chExt cx="578685" cy="245166"/>
          </a:xfrm>
        </p:grpSpPr>
        <p:sp>
          <p:nvSpPr>
            <p:cNvPr id="124" name="StickerRectangle"/>
            <p:cNvSpPr>
              <a:spLocks noChangeArrowheads="1"/>
            </p:cNvSpPr>
            <p:nvPr/>
          </p:nvSpPr>
          <p:spPr bwMode="gray">
            <a:xfrm>
              <a:off x="8162090" y="283891"/>
              <a:ext cx="578685" cy="2451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913526">
                <a:buClr>
                  <a:schemeClr val="tx2"/>
                </a:buClr>
              </a:pPr>
              <a:r>
                <a:rPr lang="nl-NL" sz="1224" noProof="0" dirty="0">
                  <a:solidFill>
                    <a:schemeClr val="tx1"/>
                  </a:solidFill>
                  <a:latin typeface="+mn-lt"/>
                </a:rPr>
                <a:t>STICKER</a:t>
              </a:r>
            </a:p>
          </p:txBody>
        </p:sp>
        <p:cxnSp>
          <p:nvCxnSpPr>
            <p:cNvPr id="125" name="AutoShape 32"/>
            <p:cNvCxnSpPr>
              <a:cxnSpLocks noChangeShapeType="1"/>
              <a:stCxn id="124" idx="4"/>
              <a:endCxn id="124" idx="6"/>
            </p:cNvCxnSpPr>
            <p:nvPr/>
          </p:nvCxnSpPr>
          <p:spPr bwMode="gray">
            <a:xfrm>
              <a:off x="8162090" y="529057"/>
              <a:ext cx="57868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2"/>
              <a:endCxn id="124" idx="0"/>
            </p:cNvCxnSpPr>
            <p:nvPr userDrawn="1"/>
          </p:nvCxnSpPr>
          <p:spPr bwMode="gray">
            <a:xfrm>
              <a:off x="8162090" y="283891"/>
              <a:ext cx="57868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8" name="LegendMoons" hidden="1">
            <a:extLst>
              <a:ext uri="{FF2B5EF4-FFF2-40B4-BE49-F238E27FC236}">
                <a16:creationId xmlns:a16="http://schemas.microsoft.com/office/drawing/2014/main" id="{9D74EF3F-2EAF-4D4B-8FF9-DE4300E7A04F}"/>
              </a:ext>
            </a:extLst>
          </p:cNvPr>
          <p:cNvGrpSpPr/>
          <p:nvPr userDrawn="1"/>
        </p:nvGrpSpPr>
        <p:grpSpPr bwMode="gray">
          <a:xfrm>
            <a:off x="11065636" y="721486"/>
            <a:ext cx="904556" cy="1333317"/>
            <a:chOff x="9205424" y="664256"/>
            <a:chExt cx="886536" cy="1306774"/>
          </a:xfrm>
        </p:grpSpPr>
        <p:grpSp>
          <p:nvGrpSpPr>
            <p:cNvPr id="128" name="MoonLegend1"/>
            <p:cNvGrpSpPr>
              <a:grpSpLocks noChangeAspect="1"/>
            </p:cNvGrpSpPr>
            <p:nvPr>
              <p:custDataLst>
                <p:tags r:id="rId21"/>
              </p:custDataLst>
            </p:nvPr>
          </p:nvGrpSpPr>
          <p:grpSpPr bwMode="gray">
            <a:xfrm>
              <a:off x="9205424" y="664256"/>
              <a:ext cx="209550" cy="209551"/>
              <a:chOff x="4533" y="183"/>
              <a:chExt cx="144" cy="144"/>
            </a:xfrm>
          </p:grpSpPr>
          <p:sp>
            <p:nvSpPr>
              <p:cNvPr id="146" name="Oval 38"/>
              <p:cNvSpPr>
                <a:spLocks noChangeAspect="1" noChangeArrowheads="1"/>
              </p:cNvSpPr>
              <p:nvPr>
                <p:custDataLst>
                  <p:tags r:id="rId34"/>
                </p:custDataLst>
              </p:nvPr>
            </p:nvSpPr>
            <p:spPr bwMode="gray">
              <a:xfrm>
                <a:off x="4533" y="183"/>
                <a:ext cx="144" cy="144"/>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7" name="Arc 39"/>
              <p:cNvSpPr>
                <a:spLocks noChangeAspect="1"/>
              </p:cNvSpPr>
              <p:nvPr>
                <p:custDataLst>
                  <p:tags r:id="rId35"/>
                </p:custDataLst>
              </p:nvPr>
            </p:nvSpPr>
            <p:spPr bwMode="gray">
              <a:xfrm>
                <a:off x="4533" y="183"/>
                <a:ext cx="144" cy="144"/>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29" name="MoonLegend2"/>
            <p:cNvGrpSpPr>
              <a:grpSpLocks noChangeAspect="1"/>
            </p:cNvGrpSpPr>
            <p:nvPr>
              <p:custDataLst>
                <p:tags r:id="rId22"/>
              </p:custDataLst>
            </p:nvPr>
          </p:nvGrpSpPr>
          <p:grpSpPr bwMode="gray">
            <a:xfrm>
              <a:off x="9205424" y="938562"/>
              <a:ext cx="209550" cy="209551"/>
              <a:chOff x="1694" y="2044"/>
              <a:chExt cx="160" cy="160"/>
            </a:xfrm>
          </p:grpSpPr>
          <p:sp>
            <p:nvSpPr>
              <p:cNvPr id="144" name="Oval 41"/>
              <p:cNvSpPr>
                <a:spLocks noChangeAspect="1" noChangeArrowheads="1"/>
              </p:cNvSpPr>
              <p:nvPr>
                <p:custDataLst>
                  <p:tags r:id="rId32"/>
                </p:custDataLst>
              </p:nvPr>
            </p:nvSpPr>
            <p:spPr bwMode="gray">
              <a:xfrm>
                <a:off x="1694" y="2044"/>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5" name="Arc 42"/>
              <p:cNvSpPr>
                <a:spLocks noChangeAspect="1"/>
              </p:cNvSpPr>
              <p:nvPr>
                <p:custDataLst>
                  <p:tags r:id="rId33"/>
                </p:custDataLst>
              </p:nvPr>
            </p:nvSpPr>
            <p:spPr bwMode="gray">
              <a:xfrm>
                <a:off x="1694" y="2044"/>
                <a:ext cx="160" cy="160"/>
              </a:xfrm>
              <a:prstGeom prst="arc">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30" name="MoonLegend4"/>
            <p:cNvGrpSpPr>
              <a:grpSpLocks noChangeAspect="1"/>
            </p:cNvGrpSpPr>
            <p:nvPr>
              <p:custDataLst>
                <p:tags r:id="rId23"/>
              </p:custDataLst>
            </p:nvPr>
          </p:nvGrpSpPr>
          <p:grpSpPr bwMode="gray">
            <a:xfrm>
              <a:off x="9205424" y="1487174"/>
              <a:ext cx="209550" cy="209551"/>
              <a:chOff x="4495" y="1198"/>
              <a:chExt cx="160" cy="160"/>
            </a:xfrm>
          </p:grpSpPr>
          <p:sp>
            <p:nvSpPr>
              <p:cNvPr id="142"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3" name="Arc 48"/>
              <p:cNvSpPr>
                <a:spLocks noChangeAspect="1"/>
              </p:cNvSpPr>
              <p:nvPr>
                <p:custDataLst>
                  <p:tags r:id="rId31"/>
                </p:custDataLst>
              </p:nvPr>
            </p:nvSpPr>
            <p:spPr bwMode="gray">
              <a:xfrm>
                <a:off x="4495" y="1198"/>
                <a:ext cx="160" cy="160"/>
              </a:xfrm>
              <a:prstGeom prst="arc">
                <a:avLst>
                  <a:gd name="adj1" fmla="val 16200000"/>
                  <a:gd name="adj2" fmla="val 108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31" name="MoonLegend5"/>
            <p:cNvGrpSpPr>
              <a:grpSpLocks noChangeAspect="1"/>
            </p:cNvGrpSpPr>
            <p:nvPr>
              <p:custDataLst>
                <p:tags r:id="rId24"/>
              </p:custDataLst>
            </p:nvPr>
          </p:nvGrpSpPr>
          <p:grpSpPr bwMode="gray">
            <a:xfrm>
              <a:off x="9205424" y="1761479"/>
              <a:ext cx="209550" cy="209551"/>
              <a:chOff x="4495" y="1440"/>
              <a:chExt cx="160" cy="160"/>
            </a:xfrm>
          </p:grpSpPr>
          <p:sp>
            <p:nvSpPr>
              <p:cNvPr id="140" name="Oval 50"/>
              <p:cNvSpPr>
                <a:spLocks noChangeAspect="1" noChangeArrowheads="1"/>
              </p:cNvSpPr>
              <p:nvPr>
                <p:custDataLst>
                  <p:tags r:id="rId28"/>
                </p:custDataLst>
              </p:nvPr>
            </p:nvSpPr>
            <p:spPr bwMode="gray">
              <a:xfrm>
                <a:off x="4495" y="1440"/>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1" name="Oval 51"/>
              <p:cNvSpPr>
                <a:spLocks noChangeAspect="1" noChangeArrowheads="1"/>
              </p:cNvSpPr>
              <p:nvPr>
                <p:custDataLst>
                  <p:tags r:id="rId29"/>
                </p:custDataLst>
              </p:nvPr>
            </p:nvSpPr>
            <p:spPr bwMode="gray">
              <a:xfrm>
                <a:off x="4495" y="1440"/>
                <a:ext cx="160" cy="160"/>
              </a:xfrm>
              <a:prstGeom prst="arc">
                <a:avLst>
                  <a:gd name="adj1" fmla="val 16200000"/>
                  <a:gd name="adj2" fmla="val 162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sp>
          <p:nvSpPr>
            <p:cNvPr id="132" name="Legend1"/>
            <p:cNvSpPr>
              <a:spLocks noChangeArrowheads="1"/>
            </p:cNvSpPr>
            <p:nvPr/>
          </p:nvSpPr>
          <p:spPr bwMode="gray">
            <a:xfrm>
              <a:off x="9526099" y="676699"/>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3" name="Legend2"/>
            <p:cNvSpPr>
              <a:spLocks noChangeArrowheads="1"/>
            </p:cNvSpPr>
            <p:nvPr/>
          </p:nvSpPr>
          <p:spPr bwMode="gray">
            <a:xfrm>
              <a:off x="9526099" y="951005"/>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4" name="Legend3"/>
            <p:cNvSpPr>
              <a:spLocks noChangeArrowheads="1"/>
            </p:cNvSpPr>
            <p:nvPr/>
          </p:nvSpPr>
          <p:spPr bwMode="gray">
            <a:xfrm>
              <a:off x="9526099" y="1225311"/>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5" name="Legend4"/>
            <p:cNvSpPr>
              <a:spLocks noChangeArrowheads="1"/>
            </p:cNvSpPr>
            <p:nvPr/>
          </p:nvSpPr>
          <p:spPr bwMode="gray">
            <a:xfrm>
              <a:off x="9526099" y="1499617"/>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6" name="Legend5"/>
            <p:cNvSpPr>
              <a:spLocks noChangeArrowheads="1"/>
            </p:cNvSpPr>
            <p:nvPr/>
          </p:nvSpPr>
          <p:spPr bwMode="gray">
            <a:xfrm>
              <a:off x="9526099" y="1773922"/>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grpSp>
          <p:nvGrpSpPr>
            <p:cNvPr id="137" name="MoonLegend3"/>
            <p:cNvGrpSpPr>
              <a:grpSpLocks noChangeAspect="1"/>
            </p:cNvGrpSpPr>
            <p:nvPr>
              <p:custDataLst>
                <p:tags r:id="rId25"/>
              </p:custDataLst>
            </p:nvPr>
          </p:nvGrpSpPr>
          <p:grpSpPr bwMode="gray">
            <a:xfrm>
              <a:off x="9205424" y="1212868"/>
              <a:ext cx="209550" cy="209551"/>
              <a:chOff x="4495" y="1198"/>
              <a:chExt cx="160" cy="160"/>
            </a:xfrm>
          </p:grpSpPr>
          <p:sp>
            <p:nvSpPr>
              <p:cNvPr id="138" name="Oval 47"/>
              <p:cNvSpPr>
                <a:spLocks noChangeAspect="1" noChangeArrowheads="1"/>
              </p:cNvSpPr>
              <p:nvPr>
                <p:custDataLst>
                  <p:tags r:id="rId26"/>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39" name="Arc 48"/>
              <p:cNvSpPr>
                <a:spLocks noChangeAspect="1"/>
              </p:cNvSpPr>
              <p:nvPr>
                <p:custDataLst>
                  <p:tags r:id="rId27"/>
                </p:custDataLst>
              </p:nvPr>
            </p:nvSpPr>
            <p:spPr bwMode="gray">
              <a:xfrm>
                <a:off x="4495" y="1198"/>
                <a:ext cx="160" cy="160"/>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grpSp>
        <p:nvGrpSpPr>
          <p:cNvPr id="148" name="Moon" hidden="1"/>
          <p:cNvGrpSpPr/>
          <p:nvPr>
            <p:custDataLst>
              <p:tags r:id="rId18"/>
            </p:custDataLst>
          </p:nvPr>
        </p:nvGrpSpPr>
        <p:grpSpPr bwMode="gray">
          <a:xfrm>
            <a:off x="11699579" y="2698440"/>
            <a:ext cx="259163" cy="259159"/>
            <a:chOff x="762000" y="1270000"/>
            <a:chExt cx="254000" cy="254000"/>
          </a:xfrm>
        </p:grpSpPr>
        <p:sp>
          <p:nvSpPr>
            <p:cNvPr id="149" name="Oval 148"/>
            <p:cNvSpPr/>
            <p:nvPr/>
          </p:nvSpPr>
          <p:spPr bwMode="gray">
            <a:xfrm>
              <a:off x="762000" y="1270000"/>
              <a:ext cx="254000" cy="254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37" dirty="0">
                <a:solidFill>
                  <a:schemeClr val="tx1"/>
                </a:solidFill>
              </a:endParaRPr>
            </a:p>
          </p:txBody>
        </p:sp>
        <p:sp>
          <p:nvSpPr>
            <p:cNvPr id="150" name="Arc 149"/>
            <p:cNvSpPr/>
            <p:nvPr/>
          </p:nvSpPr>
          <p:spPr bwMode="gray">
            <a:xfrm>
              <a:off x="762000" y="1270000"/>
              <a:ext cx="254000" cy="254000"/>
            </a:xfrm>
            <a:prstGeom prst="arc">
              <a:avLst/>
            </a:prstGeom>
            <a:solidFill>
              <a:schemeClr val="accent4"/>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837" dirty="0"/>
            </a:p>
          </p:txBody>
        </p:sp>
      </p:grpSp>
      <p:sp>
        <p:nvSpPr>
          <p:cNvPr id="72" name="SingleChevron" hidden="1">
            <a:extLst>
              <a:ext uri="{FF2B5EF4-FFF2-40B4-BE49-F238E27FC236}">
                <a16:creationId xmlns:a16="http://schemas.microsoft.com/office/drawing/2014/main" id="{F76CFF7D-6557-4985-9AC8-0BA5374E926A}"/>
              </a:ext>
            </a:extLst>
          </p:cNvPr>
          <p:cNvSpPr>
            <a:spLocks noChangeAspect="1"/>
          </p:cNvSpPr>
          <p:nvPr/>
        </p:nvSpPr>
        <p:spPr bwMode="gray">
          <a:xfrm>
            <a:off x="5558038" y="4431545"/>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nvGrpSpPr>
          <p:cNvPr id="73" name="DoubleChevron2" hidden="1">
            <a:extLst>
              <a:ext uri="{FF2B5EF4-FFF2-40B4-BE49-F238E27FC236}">
                <a16:creationId xmlns:a16="http://schemas.microsoft.com/office/drawing/2014/main" id="{03430B6D-F4A8-4F59-B66C-8C207F43DAF7}"/>
              </a:ext>
            </a:extLst>
          </p:cNvPr>
          <p:cNvGrpSpPr>
            <a:grpSpLocks noChangeAspect="1"/>
          </p:cNvGrpSpPr>
          <p:nvPr/>
        </p:nvGrpSpPr>
        <p:grpSpPr bwMode="gray">
          <a:xfrm>
            <a:off x="6852326" y="4431545"/>
            <a:ext cx="1268194" cy="1554955"/>
            <a:chOff x="1270000" y="1270000"/>
            <a:chExt cx="2951957" cy="3619500"/>
          </a:xfrm>
          <a:solidFill>
            <a:schemeClr val="accent1"/>
          </a:solidFill>
        </p:grpSpPr>
        <p:sp>
          <p:nvSpPr>
            <p:cNvPr id="78" name="Chevron1">
              <a:extLst>
                <a:ext uri="{FF2B5EF4-FFF2-40B4-BE49-F238E27FC236}">
                  <a16:creationId xmlns:a16="http://schemas.microsoft.com/office/drawing/2014/main" id="{BEF86B13-F0F9-44E8-BC82-D3B1F01A2E04}"/>
                </a:ext>
              </a:extLst>
            </p:cNvPr>
            <p:cNvSpPr>
              <a:spLocks noChangeAspect="1"/>
            </p:cNvSpPr>
            <p:nvPr userDrawn="1"/>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sp>
          <p:nvSpPr>
            <p:cNvPr id="79" name="Chevron2">
              <a:extLst>
                <a:ext uri="{FF2B5EF4-FFF2-40B4-BE49-F238E27FC236}">
                  <a16:creationId xmlns:a16="http://schemas.microsoft.com/office/drawing/2014/main" id="{8DE836DF-98B4-4DEB-AD7B-399DB9FCD487}"/>
                </a:ext>
              </a:extLst>
            </p:cNvPr>
            <p:cNvSpPr>
              <a:spLocks noChangeAspect="1"/>
            </p:cNvSpPr>
            <p:nvPr userDrawn="1"/>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grpSp>
        <p:nvGrpSpPr>
          <p:cNvPr id="74" name="DoubleChevron" hidden="1">
            <a:extLst>
              <a:ext uri="{FF2B5EF4-FFF2-40B4-BE49-F238E27FC236}">
                <a16:creationId xmlns:a16="http://schemas.microsoft.com/office/drawing/2014/main" id="{DD1F7A8A-45A7-4E8C-8541-B4A77C4549C2}"/>
              </a:ext>
            </a:extLst>
          </p:cNvPr>
          <p:cNvGrpSpPr>
            <a:grpSpLocks noChangeAspect="1"/>
          </p:cNvGrpSpPr>
          <p:nvPr/>
        </p:nvGrpSpPr>
        <p:grpSpPr bwMode="gray">
          <a:xfrm>
            <a:off x="6027861" y="4431545"/>
            <a:ext cx="1034947" cy="1554955"/>
            <a:chOff x="1270000" y="1270000"/>
            <a:chExt cx="2409032" cy="3619500"/>
          </a:xfrm>
          <a:solidFill>
            <a:schemeClr val="accent1"/>
          </a:solidFill>
        </p:grpSpPr>
        <p:sp>
          <p:nvSpPr>
            <p:cNvPr id="75" name="Chevron1">
              <a:extLst>
                <a:ext uri="{FF2B5EF4-FFF2-40B4-BE49-F238E27FC236}">
                  <a16:creationId xmlns:a16="http://schemas.microsoft.com/office/drawing/2014/main" id="{FE91783C-386A-49DF-98E2-044BFF2D9715}"/>
                </a:ext>
              </a:extLst>
            </p:cNvPr>
            <p:cNvSpPr>
              <a:spLocks noChangeAspect="1"/>
            </p:cNvSpPr>
            <p:nvPr userDrawn="1"/>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sp>
          <p:nvSpPr>
            <p:cNvPr id="76" name="Chevron2">
              <a:extLst>
                <a:ext uri="{FF2B5EF4-FFF2-40B4-BE49-F238E27FC236}">
                  <a16:creationId xmlns:a16="http://schemas.microsoft.com/office/drawing/2014/main" id="{23EED61E-5E5B-4DC3-AA5C-EF1657A66CE6}"/>
                </a:ext>
              </a:extLst>
            </p:cNvPr>
            <p:cNvSpPr>
              <a:spLocks noChangeAspect="1"/>
            </p:cNvSpPr>
            <p:nvPr userDrawn="1"/>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sp>
        <p:nvSpPr>
          <p:cNvPr id="80" name="TitleTrackerAlpha" hidden="1">
            <a:extLst>
              <a:ext uri="{FF2B5EF4-FFF2-40B4-BE49-F238E27FC236}">
                <a16:creationId xmlns:a16="http://schemas.microsoft.com/office/drawing/2014/main" id="{DBBF5B7D-AEA7-4B32-86DF-D97974B2332B}"/>
              </a:ext>
            </a:extLst>
          </p:cNvPr>
          <p:cNvSpPr/>
          <p:nvPr>
            <p:custDataLst>
              <p:tags r:id="rId19"/>
            </p:custDataLst>
          </p:nvPr>
        </p:nvSpPr>
        <p:spPr bwMode="gray">
          <a:xfrm>
            <a:off x="839040" y="225253"/>
            <a:ext cx="492410" cy="492402"/>
          </a:xfrm>
          <a:prstGeom prst="ellipse">
            <a:avLst/>
          </a:prstGeom>
          <a:solidFill>
            <a:schemeClr val="bg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nl-NL" sz="2449" b="1" dirty="0">
                <a:solidFill>
                  <a:schemeClr val="tx2"/>
                </a:solidFill>
                <a:latin typeface="+mj-lt"/>
              </a:rPr>
              <a:t>A</a:t>
            </a:r>
          </a:p>
        </p:txBody>
      </p:sp>
      <p:sp>
        <p:nvSpPr>
          <p:cNvPr id="81" name="TitleTrackerNum" hidden="1">
            <a:extLst>
              <a:ext uri="{FF2B5EF4-FFF2-40B4-BE49-F238E27FC236}">
                <a16:creationId xmlns:a16="http://schemas.microsoft.com/office/drawing/2014/main" id="{794CED1F-6725-4459-8907-48C740430B0C}"/>
              </a:ext>
            </a:extLst>
          </p:cNvPr>
          <p:cNvSpPr/>
          <p:nvPr>
            <p:custDataLst>
              <p:tags r:id="rId20"/>
            </p:custDataLst>
          </p:nvPr>
        </p:nvSpPr>
        <p:spPr bwMode="gray">
          <a:xfrm>
            <a:off x="839040" y="225253"/>
            <a:ext cx="492410" cy="492402"/>
          </a:xfrm>
          <a:prstGeom prst="ellipse">
            <a:avLst/>
          </a:prstGeom>
          <a:solidFill>
            <a:schemeClr val="bg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nl-NL" sz="2449" b="1" dirty="0">
                <a:solidFill>
                  <a:schemeClr val="tx2"/>
                </a:solidFill>
                <a:latin typeface="+mj-lt"/>
              </a:rPr>
              <a:t>1</a:t>
            </a:r>
          </a:p>
        </p:txBody>
      </p:sp>
      <p:grpSp>
        <p:nvGrpSpPr>
          <p:cNvPr id="155" name="Group 154">
            <a:extLst>
              <a:ext uri="{FF2B5EF4-FFF2-40B4-BE49-F238E27FC236}">
                <a16:creationId xmlns:a16="http://schemas.microsoft.com/office/drawing/2014/main" id="{D5277C95-E1E2-4256-90CF-0E3D9E82775F}"/>
              </a:ext>
            </a:extLst>
          </p:cNvPr>
          <p:cNvGrpSpPr/>
          <p:nvPr userDrawn="1"/>
        </p:nvGrpSpPr>
        <p:grpSpPr bwMode="ltGray">
          <a:xfrm>
            <a:off x="233258" y="106904"/>
            <a:ext cx="426000" cy="1448052"/>
            <a:chOff x="177800" y="104775"/>
            <a:chExt cx="417513" cy="1419225"/>
          </a:xfrm>
          <a:solidFill>
            <a:schemeClr val="tx2"/>
          </a:solidFill>
        </p:grpSpPr>
        <p:sp>
          <p:nvSpPr>
            <p:cNvPr id="156" name="Freeform 42">
              <a:extLst>
                <a:ext uri="{FF2B5EF4-FFF2-40B4-BE49-F238E27FC236}">
                  <a16:creationId xmlns:a16="http://schemas.microsoft.com/office/drawing/2014/main" id="{2632F7AF-F5FB-4620-AF44-CD765C50CB67}"/>
                </a:ext>
              </a:extLst>
            </p:cNvPr>
            <p:cNvSpPr>
              <a:spLocks/>
            </p:cNvSpPr>
            <p:nvPr userDrawn="1"/>
          </p:nvSpPr>
          <p:spPr bwMode="ltGray">
            <a:xfrm>
              <a:off x="177800" y="1108075"/>
              <a:ext cx="417513" cy="415925"/>
            </a:xfrm>
            <a:custGeom>
              <a:avLst/>
              <a:gdLst>
                <a:gd name="T0" fmla="*/ 0 w 263"/>
                <a:gd name="T1" fmla="*/ 209 h 262"/>
                <a:gd name="T2" fmla="*/ 80 w 263"/>
                <a:gd name="T3" fmla="*/ 131 h 262"/>
                <a:gd name="T4" fmla="*/ 0 w 263"/>
                <a:gd name="T5" fmla="*/ 52 h 262"/>
                <a:gd name="T6" fmla="*/ 53 w 263"/>
                <a:gd name="T7" fmla="*/ 0 h 262"/>
                <a:gd name="T8" fmla="*/ 132 w 263"/>
                <a:gd name="T9" fmla="*/ 78 h 262"/>
                <a:gd name="T10" fmla="*/ 210 w 263"/>
                <a:gd name="T11" fmla="*/ 0 h 262"/>
                <a:gd name="T12" fmla="*/ 263 w 263"/>
                <a:gd name="T13" fmla="*/ 52 h 262"/>
                <a:gd name="T14" fmla="*/ 185 w 263"/>
                <a:gd name="T15" fmla="*/ 131 h 262"/>
                <a:gd name="T16" fmla="*/ 263 w 263"/>
                <a:gd name="T17" fmla="*/ 209 h 262"/>
                <a:gd name="T18" fmla="*/ 210 w 263"/>
                <a:gd name="T19" fmla="*/ 262 h 262"/>
                <a:gd name="T20" fmla="*/ 132 w 263"/>
                <a:gd name="T21" fmla="*/ 183 h 262"/>
                <a:gd name="T22" fmla="*/ 53 w 263"/>
                <a:gd name="T23" fmla="*/ 262 h 262"/>
                <a:gd name="T24" fmla="*/ 0 w 263"/>
                <a:gd name="T25" fmla="*/ 20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2">
                  <a:moveTo>
                    <a:pt x="0" y="209"/>
                  </a:moveTo>
                  <a:lnTo>
                    <a:pt x="80" y="131"/>
                  </a:lnTo>
                  <a:lnTo>
                    <a:pt x="0" y="52"/>
                  </a:lnTo>
                  <a:lnTo>
                    <a:pt x="53" y="0"/>
                  </a:lnTo>
                  <a:lnTo>
                    <a:pt x="132" y="78"/>
                  </a:lnTo>
                  <a:lnTo>
                    <a:pt x="210" y="0"/>
                  </a:lnTo>
                  <a:lnTo>
                    <a:pt x="263" y="52"/>
                  </a:lnTo>
                  <a:lnTo>
                    <a:pt x="185" y="131"/>
                  </a:lnTo>
                  <a:lnTo>
                    <a:pt x="263" y="209"/>
                  </a:lnTo>
                  <a:lnTo>
                    <a:pt x="210" y="262"/>
                  </a:lnTo>
                  <a:lnTo>
                    <a:pt x="132" y="183"/>
                  </a:lnTo>
                  <a:lnTo>
                    <a:pt x="53" y="262"/>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157" name="Freeform 43">
              <a:extLst>
                <a:ext uri="{FF2B5EF4-FFF2-40B4-BE49-F238E27FC236}">
                  <a16:creationId xmlns:a16="http://schemas.microsoft.com/office/drawing/2014/main" id="{EAEBA356-DF50-406B-A0F8-71773E1B6C83}"/>
                </a:ext>
              </a:extLst>
            </p:cNvPr>
            <p:cNvSpPr>
              <a:spLocks/>
            </p:cNvSpPr>
            <p:nvPr userDrawn="1"/>
          </p:nvSpPr>
          <p:spPr bwMode="ltGray">
            <a:xfrm>
              <a:off x="177800" y="104775"/>
              <a:ext cx="417513" cy="417513"/>
            </a:xfrm>
            <a:custGeom>
              <a:avLst/>
              <a:gdLst>
                <a:gd name="T0" fmla="*/ 0 w 263"/>
                <a:gd name="T1" fmla="*/ 211 h 263"/>
                <a:gd name="T2" fmla="*/ 80 w 263"/>
                <a:gd name="T3" fmla="*/ 132 h 263"/>
                <a:gd name="T4" fmla="*/ 0 w 263"/>
                <a:gd name="T5" fmla="*/ 53 h 263"/>
                <a:gd name="T6" fmla="*/ 53 w 263"/>
                <a:gd name="T7" fmla="*/ 0 h 263"/>
                <a:gd name="T8" fmla="*/ 132 w 263"/>
                <a:gd name="T9" fmla="*/ 80 h 263"/>
                <a:gd name="T10" fmla="*/ 210 w 263"/>
                <a:gd name="T11" fmla="*/ 0 h 263"/>
                <a:gd name="T12" fmla="*/ 263 w 263"/>
                <a:gd name="T13" fmla="*/ 53 h 263"/>
                <a:gd name="T14" fmla="*/ 185 w 263"/>
                <a:gd name="T15" fmla="*/ 132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2"/>
                  </a:lnTo>
                  <a:lnTo>
                    <a:pt x="0" y="53"/>
                  </a:lnTo>
                  <a:lnTo>
                    <a:pt x="53" y="0"/>
                  </a:lnTo>
                  <a:lnTo>
                    <a:pt x="132" y="80"/>
                  </a:lnTo>
                  <a:lnTo>
                    <a:pt x="210" y="0"/>
                  </a:lnTo>
                  <a:lnTo>
                    <a:pt x="263" y="53"/>
                  </a:lnTo>
                  <a:lnTo>
                    <a:pt x="185" y="132"/>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158" name="Freeform 44">
              <a:extLst>
                <a:ext uri="{FF2B5EF4-FFF2-40B4-BE49-F238E27FC236}">
                  <a16:creationId xmlns:a16="http://schemas.microsoft.com/office/drawing/2014/main" id="{4BC8CEA6-C57E-4F7B-A57F-2A3E140774AF}"/>
                </a:ext>
              </a:extLst>
            </p:cNvPr>
            <p:cNvSpPr>
              <a:spLocks/>
            </p:cNvSpPr>
            <p:nvPr userDrawn="1"/>
          </p:nvSpPr>
          <p:spPr bwMode="ltGray">
            <a:xfrm>
              <a:off x="177800" y="606425"/>
              <a:ext cx="417513" cy="417513"/>
            </a:xfrm>
            <a:custGeom>
              <a:avLst/>
              <a:gdLst>
                <a:gd name="T0" fmla="*/ 0 w 263"/>
                <a:gd name="T1" fmla="*/ 211 h 263"/>
                <a:gd name="T2" fmla="*/ 80 w 263"/>
                <a:gd name="T3" fmla="*/ 131 h 263"/>
                <a:gd name="T4" fmla="*/ 0 w 263"/>
                <a:gd name="T5" fmla="*/ 53 h 263"/>
                <a:gd name="T6" fmla="*/ 53 w 263"/>
                <a:gd name="T7" fmla="*/ 0 h 263"/>
                <a:gd name="T8" fmla="*/ 132 w 263"/>
                <a:gd name="T9" fmla="*/ 79 h 263"/>
                <a:gd name="T10" fmla="*/ 210 w 263"/>
                <a:gd name="T11" fmla="*/ 0 h 263"/>
                <a:gd name="T12" fmla="*/ 263 w 263"/>
                <a:gd name="T13" fmla="*/ 53 h 263"/>
                <a:gd name="T14" fmla="*/ 185 w 263"/>
                <a:gd name="T15" fmla="*/ 131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1"/>
                  </a:lnTo>
                  <a:lnTo>
                    <a:pt x="0" y="53"/>
                  </a:lnTo>
                  <a:lnTo>
                    <a:pt x="53" y="0"/>
                  </a:lnTo>
                  <a:lnTo>
                    <a:pt x="132" y="79"/>
                  </a:lnTo>
                  <a:lnTo>
                    <a:pt x="210" y="0"/>
                  </a:lnTo>
                  <a:lnTo>
                    <a:pt x="263" y="53"/>
                  </a:lnTo>
                  <a:lnTo>
                    <a:pt x="185" y="131"/>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grpSp>
      <p:pic>
        <p:nvPicPr>
          <p:cNvPr id="85" name="Picture 84">
            <a:extLst>
              <a:ext uri="{FF2B5EF4-FFF2-40B4-BE49-F238E27FC236}">
                <a16:creationId xmlns:a16="http://schemas.microsoft.com/office/drawing/2014/main" id="{26EF00A0-5632-4E05-86CC-1BCC461D3DFE}"/>
              </a:ext>
            </a:extLst>
          </p:cNvPr>
          <p:cNvPicPr>
            <a:picLocks noChangeAspect="1"/>
          </p:cNvPicPr>
          <p:nvPr userDrawn="1"/>
        </p:nvPicPr>
        <p:blipFill>
          <a:blip r:embed="rId44"/>
          <a:stretch>
            <a:fillRect/>
          </a:stretch>
        </p:blipFill>
        <p:spPr>
          <a:xfrm>
            <a:off x="10441494" y="5761433"/>
            <a:ext cx="1718920" cy="966877"/>
          </a:xfrm>
          <a:prstGeom prst="rect">
            <a:avLst/>
          </a:prstGeom>
        </p:spPr>
      </p:pic>
    </p:spTree>
    <p:extLst>
      <p:ext uri="{BB962C8B-B14F-4D97-AF65-F5344CB8AC3E}">
        <p14:creationId xmlns:p14="http://schemas.microsoft.com/office/powerpoint/2010/main" val="2942191433"/>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Lst>
  <p:hf hdr="0" dt="0"/>
  <p:txStyles>
    <p:titleStyle>
      <a:lvl1pPr algn="l" defTabSz="913526" rtl="0" eaLnBrk="1" fontAlgn="base" hangingPunct="1">
        <a:spcBef>
          <a:spcPct val="0"/>
        </a:spcBef>
        <a:spcAft>
          <a:spcPct val="0"/>
        </a:spcAft>
        <a:tabLst>
          <a:tab pos="549088" algn="l"/>
        </a:tabLst>
        <a:defRPr sz="244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83654" indent="-183654" algn="l" defTabSz="913526" rtl="0" eaLnBrk="1" fontAlgn="base" hangingPunct="1">
        <a:spcBef>
          <a:spcPct val="0"/>
        </a:spcBef>
        <a:spcAft>
          <a:spcPct val="0"/>
        </a:spcAft>
        <a:buClr>
          <a:schemeClr val="tx2"/>
        </a:buClr>
        <a:buSzPct val="125000"/>
        <a:buFont typeface="Arial" pitchFamily="34" charset="0"/>
        <a:buChar char="•"/>
        <a:defRPr sz="1632" baseline="0">
          <a:solidFill>
            <a:schemeClr val="tx1"/>
          </a:solidFill>
          <a:latin typeface="+mn-lt"/>
        </a:defRPr>
      </a:lvl2pPr>
      <a:lvl3pPr marL="367308" indent="-183654"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550962" indent="-183654" algn="l" defTabSz="913526" rtl="0" eaLnBrk="1" fontAlgn="base" hangingPunct="1">
        <a:spcBef>
          <a:spcPct val="0"/>
        </a:spcBef>
        <a:spcAft>
          <a:spcPct val="0"/>
        </a:spcAft>
        <a:buClr>
          <a:schemeClr val="tx2"/>
        </a:buClr>
        <a:buSzPct val="120000"/>
        <a:buFont typeface="Arial" pitchFamily="34" charset="0"/>
        <a:buChar char="◦"/>
        <a:defRPr sz="1632" baseline="0">
          <a:solidFill>
            <a:schemeClr val="tx1"/>
          </a:solidFill>
          <a:latin typeface="+mn-lt"/>
        </a:defRPr>
      </a:lvl4pPr>
      <a:lvl5pPr marL="734616" indent="-183654"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13307527"/>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9" imgW="270" imgH="270" progId="TCLayout.ActiveDocument.1">
                  <p:embed/>
                </p:oleObj>
              </mc:Choice>
              <mc:Fallback>
                <p:oleObj name="think-cell Slide" r:id="rId39" imgW="270" imgH="270" progId="TCLayout.ActiveDocument.1">
                  <p:embed/>
                  <p:pic>
                    <p:nvPicPr>
                      <p:cNvPr id="2" name="Object 1" hidden="1"/>
                      <p:cNvPicPr/>
                      <p:nvPr/>
                    </p:nvPicPr>
                    <p:blipFill>
                      <a:blip r:embed="rId40"/>
                      <a:stretch>
                        <a:fillRect/>
                      </a:stretch>
                    </p:blipFill>
                    <p:spPr>
                      <a:xfrm>
                        <a:off x="0" y="0"/>
                        <a:ext cx="215979" cy="16197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13A703-F189-4854-97A2-C10D7EE5C491}"/>
              </a:ext>
            </a:extLst>
          </p:cNvPr>
          <p:cNvSpPr/>
          <p:nvPr userDrawn="1">
            <p:custDataLst>
              <p:tags r:id="rId6"/>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1036" name="Rectangle 286"/>
          <p:cNvSpPr>
            <a:spLocks noGrp="1" noChangeArrowheads="1"/>
          </p:cNvSpPr>
          <p:nvPr>
            <p:ph type="body" idx="1"/>
          </p:nvPr>
        </p:nvSpPr>
        <p:spPr bwMode="gray">
          <a:xfrm>
            <a:off x="839041" y="2698440"/>
            <a:ext cx="1111970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noProof="0" dirty="0"/>
              <a:t>Edit Master text styles</a:t>
            </a:r>
          </a:p>
          <a:p>
            <a:pPr lvl="1"/>
            <a:r>
              <a:rPr lang="nl-NL" noProof="0" dirty="0"/>
              <a:t>Second level</a:t>
            </a:r>
          </a:p>
          <a:p>
            <a:pPr lvl="2"/>
            <a:r>
              <a:rPr lang="nl-NL" noProof="0" dirty="0"/>
              <a:t>Third level</a:t>
            </a:r>
          </a:p>
          <a:p>
            <a:pPr lvl="3"/>
            <a:r>
              <a:rPr lang="nl-NL" noProof="0" dirty="0"/>
              <a:t>Fourth level</a:t>
            </a:r>
          </a:p>
          <a:p>
            <a:pPr lvl="4"/>
            <a:r>
              <a:rPr lang="nl-NL" noProof="0" dirty="0"/>
              <a:t>Fifth level</a:t>
            </a:r>
          </a:p>
        </p:txBody>
      </p:sp>
      <p:sp>
        <p:nvSpPr>
          <p:cNvPr id="19" name="Title Placeholder 2"/>
          <p:cNvSpPr>
            <a:spLocks noGrp="1" noChangeArrowheads="1"/>
          </p:cNvSpPr>
          <p:nvPr>
            <p:ph type="title"/>
          </p:nvPr>
        </p:nvSpPr>
        <p:spPr bwMode="gray">
          <a:xfrm>
            <a:off x="839041" y="283037"/>
            <a:ext cx="1111970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dirty="0"/>
              <a:t>Click to edit Master title style</a:t>
            </a:r>
          </a:p>
        </p:txBody>
      </p:sp>
      <p:sp>
        <p:nvSpPr>
          <p:cNvPr id="13" name="4. Footnote" hidden="1"/>
          <p:cNvSpPr txBox="1">
            <a:spLocks noChangeArrowheads="1"/>
          </p:cNvSpPr>
          <p:nvPr/>
        </p:nvSpPr>
        <p:spPr bwMode="gray">
          <a:xfrm>
            <a:off x="233259" y="6193144"/>
            <a:ext cx="117254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846" indent="-85846">
              <a:defRPr/>
            </a:pPr>
            <a:r>
              <a:rPr lang="nl-NL" sz="1020" baseline="0" noProof="0" dirty="0">
                <a:latin typeface="+mn-lt"/>
              </a:rPr>
              <a:t>1 Voetnoot </a:t>
            </a:r>
          </a:p>
        </p:txBody>
      </p:sp>
      <p:sp>
        <p:nvSpPr>
          <p:cNvPr id="14" name="5. Source" hidden="1"/>
          <p:cNvSpPr>
            <a:spLocks noChangeArrowheads="1"/>
          </p:cNvSpPr>
          <p:nvPr/>
        </p:nvSpPr>
        <p:spPr bwMode="gray">
          <a:xfrm>
            <a:off x="233259" y="6408862"/>
            <a:ext cx="11254650"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marL="319087" indent="-319087" defTabSz="913526">
              <a:tabLst/>
            </a:pPr>
            <a:r>
              <a:rPr lang="nl-NL" sz="1020" baseline="0" noProof="0" dirty="0">
                <a:solidFill>
                  <a:srgbClr val="000000"/>
                </a:solidFill>
                <a:latin typeface="+mn-lt"/>
              </a:rPr>
              <a:t>Bron: Bron</a:t>
            </a:r>
          </a:p>
        </p:txBody>
      </p:sp>
      <p:grpSp>
        <p:nvGrpSpPr>
          <p:cNvPr id="15" name="ACET" hidden="1"/>
          <p:cNvGrpSpPr>
            <a:grpSpLocks/>
          </p:cNvGrpSpPr>
          <p:nvPr/>
        </p:nvGrpSpPr>
        <p:grpSpPr bwMode="gray">
          <a:xfrm>
            <a:off x="233258" y="1895475"/>
            <a:ext cx="2317942" cy="531276"/>
            <a:chOff x="915" y="702"/>
            <a:chExt cx="2686" cy="328"/>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nl-NL" sz="1632" b="1" baseline="0" noProof="0" dirty="0">
                  <a:latin typeface="+mn-lt"/>
                  <a:ea typeface="+mn-ea"/>
                </a:rPr>
                <a:t>Titel</a:t>
              </a:r>
            </a:p>
            <a:p>
              <a:r>
                <a:rPr lang="nl-NL" sz="1632" baseline="0" noProof="0" dirty="0">
                  <a:solidFill>
                    <a:schemeClr val="tx1"/>
                  </a:solidFill>
                  <a:latin typeface="+mn-lt"/>
                  <a:ea typeface="+mn-ea"/>
                </a:rPr>
                <a:t>Meeteenheid</a:t>
              </a:r>
            </a:p>
          </p:txBody>
        </p:sp>
      </p:grpSp>
      <p:sp>
        <p:nvSpPr>
          <p:cNvPr id="3" name="pg number"/>
          <p:cNvSpPr>
            <a:spLocks/>
          </p:cNvSpPr>
          <p:nvPr/>
        </p:nvSpPr>
        <p:spPr bwMode="gray">
          <a:xfrm>
            <a:off x="11729760" y="6407190"/>
            <a:ext cx="228982" cy="160154"/>
          </a:xfrm>
          <a:prstGeom prst="rect">
            <a:avLst/>
          </a:prstGeom>
        </p:spPr>
        <p:txBody>
          <a:bodyPr vert="horz" wrap="none" lIns="0" tIns="0" rIns="0" bIns="0" rtlCol="0" anchor="ctr">
            <a:spAutoFit/>
          </a:bodyPr>
          <a:lstStyle/>
          <a:p>
            <a:pPr lvl="0" algn="r"/>
            <a:fld id="{42C328C1-A84F-4A39-A664-DBA00541A8C6}" type="slidenum">
              <a:rPr lang="nl-NL" sz="1020" noProof="0" smtClean="0">
                <a:latin typeface="+mn-lt"/>
              </a:rPr>
              <a:pPr lvl="0" algn="r"/>
              <a:t>‹nr.›</a:t>
            </a:fld>
            <a:endParaRPr lang="nl-NL" sz="1020" baseline="0" noProof="0" dirty="0">
              <a:solidFill>
                <a:schemeClr val="tx1"/>
              </a:solidFill>
              <a:latin typeface="+mn-lt"/>
            </a:endParaRPr>
          </a:p>
        </p:txBody>
      </p:sp>
      <p:sp>
        <p:nvSpPr>
          <p:cNvPr id="11" name="3. Unit of measure" hidden="1"/>
          <p:cNvSpPr txBox="1">
            <a:spLocks noChangeArrowheads="1"/>
          </p:cNvSpPr>
          <p:nvPr/>
        </p:nvSpPr>
        <p:spPr bwMode="gray">
          <a:xfrm>
            <a:off x="839041" y="721487"/>
            <a:ext cx="1111970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549088" algn="l"/>
              </a:tabLst>
              <a:defRPr/>
            </a:pPr>
            <a:r>
              <a:rPr lang="nl-NL" sz="1632" baseline="0" noProof="0" dirty="0">
                <a:solidFill>
                  <a:schemeClr val="tx1"/>
                </a:solidFill>
                <a:latin typeface="+mn-lt"/>
              </a:rPr>
              <a:t>Meeteenheid</a:t>
            </a:r>
          </a:p>
        </p:txBody>
      </p:sp>
      <p:sp>
        <p:nvSpPr>
          <p:cNvPr id="77" name="1. On-page tracker" hidden="1"/>
          <p:cNvSpPr>
            <a:spLocks noChangeArrowheads="1"/>
          </p:cNvSpPr>
          <p:nvPr/>
        </p:nvSpPr>
        <p:spPr bwMode="gray">
          <a:xfrm>
            <a:off x="839040" y="45940"/>
            <a:ext cx="768531"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549088" algn="l"/>
              </a:tabLst>
            </a:pPr>
            <a:r>
              <a:rPr lang="nl-NL" sz="1428" cap="all" baseline="0" dirty="0">
                <a:latin typeface="+mn-lt"/>
                <a:ea typeface="+mj-ea"/>
              </a:rPr>
              <a:t>TRACKER</a:t>
            </a:r>
          </a:p>
        </p:txBody>
      </p:sp>
      <p:sp>
        <p:nvSpPr>
          <p:cNvPr id="93" name="Oval" hidden="1"/>
          <p:cNvSpPr txBox="1">
            <a:spLocks/>
          </p:cNvSpPr>
          <p:nvPr>
            <p:custDataLst>
              <p:tags r:id="rId7"/>
            </p:custDataLst>
          </p:nvPr>
        </p:nvSpPr>
        <p:spPr bwMode="gray">
          <a:xfrm>
            <a:off x="6878923" y="1451179"/>
            <a:ext cx="1554978" cy="1554955"/>
          </a:xfrm>
          <a:prstGeom prst="ellipse">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731" tIns="36731" rIns="36731" bIns="36731"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a:r>
              <a:rPr lang="nl-NL" sz="1632" dirty="0">
                <a:latin typeface="+mn-lt"/>
              </a:rPr>
              <a:t>Text</a:t>
            </a:r>
          </a:p>
        </p:txBody>
      </p:sp>
      <p:sp>
        <p:nvSpPr>
          <p:cNvPr id="94" name="Body3" hidden="1"/>
          <p:cNvSpPr txBox="1">
            <a:spLocks/>
          </p:cNvSpPr>
          <p:nvPr>
            <p:custDataLst>
              <p:tags r:id="rId8"/>
            </p:custDataLst>
          </p:nvPr>
        </p:nvSpPr>
        <p:spPr bwMode="gray">
          <a:xfrm>
            <a:off x="3492958" y="1451179"/>
            <a:ext cx="1554978" cy="1554955"/>
          </a:xfrm>
          <a:prstGeom prst="rect">
            <a:avLst/>
          </a:prstGeom>
          <a:solidFill>
            <a:schemeClr val="accent1"/>
          </a:solidFill>
          <a:ln w="9525">
            <a:no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5" name="RoundedRectangle" hidden="1"/>
          <p:cNvSpPr txBox="1">
            <a:spLocks/>
          </p:cNvSpPr>
          <p:nvPr>
            <p:custDataLst>
              <p:tags r:id="rId9"/>
            </p:custDataLst>
          </p:nvPr>
        </p:nvSpPr>
        <p:spPr bwMode="gray">
          <a:xfrm>
            <a:off x="5185940" y="1451179"/>
            <a:ext cx="1554978" cy="1554955"/>
          </a:xfrm>
          <a:prstGeom prst="roundRect">
            <a:avLst/>
          </a:prstGeom>
          <a:solidFill>
            <a:schemeClr val="accent1"/>
          </a:solidFill>
          <a:ln w="9525">
            <a:no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6" name="Arrow" hidden="1"/>
          <p:cNvSpPr txBox="1"/>
          <p:nvPr>
            <p:custDataLst>
              <p:tags r:id="rId10"/>
            </p:custDataLst>
          </p:nvPr>
        </p:nvSpPr>
        <p:spPr bwMode="gray">
          <a:xfrm>
            <a:off x="3490717" y="4223444"/>
            <a:ext cx="1865974" cy="932973"/>
          </a:xfrm>
          <a:prstGeom prst="rightArrow">
            <a:avLst>
              <a:gd name="adj1" fmla="val 54000"/>
              <a:gd name="adj2" fmla="val 37676"/>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3462"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7" name="DirArrow" hidden="1"/>
          <p:cNvSpPr>
            <a:spLocks noChangeArrowheads="1"/>
          </p:cNvSpPr>
          <p:nvPr>
            <p:custDataLst>
              <p:tags r:id="rId11"/>
            </p:custDataLst>
          </p:nvPr>
        </p:nvSpPr>
        <p:spPr bwMode="gray">
          <a:xfrm rot="5400000">
            <a:off x="7170376" y="2852710"/>
            <a:ext cx="3153449" cy="350388"/>
          </a:xfrm>
          <a:prstGeom prst="triangle">
            <a:avLst>
              <a:gd name="adj" fmla="val 50000"/>
            </a:avLst>
          </a:prstGeom>
          <a:solidFill>
            <a:schemeClr val="accent1"/>
          </a:solidFill>
          <a:ln w="9525">
            <a:noFill/>
            <a:miter lim="800000"/>
            <a:headEnd/>
            <a:tailEnd/>
          </a:ln>
          <a:effectLst/>
        </p:spPr>
        <p:txBody>
          <a:bodyPr wrap="none" anchor="ctr"/>
          <a:lstStyle/>
          <a:p>
            <a:endParaRPr lang="nl-NL" sz="1632" dirty="0">
              <a:latin typeface="+mn-lt"/>
            </a:endParaRPr>
          </a:p>
        </p:txBody>
      </p:sp>
      <p:sp>
        <p:nvSpPr>
          <p:cNvPr id="98" name="Bracket" hidden="1"/>
          <p:cNvSpPr>
            <a:spLocks noChangeAspect="1"/>
          </p:cNvSpPr>
          <p:nvPr>
            <p:custDataLst>
              <p:tags r:id="rId12"/>
            </p:custDataLst>
          </p:nvPr>
        </p:nvSpPr>
        <p:spPr bwMode="gray">
          <a:xfrm>
            <a:off x="8179251" y="3148303"/>
            <a:ext cx="193510" cy="1865946"/>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2524"/>
              <a:gd name="connsiteY0" fmla="*/ 0 h 3096"/>
              <a:gd name="connsiteX1" fmla="*/ 2474 w 2524"/>
              <a:gd name="connsiteY1" fmla="*/ 1944 h 3096"/>
              <a:gd name="connsiteX2" fmla="*/ 2474 w 2524"/>
              <a:gd name="connsiteY2" fmla="*/ 2472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524"/>
              <a:gd name="connsiteY0" fmla="*/ 0 h 3096"/>
              <a:gd name="connsiteX1" fmla="*/ 38 w 2524"/>
              <a:gd name="connsiteY1" fmla="*/ 0 h 3096"/>
              <a:gd name="connsiteX2" fmla="*/ 2474 w 2524"/>
              <a:gd name="connsiteY2" fmla="*/ 2472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524"/>
              <a:gd name="connsiteY0" fmla="*/ 0 h 3096"/>
              <a:gd name="connsiteX1" fmla="*/ 38 w 2524"/>
              <a:gd name="connsiteY1" fmla="*/ 0 h 3096"/>
              <a:gd name="connsiteX2" fmla="*/ 38 w 2524"/>
              <a:gd name="connsiteY2" fmla="*/ 536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474"/>
              <a:gd name="connsiteY0" fmla="*/ 0 h 3096"/>
              <a:gd name="connsiteX1" fmla="*/ 38 w 2474"/>
              <a:gd name="connsiteY1" fmla="*/ 0 h 3096"/>
              <a:gd name="connsiteX2" fmla="*/ 38 w 2474"/>
              <a:gd name="connsiteY2" fmla="*/ 536 h 3096"/>
              <a:gd name="connsiteX3" fmla="*/ 57 w 2474"/>
              <a:gd name="connsiteY3" fmla="*/ 576 h 3096"/>
              <a:gd name="connsiteX4" fmla="*/ 2474 w 2474"/>
              <a:gd name="connsiteY4" fmla="*/ 2568 h 3096"/>
              <a:gd name="connsiteX5" fmla="*/ 2474 w 2474"/>
              <a:gd name="connsiteY5" fmla="*/ 3096 h 3096"/>
              <a:gd name="connsiteX6" fmla="*/ 2409 w 2474"/>
              <a:gd name="connsiteY6" fmla="*/ 3096 h 3096"/>
              <a:gd name="connsiteX0" fmla="*/ 0 w 2474"/>
              <a:gd name="connsiteY0" fmla="*/ 0 h 3096"/>
              <a:gd name="connsiteX1" fmla="*/ 38 w 2474"/>
              <a:gd name="connsiteY1" fmla="*/ 0 h 3096"/>
              <a:gd name="connsiteX2" fmla="*/ 38 w 2474"/>
              <a:gd name="connsiteY2" fmla="*/ 536 h 3096"/>
              <a:gd name="connsiteX3" fmla="*/ 57 w 2474"/>
              <a:gd name="connsiteY3" fmla="*/ 576 h 3096"/>
              <a:gd name="connsiteX4" fmla="*/ 38 w 2474"/>
              <a:gd name="connsiteY4" fmla="*/ 616 h 3096"/>
              <a:gd name="connsiteX5" fmla="*/ 2474 w 2474"/>
              <a:gd name="connsiteY5" fmla="*/ 3096 h 3096"/>
              <a:gd name="connsiteX6" fmla="*/ 2409 w 2474"/>
              <a:gd name="connsiteY6" fmla="*/ 3096 h 3096"/>
              <a:gd name="connsiteX0" fmla="*/ 0 w 2409"/>
              <a:gd name="connsiteY0" fmla="*/ 0 h 3096"/>
              <a:gd name="connsiteX1" fmla="*/ 38 w 2409"/>
              <a:gd name="connsiteY1" fmla="*/ 0 h 3096"/>
              <a:gd name="connsiteX2" fmla="*/ 38 w 2409"/>
              <a:gd name="connsiteY2" fmla="*/ 536 h 3096"/>
              <a:gd name="connsiteX3" fmla="*/ 57 w 2409"/>
              <a:gd name="connsiteY3" fmla="*/ 576 h 3096"/>
              <a:gd name="connsiteX4" fmla="*/ 38 w 2409"/>
              <a:gd name="connsiteY4" fmla="*/ 616 h 3096"/>
              <a:gd name="connsiteX5" fmla="*/ 38 w 2409"/>
              <a:gd name="connsiteY5" fmla="*/ 1152 h 3096"/>
              <a:gd name="connsiteX6" fmla="*/ 2409 w 2409"/>
              <a:gd name="connsiteY6" fmla="*/ 3096 h 3096"/>
              <a:gd name="connsiteX0" fmla="*/ 0 w 57"/>
              <a:gd name="connsiteY0" fmla="*/ 0 h 1152"/>
              <a:gd name="connsiteX1" fmla="*/ 38 w 57"/>
              <a:gd name="connsiteY1" fmla="*/ 0 h 1152"/>
              <a:gd name="connsiteX2" fmla="*/ 38 w 57"/>
              <a:gd name="connsiteY2" fmla="*/ 536 h 1152"/>
              <a:gd name="connsiteX3" fmla="*/ 57 w 57"/>
              <a:gd name="connsiteY3" fmla="*/ 576 h 1152"/>
              <a:gd name="connsiteX4" fmla="*/ 38 w 57"/>
              <a:gd name="connsiteY4" fmla="*/ 616 h 1152"/>
              <a:gd name="connsiteX5" fmla="*/ 38 w 57"/>
              <a:gd name="connsiteY5" fmla="*/ 1152 h 1152"/>
              <a:gd name="connsiteX6" fmla="*/ 0 w 57"/>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 h="1152">
                <a:moveTo>
                  <a:pt x="0" y="0"/>
                </a:moveTo>
                <a:lnTo>
                  <a:pt x="38" y="0"/>
                </a:lnTo>
                <a:lnTo>
                  <a:pt x="38" y="536"/>
                </a:lnTo>
                <a:lnTo>
                  <a:pt x="57" y="576"/>
                </a:lnTo>
                <a:lnTo>
                  <a:pt x="38" y="616"/>
                </a:lnTo>
                <a:lnTo>
                  <a:pt x="38"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632" dirty="0">
              <a:latin typeface="+mn-lt"/>
            </a:endParaRPr>
          </a:p>
        </p:txBody>
      </p:sp>
      <p:grpSp>
        <p:nvGrpSpPr>
          <p:cNvPr id="99" name="Flow" hidden="1"/>
          <p:cNvGrpSpPr/>
          <p:nvPr>
            <p:custDataLst>
              <p:tags r:id="rId13"/>
            </p:custDataLst>
          </p:nvPr>
        </p:nvGrpSpPr>
        <p:grpSpPr bwMode="gray">
          <a:xfrm>
            <a:off x="3492958" y="3148303"/>
            <a:ext cx="1865974" cy="932973"/>
            <a:chOff x="5905500" y="3124200"/>
            <a:chExt cx="1828800" cy="914400"/>
          </a:xfrm>
        </p:grpSpPr>
        <p:sp>
          <p:nvSpPr>
            <p:cNvPr id="100" name="Freeform 99"/>
            <p:cNvSpPr/>
            <p:nvPr>
              <p:custDataLst>
                <p:tags r:id="rId37"/>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1" name="TextBox 100"/>
            <p:cNvSpPr txBox="1"/>
            <p:nvPr>
              <p:custDataLst>
                <p:tags r:id="rId38"/>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grpSp>
      <p:grpSp>
        <p:nvGrpSpPr>
          <p:cNvPr id="102" name="SplitFlow" hidden="1"/>
          <p:cNvGrpSpPr/>
          <p:nvPr>
            <p:custDataLst>
              <p:tags r:id="rId14"/>
            </p:custDataLst>
          </p:nvPr>
        </p:nvGrpSpPr>
        <p:grpSpPr bwMode="gray">
          <a:xfrm>
            <a:off x="5538529" y="3148303"/>
            <a:ext cx="1865974" cy="932973"/>
            <a:chOff x="114300" y="1270000"/>
            <a:chExt cx="1828800" cy="914400"/>
          </a:xfrm>
        </p:grpSpPr>
        <p:sp>
          <p:nvSpPr>
            <p:cNvPr id="103" name="Freeform 102"/>
            <p:cNvSpPr/>
            <p:nvPr>
              <p:custDataLst>
                <p:tags r:id="rId33"/>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4" name="TextBox 103"/>
            <p:cNvSpPr txBox="1"/>
            <p:nvPr>
              <p:custDataLst>
                <p:tags r:id="rId34"/>
              </p:custDataLst>
            </p:nvPr>
          </p:nvSpPr>
          <p:spPr bwMode="gray">
            <a:xfrm>
              <a:off x="177800" y="13271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sp>
          <p:nvSpPr>
            <p:cNvPr id="105" name="Freeform 104"/>
            <p:cNvSpPr/>
            <p:nvPr>
              <p:custDataLst>
                <p:tags r:id="rId35"/>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6" name="TextBox 105"/>
            <p:cNvSpPr txBox="1"/>
            <p:nvPr>
              <p:custDataLst>
                <p:tags r:id="rId36"/>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grpSp>
      <p:grpSp>
        <p:nvGrpSpPr>
          <p:cNvPr id="107" name="LegendBoxes" hidden="1"/>
          <p:cNvGrpSpPr>
            <a:grpSpLocks/>
          </p:cNvGrpSpPr>
          <p:nvPr/>
        </p:nvGrpSpPr>
        <p:grpSpPr bwMode="gray">
          <a:xfrm>
            <a:off x="11134285" y="721486"/>
            <a:ext cx="835802" cy="1022061"/>
            <a:chOff x="4936" y="176"/>
            <a:chExt cx="516" cy="631"/>
          </a:xfrm>
        </p:grpSpPr>
        <p:sp>
          <p:nvSpPr>
            <p:cNvPr id="108" name="Legend1"/>
            <p:cNvSpPr>
              <a:spLocks noChangeArrowheads="1"/>
            </p:cNvSpPr>
            <p:nvPr/>
          </p:nvSpPr>
          <p:spPr bwMode="gray">
            <a:xfrm>
              <a:off x="5096" y="176"/>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09" name="LegendRectangle1"/>
            <p:cNvSpPr>
              <a:spLocks noChangeArrowheads="1"/>
            </p:cNvSpPr>
            <p:nvPr/>
          </p:nvSpPr>
          <p:spPr bwMode="gray">
            <a:xfrm>
              <a:off x="4936" y="182"/>
              <a:ext cx="104" cy="104"/>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0" name="Legend2"/>
            <p:cNvSpPr>
              <a:spLocks noChangeArrowheads="1"/>
            </p:cNvSpPr>
            <p:nvPr/>
          </p:nvSpPr>
          <p:spPr bwMode="gray">
            <a:xfrm>
              <a:off x="5096" y="347"/>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1" name="LegendRectangle2"/>
            <p:cNvSpPr>
              <a:spLocks noChangeArrowheads="1"/>
            </p:cNvSpPr>
            <p:nvPr/>
          </p:nvSpPr>
          <p:spPr bwMode="gray">
            <a:xfrm>
              <a:off x="4936" y="353"/>
              <a:ext cx="104" cy="104"/>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2" name="Legend3"/>
            <p:cNvSpPr>
              <a:spLocks noChangeArrowheads="1"/>
            </p:cNvSpPr>
            <p:nvPr/>
          </p:nvSpPr>
          <p:spPr bwMode="gray">
            <a:xfrm>
              <a:off x="5096" y="517"/>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3" name="LegendRectangle3"/>
            <p:cNvSpPr>
              <a:spLocks noChangeArrowheads="1"/>
            </p:cNvSpPr>
            <p:nvPr/>
          </p:nvSpPr>
          <p:spPr bwMode="gray">
            <a:xfrm>
              <a:off x="4936" y="523"/>
              <a:ext cx="104" cy="104"/>
            </a:xfrm>
            <a:prstGeom prst="rect">
              <a:avLst/>
            </a:prstGeom>
            <a:solidFill>
              <a:schemeClr val="accent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4" name="Legend4"/>
            <p:cNvSpPr>
              <a:spLocks noChangeArrowheads="1"/>
            </p:cNvSpPr>
            <p:nvPr/>
          </p:nvSpPr>
          <p:spPr bwMode="gray">
            <a:xfrm>
              <a:off x="5096" y="688"/>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5" name="LegendRectangle4"/>
            <p:cNvSpPr>
              <a:spLocks noChangeArrowheads="1"/>
            </p:cNvSpPr>
            <p:nvPr/>
          </p:nvSpPr>
          <p:spPr bwMode="gray">
            <a:xfrm>
              <a:off x="4936" y="694"/>
              <a:ext cx="104" cy="104"/>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16" name="LegendLines" hidden="1"/>
          <p:cNvGrpSpPr>
            <a:grpSpLocks/>
          </p:cNvGrpSpPr>
          <p:nvPr/>
        </p:nvGrpSpPr>
        <p:grpSpPr bwMode="gray">
          <a:xfrm>
            <a:off x="10820047" y="721486"/>
            <a:ext cx="1150037" cy="749943"/>
            <a:chOff x="4750" y="176"/>
            <a:chExt cx="710" cy="463"/>
          </a:xfrm>
        </p:grpSpPr>
        <p:sp>
          <p:nvSpPr>
            <p:cNvPr id="117" name="LineLegend1"/>
            <p:cNvSpPr>
              <a:spLocks noChangeShapeType="1"/>
            </p:cNvSpPr>
            <p:nvPr/>
          </p:nvSpPr>
          <p:spPr bwMode="gray">
            <a:xfrm>
              <a:off x="4750" y="234"/>
              <a:ext cx="288" cy="0"/>
            </a:xfrm>
            <a:prstGeom prst="line">
              <a:avLst/>
            </a:prstGeom>
            <a:noFill/>
            <a:ln w="2857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18" name="LineLegend2"/>
            <p:cNvSpPr>
              <a:spLocks noChangeShapeType="1"/>
            </p:cNvSpPr>
            <p:nvPr/>
          </p:nvSpPr>
          <p:spPr bwMode="gray">
            <a:xfrm>
              <a:off x="4750" y="406"/>
              <a:ext cx="288" cy="0"/>
            </a:xfrm>
            <a:prstGeom prst="line">
              <a:avLst/>
            </a:prstGeom>
            <a:noFill/>
            <a:ln w="28575">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19" name="LineLegend3"/>
            <p:cNvSpPr>
              <a:spLocks noChangeShapeType="1"/>
            </p:cNvSpPr>
            <p:nvPr/>
          </p:nvSpPr>
          <p:spPr bwMode="gray">
            <a:xfrm>
              <a:off x="4750" y="578"/>
              <a:ext cx="288" cy="0"/>
            </a:xfrm>
            <a:prstGeom prst="line">
              <a:avLst/>
            </a:prstGeom>
            <a:noFill/>
            <a:ln w="28575">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20" name="Legend1"/>
            <p:cNvSpPr>
              <a:spLocks noChangeArrowheads="1"/>
            </p:cNvSpPr>
            <p:nvPr/>
          </p:nvSpPr>
          <p:spPr bwMode="gray">
            <a:xfrm>
              <a:off x="5104" y="176"/>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21" name="Legend2"/>
            <p:cNvSpPr>
              <a:spLocks noChangeArrowheads="1"/>
            </p:cNvSpPr>
            <p:nvPr/>
          </p:nvSpPr>
          <p:spPr bwMode="gray">
            <a:xfrm>
              <a:off x="5104" y="348"/>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22" name="Legend3"/>
            <p:cNvSpPr>
              <a:spLocks noChangeArrowheads="1"/>
            </p:cNvSpPr>
            <p:nvPr/>
          </p:nvSpPr>
          <p:spPr bwMode="gray">
            <a:xfrm>
              <a:off x="5104" y="520"/>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grpSp>
      <p:grpSp>
        <p:nvGrpSpPr>
          <p:cNvPr id="123" name="Sticker" hidden="1"/>
          <p:cNvGrpSpPr/>
          <p:nvPr/>
        </p:nvGrpSpPr>
        <p:grpSpPr bwMode="gray">
          <a:xfrm>
            <a:off x="11368295" y="719589"/>
            <a:ext cx="590448" cy="250146"/>
            <a:chOff x="8162090" y="283891"/>
            <a:chExt cx="578685" cy="245166"/>
          </a:xfrm>
        </p:grpSpPr>
        <p:sp>
          <p:nvSpPr>
            <p:cNvPr id="124" name="StickerRectangle"/>
            <p:cNvSpPr>
              <a:spLocks noChangeArrowheads="1"/>
            </p:cNvSpPr>
            <p:nvPr/>
          </p:nvSpPr>
          <p:spPr bwMode="gray">
            <a:xfrm>
              <a:off x="8162090" y="283891"/>
              <a:ext cx="578685" cy="2451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913526">
                <a:buClr>
                  <a:schemeClr val="tx2"/>
                </a:buClr>
              </a:pPr>
              <a:r>
                <a:rPr lang="nl-NL" sz="1224" noProof="0" dirty="0">
                  <a:solidFill>
                    <a:schemeClr val="tx1"/>
                  </a:solidFill>
                  <a:latin typeface="+mn-lt"/>
                </a:rPr>
                <a:t>STICKER</a:t>
              </a:r>
            </a:p>
          </p:txBody>
        </p:sp>
        <p:cxnSp>
          <p:nvCxnSpPr>
            <p:cNvPr id="125" name="AutoShape 32"/>
            <p:cNvCxnSpPr>
              <a:cxnSpLocks noChangeShapeType="1"/>
              <a:stCxn id="124" idx="4"/>
              <a:endCxn id="124" idx="6"/>
            </p:cNvCxnSpPr>
            <p:nvPr/>
          </p:nvCxnSpPr>
          <p:spPr bwMode="gray">
            <a:xfrm>
              <a:off x="8162090" y="529057"/>
              <a:ext cx="57868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2"/>
              <a:endCxn id="124" idx="0"/>
            </p:cNvCxnSpPr>
            <p:nvPr userDrawn="1"/>
          </p:nvCxnSpPr>
          <p:spPr bwMode="gray">
            <a:xfrm>
              <a:off x="8162090" y="283891"/>
              <a:ext cx="57868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8" name="LegendMoons" hidden="1">
            <a:extLst>
              <a:ext uri="{FF2B5EF4-FFF2-40B4-BE49-F238E27FC236}">
                <a16:creationId xmlns:a16="http://schemas.microsoft.com/office/drawing/2014/main" id="{9D74EF3F-2EAF-4D4B-8FF9-DE4300E7A04F}"/>
              </a:ext>
            </a:extLst>
          </p:cNvPr>
          <p:cNvGrpSpPr/>
          <p:nvPr userDrawn="1"/>
        </p:nvGrpSpPr>
        <p:grpSpPr bwMode="gray">
          <a:xfrm>
            <a:off x="11065636" y="721486"/>
            <a:ext cx="904556" cy="1333317"/>
            <a:chOff x="9205424" y="664256"/>
            <a:chExt cx="886536" cy="1306774"/>
          </a:xfrm>
        </p:grpSpPr>
        <p:grpSp>
          <p:nvGrpSpPr>
            <p:cNvPr id="128" name="MoonLegend1"/>
            <p:cNvGrpSpPr>
              <a:grpSpLocks noChangeAspect="1"/>
            </p:cNvGrpSpPr>
            <p:nvPr>
              <p:custDataLst>
                <p:tags r:id="rId18"/>
              </p:custDataLst>
            </p:nvPr>
          </p:nvGrpSpPr>
          <p:grpSpPr bwMode="gray">
            <a:xfrm>
              <a:off x="9205424" y="664256"/>
              <a:ext cx="209550" cy="209551"/>
              <a:chOff x="4533" y="183"/>
              <a:chExt cx="144" cy="144"/>
            </a:xfrm>
          </p:grpSpPr>
          <p:sp>
            <p:nvSpPr>
              <p:cNvPr id="146" name="Oval 38"/>
              <p:cNvSpPr>
                <a:spLocks noChangeAspect="1" noChangeArrowheads="1"/>
              </p:cNvSpPr>
              <p:nvPr>
                <p:custDataLst>
                  <p:tags r:id="rId31"/>
                </p:custDataLst>
              </p:nvPr>
            </p:nvSpPr>
            <p:spPr bwMode="gray">
              <a:xfrm>
                <a:off x="4533" y="183"/>
                <a:ext cx="144" cy="144"/>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7" name="Arc 39"/>
              <p:cNvSpPr>
                <a:spLocks noChangeAspect="1"/>
              </p:cNvSpPr>
              <p:nvPr>
                <p:custDataLst>
                  <p:tags r:id="rId32"/>
                </p:custDataLst>
              </p:nvPr>
            </p:nvSpPr>
            <p:spPr bwMode="gray">
              <a:xfrm>
                <a:off x="4533" y="183"/>
                <a:ext cx="144" cy="144"/>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29" name="MoonLegend2"/>
            <p:cNvGrpSpPr>
              <a:grpSpLocks noChangeAspect="1"/>
            </p:cNvGrpSpPr>
            <p:nvPr>
              <p:custDataLst>
                <p:tags r:id="rId19"/>
              </p:custDataLst>
            </p:nvPr>
          </p:nvGrpSpPr>
          <p:grpSpPr bwMode="gray">
            <a:xfrm>
              <a:off x="9205424" y="938562"/>
              <a:ext cx="209550" cy="209551"/>
              <a:chOff x="1694" y="2044"/>
              <a:chExt cx="160" cy="160"/>
            </a:xfrm>
          </p:grpSpPr>
          <p:sp>
            <p:nvSpPr>
              <p:cNvPr id="144" name="Oval 41"/>
              <p:cNvSpPr>
                <a:spLocks noChangeAspect="1" noChangeArrowheads="1"/>
              </p:cNvSpPr>
              <p:nvPr>
                <p:custDataLst>
                  <p:tags r:id="rId29"/>
                </p:custDataLst>
              </p:nvPr>
            </p:nvSpPr>
            <p:spPr bwMode="gray">
              <a:xfrm>
                <a:off x="1694" y="2044"/>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5" name="Arc 42"/>
              <p:cNvSpPr>
                <a:spLocks noChangeAspect="1"/>
              </p:cNvSpPr>
              <p:nvPr>
                <p:custDataLst>
                  <p:tags r:id="rId30"/>
                </p:custDataLst>
              </p:nvPr>
            </p:nvSpPr>
            <p:spPr bwMode="gray">
              <a:xfrm>
                <a:off x="1694" y="2044"/>
                <a:ext cx="160" cy="160"/>
              </a:xfrm>
              <a:prstGeom prst="arc">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30" name="MoonLegend4"/>
            <p:cNvGrpSpPr>
              <a:grpSpLocks noChangeAspect="1"/>
            </p:cNvGrpSpPr>
            <p:nvPr>
              <p:custDataLst>
                <p:tags r:id="rId20"/>
              </p:custDataLst>
            </p:nvPr>
          </p:nvGrpSpPr>
          <p:grpSpPr bwMode="gray">
            <a:xfrm>
              <a:off x="9205424" y="1487174"/>
              <a:ext cx="209550" cy="209551"/>
              <a:chOff x="4495" y="1198"/>
              <a:chExt cx="160" cy="160"/>
            </a:xfrm>
          </p:grpSpPr>
          <p:sp>
            <p:nvSpPr>
              <p:cNvPr id="142" name="Oval 47"/>
              <p:cNvSpPr>
                <a:spLocks noChangeAspect="1" noChangeArrowheads="1"/>
              </p:cNvSpPr>
              <p:nvPr>
                <p:custDataLst>
                  <p:tags r:id="rId27"/>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3" name="Arc 48"/>
              <p:cNvSpPr>
                <a:spLocks noChangeAspect="1"/>
              </p:cNvSpPr>
              <p:nvPr>
                <p:custDataLst>
                  <p:tags r:id="rId28"/>
                </p:custDataLst>
              </p:nvPr>
            </p:nvSpPr>
            <p:spPr bwMode="gray">
              <a:xfrm>
                <a:off x="4495" y="1198"/>
                <a:ext cx="160" cy="160"/>
              </a:xfrm>
              <a:prstGeom prst="arc">
                <a:avLst>
                  <a:gd name="adj1" fmla="val 16200000"/>
                  <a:gd name="adj2" fmla="val 108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31" name="MoonLegend5"/>
            <p:cNvGrpSpPr>
              <a:grpSpLocks noChangeAspect="1"/>
            </p:cNvGrpSpPr>
            <p:nvPr>
              <p:custDataLst>
                <p:tags r:id="rId21"/>
              </p:custDataLst>
            </p:nvPr>
          </p:nvGrpSpPr>
          <p:grpSpPr bwMode="gray">
            <a:xfrm>
              <a:off x="9205424" y="1761479"/>
              <a:ext cx="209550" cy="209551"/>
              <a:chOff x="4495" y="1440"/>
              <a:chExt cx="160" cy="160"/>
            </a:xfrm>
          </p:grpSpPr>
          <p:sp>
            <p:nvSpPr>
              <p:cNvPr id="140" name="Oval 50"/>
              <p:cNvSpPr>
                <a:spLocks noChangeAspect="1" noChangeArrowheads="1"/>
              </p:cNvSpPr>
              <p:nvPr>
                <p:custDataLst>
                  <p:tags r:id="rId25"/>
                </p:custDataLst>
              </p:nvPr>
            </p:nvSpPr>
            <p:spPr bwMode="gray">
              <a:xfrm>
                <a:off x="4495" y="1440"/>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1" name="Oval 51"/>
              <p:cNvSpPr>
                <a:spLocks noChangeAspect="1" noChangeArrowheads="1"/>
              </p:cNvSpPr>
              <p:nvPr>
                <p:custDataLst>
                  <p:tags r:id="rId26"/>
                </p:custDataLst>
              </p:nvPr>
            </p:nvSpPr>
            <p:spPr bwMode="gray">
              <a:xfrm>
                <a:off x="4495" y="1440"/>
                <a:ext cx="160" cy="160"/>
              </a:xfrm>
              <a:prstGeom prst="arc">
                <a:avLst>
                  <a:gd name="adj1" fmla="val 16200000"/>
                  <a:gd name="adj2" fmla="val 162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sp>
          <p:nvSpPr>
            <p:cNvPr id="132" name="Legend1"/>
            <p:cNvSpPr>
              <a:spLocks noChangeArrowheads="1"/>
            </p:cNvSpPr>
            <p:nvPr/>
          </p:nvSpPr>
          <p:spPr bwMode="gray">
            <a:xfrm>
              <a:off x="9526099" y="676699"/>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3" name="Legend2"/>
            <p:cNvSpPr>
              <a:spLocks noChangeArrowheads="1"/>
            </p:cNvSpPr>
            <p:nvPr/>
          </p:nvSpPr>
          <p:spPr bwMode="gray">
            <a:xfrm>
              <a:off x="9526099" y="951005"/>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4" name="Legend3"/>
            <p:cNvSpPr>
              <a:spLocks noChangeArrowheads="1"/>
            </p:cNvSpPr>
            <p:nvPr/>
          </p:nvSpPr>
          <p:spPr bwMode="gray">
            <a:xfrm>
              <a:off x="9526099" y="1225311"/>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5" name="Legend4"/>
            <p:cNvSpPr>
              <a:spLocks noChangeArrowheads="1"/>
            </p:cNvSpPr>
            <p:nvPr/>
          </p:nvSpPr>
          <p:spPr bwMode="gray">
            <a:xfrm>
              <a:off x="9526099" y="1499617"/>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6" name="Legend5"/>
            <p:cNvSpPr>
              <a:spLocks noChangeArrowheads="1"/>
            </p:cNvSpPr>
            <p:nvPr/>
          </p:nvSpPr>
          <p:spPr bwMode="gray">
            <a:xfrm>
              <a:off x="9526099" y="1773922"/>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grpSp>
          <p:nvGrpSpPr>
            <p:cNvPr id="137" name="MoonLegend3"/>
            <p:cNvGrpSpPr>
              <a:grpSpLocks noChangeAspect="1"/>
            </p:cNvGrpSpPr>
            <p:nvPr>
              <p:custDataLst>
                <p:tags r:id="rId22"/>
              </p:custDataLst>
            </p:nvPr>
          </p:nvGrpSpPr>
          <p:grpSpPr bwMode="gray">
            <a:xfrm>
              <a:off x="9205424" y="1212868"/>
              <a:ext cx="209550" cy="209551"/>
              <a:chOff x="4495" y="1198"/>
              <a:chExt cx="160" cy="160"/>
            </a:xfrm>
          </p:grpSpPr>
          <p:sp>
            <p:nvSpPr>
              <p:cNvPr id="138" name="Oval 47"/>
              <p:cNvSpPr>
                <a:spLocks noChangeAspect="1" noChangeArrowheads="1"/>
              </p:cNvSpPr>
              <p:nvPr>
                <p:custDataLst>
                  <p:tags r:id="rId23"/>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39" name="Arc 48"/>
              <p:cNvSpPr>
                <a:spLocks noChangeAspect="1"/>
              </p:cNvSpPr>
              <p:nvPr>
                <p:custDataLst>
                  <p:tags r:id="rId24"/>
                </p:custDataLst>
              </p:nvPr>
            </p:nvSpPr>
            <p:spPr bwMode="gray">
              <a:xfrm>
                <a:off x="4495" y="1198"/>
                <a:ext cx="160" cy="160"/>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grpSp>
        <p:nvGrpSpPr>
          <p:cNvPr id="148" name="Moon" hidden="1"/>
          <p:cNvGrpSpPr/>
          <p:nvPr>
            <p:custDataLst>
              <p:tags r:id="rId15"/>
            </p:custDataLst>
          </p:nvPr>
        </p:nvGrpSpPr>
        <p:grpSpPr bwMode="gray">
          <a:xfrm>
            <a:off x="11699579" y="2698440"/>
            <a:ext cx="259163" cy="259159"/>
            <a:chOff x="762000" y="1270000"/>
            <a:chExt cx="254000" cy="254000"/>
          </a:xfrm>
        </p:grpSpPr>
        <p:sp>
          <p:nvSpPr>
            <p:cNvPr id="149" name="Oval 148"/>
            <p:cNvSpPr/>
            <p:nvPr/>
          </p:nvSpPr>
          <p:spPr bwMode="gray">
            <a:xfrm>
              <a:off x="762000" y="1270000"/>
              <a:ext cx="254000" cy="254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37" dirty="0">
                <a:solidFill>
                  <a:schemeClr val="tx1"/>
                </a:solidFill>
              </a:endParaRPr>
            </a:p>
          </p:txBody>
        </p:sp>
        <p:sp>
          <p:nvSpPr>
            <p:cNvPr id="150" name="Arc 149"/>
            <p:cNvSpPr/>
            <p:nvPr/>
          </p:nvSpPr>
          <p:spPr bwMode="gray">
            <a:xfrm>
              <a:off x="762000" y="1270000"/>
              <a:ext cx="254000" cy="254000"/>
            </a:xfrm>
            <a:prstGeom prst="arc">
              <a:avLst/>
            </a:prstGeom>
            <a:solidFill>
              <a:schemeClr val="accent4"/>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837" dirty="0"/>
            </a:p>
          </p:txBody>
        </p:sp>
      </p:grpSp>
      <p:sp>
        <p:nvSpPr>
          <p:cNvPr id="72" name="SingleChevron" hidden="1">
            <a:extLst>
              <a:ext uri="{FF2B5EF4-FFF2-40B4-BE49-F238E27FC236}">
                <a16:creationId xmlns:a16="http://schemas.microsoft.com/office/drawing/2014/main" id="{F76CFF7D-6557-4985-9AC8-0BA5374E926A}"/>
              </a:ext>
            </a:extLst>
          </p:cNvPr>
          <p:cNvSpPr>
            <a:spLocks noChangeAspect="1"/>
          </p:cNvSpPr>
          <p:nvPr/>
        </p:nvSpPr>
        <p:spPr bwMode="gray">
          <a:xfrm>
            <a:off x="5558038" y="4431545"/>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nvGrpSpPr>
          <p:cNvPr id="73" name="DoubleChevron2" hidden="1">
            <a:extLst>
              <a:ext uri="{FF2B5EF4-FFF2-40B4-BE49-F238E27FC236}">
                <a16:creationId xmlns:a16="http://schemas.microsoft.com/office/drawing/2014/main" id="{03430B6D-F4A8-4F59-B66C-8C207F43DAF7}"/>
              </a:ext>
            </a:extLst>
          </p:cNvPr>
          <p:cNvGrpSpPr>
            <a:grpSpLocks noChangeAspect="1"/>
          </p:cNvGrpSpPr>
          <p:nvPr/>
        </p:nvGrpSpPr>
        <p:grpSpPr bwMode="gray">
          <a:xfrm>
            <a:off x="6852326" y="4431545"/>
            <a:ext cx="1268194" cy="1554955"/>
            <a:chOff x="1270000" y="1270000"/>
            <a:chExt cx="2951957" cy="3619500"/>
          </a:xfrm>
          <a:solidFill>
            <a:schemeClr val="accent1"/>
          </a:solidFill>
        </p:grpSpPr>
        <p:sp>
          <p:nvSpPr>
            <p:cNvPr id="78" name="Chevron1">
              <a:extLst>
                <a:ext uri="{FF2B5EF4-FFF2-40B4-BE49-F238E27FC236}">
                  <a16:creationId xmlns:a16="http://schemas.microsoft.com/office/drawing/2014/main" id="{BEF86B13-F0F9-44E8-BC82-D3B1F01A2E04}"/>
                </a:ext>
              </a:extLst>
            </p:cNvPr>
            <p:cNvSpPr>
              <a:spLocks noChangeAspect="1"/>
            </p:cNvSpPr>
            <p:nvPr userDrawn="1"/>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sp>
          <p:nvSpPr>
            <p:cNvPr id="79" name="Chevron2">
              <a:extLst>
                <a:ext uri="{FF2B5EF4-FFF2-40B4-BE49-F238E27FC236}">
                  <a16:creationId xmlns:a16="http://schemas.microsoft.com/office/drawing/2014/main" id="{8DE836DF-98B4-4DEB-AD7B-399DB9FCD487}"/>
                </a:ext>
              </a:extLst>
            </p:cNvPr>
            <p:cNvSpPr>
              <a:spLocks noChangeAspect="1"/>
            </p:cNvSpPr>
            <p:nvPr userDrawn="1"/>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grpSp>
        <p:nvGrpSpPr>
          <p:cNvPr id="74" name="DoubleChevron" hidden="1">
            <a:extLst>
              <a:ext uri="{FF2B5EF4-FFF2-40B4-BE49-F238E27FC236}">
                <a16:creationId xmlns:a16="http://schemas.microsoft.com/office/drawing/2014/main" id="{DD1F7A8A-45A7-4E8C-8541-B4A77C4549C2}"/>
              </a:ext>
            </a:extLst>
          </p:cNvPr>
          <p:cNvGrpSpPr>
            <a:grpSpLocks noChangeAspect="1"/>
          </p:cNvGrpSpPr>
          <p:nvPr/>
        </p:nvGrpSpPr>
        <p:grpSpPr bwMode="gray">
          <a:xfrm>
            <a:off x="6027861" y="4431545"/>
            <a:ext cx="1034947" cy="1554955"/>
            <a:chOff x="1270000" y="1270000"/>
            <a:chExt cx="2409032" cy="3619500"/>
          </a:xfrm>
          <a:solidFill>
            <a:schemeClr val="accent1"/>
          </a:solidFill>
        </p:grpSpPr>
        <p:sp>
          <p:nvSpPr>
            <p:cNvPr id="75" name="Chevron1">
              <a:extLst>
                <a:ext uri="{FF2B5EF4-FFF2-40B4-BE49-F238E27FC236}">
                  <a16:creationId xmlns:a16="http://schemas.microsoft.com/office/drawing/2014/main" id="{FE91783C-386A-49DF-98E2-044BFF2D9715}"/>
                </a:ext>
              </a:extLst>
            </p:cNvPr>
            <p:cNvSpPr>
              <a:spLocks noChangeAspect="1"/>
            </p:cNvSpPr>
            <p:nvPr userDrawn="1"/>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sp>
          <p:nvSpPr>
            <p:cNvPr id="76" name="Chevron2">
              <a:extLst>
                <a:ext uri="{FF2B5EF4-FFF2-40B4-BE49-F238E27FC236}">
                  <a16:creationId xmlns:a16="http://schemas.microsoft.com/office/drawing/2014/main" id="{23EED61E-5E5B-4DC3-AA5C-EF1657A66CE6}"/>
                </a:ext>
              </a:extLst>
            </p:cNvPr>
            <p:cNvSpPr>
              <a:spLocks noChangeAspect="1"/>
            </p:cNvSpPr>
            <p:nvPr userDrawn="1"/>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sp>
        <p:nvSpPr>
          <p:cNvPr id="80" name="TitleTrackerAlpha" hidden="1">
            <a:extLst>
              <a:ext uri="{FF2B5EF4-FFF2-40B4-BE49-F238E27FC236}">
                <a16:creationId xmlns:a16="http://schemas.microsoft.com/office/drawing/2014/main" id="{DBBF5B7D-AEA7-4B32-86DF-D97974B2332B}"/>
              </a:ext>
            </a:extLst>
          </p:cNvPr>
          <p:cNvSpPr/>
          <p:nvPr>
            <p:custDataLst>
              <p:tags r:id="rId16"/>
            </p:custDataLst>
          </p:nvPr>
        </p:nvSpPr>
        <p:spPr bwMode="gray">
          <a:xfrm>
            <a:off x="839040" y="225253"/>
            <a:ext cx="492410" cy="492402"/>
          </a:xfrm>
          <a:prstGeom prst="ellipse">
            <a:avLst/>
          </a:prstGeom>
          <a:solidFill>
            <a:schemeClr val="bg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nl-NL" sz="2449" b="1" dirty="0">
                <a:solidFill>
                  <a:schemeClr val="tx2"/>
                </a:solidFill>
                <a:latin typeface="+mj-lt"/>
              </a:rPr>
              <a:t>A</a:t>
            </a:r>
          </a:p>
        </p:txBody>
      </p:sp>
      <p:sp>
        <p:nvSpPr>
          <p:cNvPr id="81" name="TitleTrackerNum" hidden="1">
            <a:extLst>
              <a:ext uri="{FF2B5EF4-FFF2-40B4-BE49-F238E27FC236}">
                <a16:creationId xmlns:a16="http://schemas.microsoft.com/office/drawing/2014/main" id="{794CED1F-6725-4459-8907-48C740430B0C}"/>
              </a:ext>
            </a:extLst>
          </p:cNvPr>
          <p:cNvSpPr/>
          <p:nvPr>
            <p:custDataLst>
              <p:tags r:id="rId17"/>
            </p:custDataLst>
          </p:nvPr>
        </p:nvSpPr>
        <p:spPr bwMode="gray">
          <a:xfrm>
            <a:off x="839040" y="225253"/>
            <a:ext cx="492410" cy="492402"/>
          </a:xfrm>
          <a:prstGeom prst="ellipse">
            <a:avLst/>
          </a:prstGeom>
          <a:solidFill>
            <a:schemeClr val="bg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nl-NL" sz="2449" b="1" dirty="0">
                <a:solidFill>
                  <a:schemeClr val="tx2"/>
                </a:solidFill>
                <a:latin typeface="+mj-lt"/>
              </a:rPr>
              <a:t>1</a:t>
            </a:r>
          </a:p>
        </p:txBody>
      </p:sp>
      <p:grpSp>
        <p:nvGrpSpPr>
          <p:cNvPr id="155" name="Group 154">
            <a:extLst>
              <a:ext uri="{FF2B5EF4-FFF2-40B4-BE49-F238E27FC236}">
                <a16:creationId xmlns:a16="http://schemas.microsoft.com/office/drawing/2014/main" id="{D5277C95-E1E2-4256-90CF-0E3D9E82775F}"/>
              </a:ext>
            </a:extLst>
          </p:cNvPr>
          <p:cNvGrpSpPr/>
          <p:nvPr userDrawn="1"/>
        </p:nvGrpSpPr>
        <p:grpSpPr bwMode="ltGray">
          <a:xfrm>
            <a:off x="233258" y="106904"/>
            <a:ext cx="426000" cy="1448052"/>
            <a:chOff x="177800" y="104775"/>
            <a:chExt cx="417513" cy="1419225"/>
          </a:xfrm>
          <a:solidFill>
            <a:schemeClr val="tx2"/>
          </a:solidFill>
        </p:grpSpPr>
        <p:sp>
          <p:nvSpPr>
            <p:cNvPr id="156" name="Freeform 42">
              <a:extLst>
                <a:ext uri="{FF2B5EF4-FFF2-40B4-BE49-F238E27FC236}">
                  <a16:creationId xmlns:a16="http://schemas.microsoft.com/office/drawing/2014/main" id="{2632F7AF-F5FB-4620-AF44-CD765C50CB67}"/>
                </a:ext>
              </a:extLst>
            </p:cNvPr>
            <p:cNvSpPr>
              <a:spLocks/>
            </p:cNvSpPr>
            <p:nvPr userDrawn="1"/>
          </p:nvSpPr>
          <p:spPr bwMode="ltGray">
            <a:xfrm>
              <a:off x="177800" y="1108075"/>
              <a:ext cx="417513" cy="415925"/>
            </a:xfrm>
            <a:custGeom>
              <a:avLst/>
              <a:gdLst>
                <a:gd name="T0" fmla="*/ 0 w 263"/>
                <a:gd name="T1" fmla="*/ 209 h 262"/>
                <a:gd name="T2" fmla="*/ 80 w 263"/>
                <a:gd name="T3" fmla="*/ 131 h 262"/>
                <a:gd name="T4" fmla="*/ 0 w 263"/>
                <a:gd name="T5" fmla="*/ 52 h 262"/>
                <a:gd name="T6" fmla="*/ 53 w 263"/>
                <a:gd name="T7" fmla="*/ 0 h 262"/>
                <a:gd name="T8" fmla="*/ 132 w 263"/>
                <a:gd name="T9" fmla="*/ 78 h 262"/>
                <a:gd name="T10" fmla="*/ 210 w 263"/>
                <a:gd name="T11" fmla="*/ 0 h 262"/>
                <a:gd name="T12" fmla="*/ 263 w 263"/>
                <a:gd name="T13" fmla="*/ 52 h 262"/>
                <a:gd name="T14" fmla="*/ 185 w 263"/>
                <a:gd name="T15" fmla="*/ 131 h 262"/>
                <a:gd name="T16" fmla="*/ 263 w 263"/>
                <a:gd name="T17" fmla="*/ 209 h 262"/>
                <a:gd name="T18" fmla="*/ 210 w 263"/>
                <a:gd name="T19" fmla="*/ 262 h 262"/>
                <a:gd name="T20" fmla="*/ 132 w 263"/>
                <a:gd name="T21" fmla="*/ 183 h 262"/>
                <a:gd name="T22" fmla="*/ 53 w 263"/>
                <a:gd name="T23" fmla="*/ 262 h 262"/>
                <a:gd name="T24" fmla="*/ 0 w 263"/>
                <a:gd name="T25" fmla="*/ 20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2">
                  <a:moveTo>
                    <a:pt x="0" y="209"/>
                  </a:moveTo>
                  <a:lnTo>
                    <a:pt x="80" y="131"/>
                  </a:lnTo>
                  <a:lnTo>
                    <a:pt x="0" y="52"/>
                  </a:lnTo>
                  <a:lnTo>
                    <a:pt x="53" y="0"/>
                  </a:lnTo>
                  <a:lnTo>
                    <a:pt x="132" y="78"/>
                  </a:lnTo>
                  <a:lnTo>
                    <a:pt x="210" y="0"/>
                  </a:lnTo>
                  <a:lnTo>
                    <a:pt x="263" y="52"/>
                  </a:lnTo>
                  <a:lnTo>
                    <a:pt x="185" y="131"/>
                  </a:lnTo>
                  <a:lnTo>
                    <a:pt x="263" y="209"/>
                  </a:lnTo>
                  <a:lnTo>
                    <a:pt x="210" y="262"/>
                  </a:lnTo>
                  <a:lnTo>
                    <a:pt x="132" y="183"/>
                  </a:lnTo>
                  <a:lnTo>
                    <a:pt x="53" y="262"/>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157" name="Freeform 43">
              <a:extLst>
                <a:ext uri="{FF2B5EF4-FFF2-40B4-BE49-F238E27FC236}">
                  <a16:creationId xmlns:a16="http://schemas.microsoft.com/office/drawing/2014/main" id="{EAEBA356-DF50-406B-A0F8-71773E1B6C83}"/>
                </a:ext>
              </a:extLst>
            </p:cNvPr>
            <p:cNvSpPr>
              <a:spLocks/>
            </p:cNvSpPr>
            <p:nvPr userDrawn="1"/>
          </p:nvSpPr>
          <p:spPr bwMode="ltGray">
            <a:xfrm>
              <a:off x="177800" y="104775"/>
              <a:ext cx="417513" cy="417513"/>
            </a:xfrm>
            <a:custGeom>
              <a:avLst/>
              <a:gdLst>
                <a:gd name="T0" fmla="*/ 0 w 263"/>
                <a:gd name="T1" fmla="*/ 211 h 263"/>
                <a:gd name="T2" fmla="*/ 80 w 263"/>
                <a:gd name="T3" fmla="*/ 132 h 263"/>
                <a:gd name="T4" fmla="*/ 0 w 263"/>
                <a:gd name="T5" fmla="*/ 53 h 263"/>
                <a:gd name="T6" fmla="*/ 53 w 263"/>
                <a:gd name="T7" fmla="*/ 0 h 263"/>
                <a:gd name="T8" fmla="*/ 132 w 263"/>
                <a:gd name="T9" fmla="*/ 80 h 263"/>
                <a:gd name="T10" fmla="*/ 210 w 263"/>
                <a:gd name="T11" fmla="*/ 0 h 263"/>
                <a:gd name="T12" fmla="*/ 263 w 263"/>
                <a:gd name="T13" fmla="*/ 53 h 263"/>
                <a:gd name="T14" fmla="*/ 185 w 263"/>
                <a:gd name="T15" fmla="*/ 132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2"/>
                  </a:lnTo>
                  <a:lnTo>
                    <a:pt x="0" y="53"/>
                  </a:lnTo>
                  <a:lnTo>
                    <a:pt x="53" y="0"/>
                  </a:lnTo>
                  <a:lnTo>
                    <a:pt x="132" y="80"/>
                  </a:lnTo>
                  <a:lnTo>
                    <a:pt x="210" y="0"/>
                  </a:lnTo>
                  <a:lnTo>
                    <a:pt x="263" y="53"/>
                  </a:lnTo>
                  <a:lnTo>
                    <a:pt x="185" y="132"/>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158" name="Freeform 44">
              <a:extLst>
                <a:ext uri="{FF2B5EF4-FFF2-40B4-BE49-F238E27FC236}">
                  <a16:creationId xmlns:a16="http://schemas.microsoft.com/office/drawing/2014/main" id="{4BC8CEA6-C57E-4F7B-A57F-2A3E140774AF}"/>
                </a:ext>
              </a:extLst>
            </p:cNvPr>
            <p:cNvSpPr>
              <a:spLocks/>
            </p:cNvSpPr>
            <p:nvPr userDrawn="1"/>
          </p:nvSpPr>
          <p:spPr bwMode="ltGray">
            <a:xfrm>
              <a:off x="177800" y="606425"/>
              <a:ext cx="417513" cy="417513"/>
            </a:xfrm>
            <a:custGeom>
              <a:avLst/>
              <a:gdLst>
                <a:gd name="T0" fmla="*/ 0 w 263"/>
                <a:gd name="T1" fmla="*/ 211 h 263"/>
                <a:gd name="T2" fmla="*/ 80 w 263"/>
                <a:gd name="T3" fmla="*/ 131 h 263"/>
                <a:gd name="T4" fmla="*/ 0 w 263"/>
                <a:gd name="T5" fmla="*/ 53 h 263"/>
                <a:gd name="T6" fmla="*/ 53 w 263"/>
                <a:gd name="T7" fmla="*/ 0 h 263"/>
                <a:gd name="T8" fmla="*/ 132 w 263"/>
                <a:gd name="T9" fmla="*/ 79 h 263"/>
                <a:gd name="T10" fmla="*/ 210 w 263"/>
                <a:gd name="T11" fmla="*/ 0 h 263"/>
                <a:gd name="T12" fmla="*/ 263 w 263"/>
                <a:gd name="T13" fmla="*/ 53 h 263"/>
                <a:gd name="T14" fmla="*/ 185 w 263"/>
                <a:gd name="T15" fmla="*/ 131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1"/>
                  </a:lnTo>
                  <a:lnTo>
                    <a:pt x="0" y="53"/>
                  </a:lnTo>
                  <a:lnTo>
                    <a:pt x="53" y="0"/>
                  </a:lnTo>
                  <a:lnTo>
                    <a:pt x="132" y="79"/>
                  </a:lnTo>
                  <a:lnTo>
                    <a:pt x="210" y="0"/>
                  </a:lnTo>
                  <a:lnTo>
                    <a:pt x="263" y="53"/>
                  </a:lnTo>
                  <a:lnTo>
                    <a:pt x="185" y="131"/>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grpSp>
      <p:sp>
        <p:nvSpPr>
          <p:cNvPr id="86" name="Tijdelijke aanduiding voor voettekst 7">
            <a:extLst>
              <a:ext uri="{FF2B5EF4-FFF2-40B4-BE49-F238E27FC236}">
                <a16:creationId xmlns:a16="http://schemas.microsoft.com/office/drawing/2014/main" id="{1FB5788A-B4CE-D542-A205-ADE62A87448E}"/>
              </a:ext>
            </a:extLst>
          </p:cNvPr>
          <p:cNvSpPr>
            <a:spLocks noGrp="1"/>
          </p:cNvSpPr>
          <p:nvPr>
            <p:ph type="ftr" sz="quarter" idx="3"/>
          </p:nvPr>
        </p:nvSpPr>
        <p:spPr>
          <a:xfrm>
            <a:off x="839039" y="6485465"/>
            <a:ext cx="3090959" cy="372541"/>
          </a:xfrm>
          <a:prstGeom prst="rect">
            <a:avLst/>
          </a:prstGeom>
        </p:spPr>
        <p:txBody>
          <a:bodyPr vert="horz" lIns="91440" tIns="45720" rIns="91440" bIns="45720" rtlCol="0" anchor="ctr"/>
          <a:lstStyle>
            <a:lvl1pPr algn="l">
              <a:defRPr sz="1224" b="1">
                <a:solidFill>
                  <a:schemeClr val="tx1"/>
                </a:solidFill>
                <a:latin typeface="Arial" panose="020B0604020202020204" pitchFamily="34" charset="0"/>
                <a:cs typeface="Arial" panose="020B0604020202020204" pitchFamily="34" charset="0"/>
              </a:defRPr>
            </a:lvl1pPr>
          </a:lstStyle>
          <a:p>
            <a:r>
              <a:rPr lang="nl-NL">
                <a:solidFill>
                  <a:srgbClr val="FF0000"/>
                </a:solidFill>
              </a:rPr>
              <a:t>Informatiebijeenkomst 26 juli 2021 Europese Aanbesteding SVWI</a:t>
            </a:r>
            <a:endParaRPr lang="nl-NL" dirty="0"/>
          </a:p>
        </p:txBody>
      </p:sp>
      <p:pic>
        <p:nvPicPr>
          <p:cNvPr id="88" name="Picture 31" descr="Chart&#10;&#10;Description automatically generated with low confidence">
            <a:extLst>
              <a:ext uri="{FF2B5EF4-FFF2-40B4-BE49-F238E27FC236}">
                <a16:creationId xmlns:a16="http://schemas.microsoft.com/office/drawing/2014/main" id="{31265D61-C67D-FA48-BF35-A82FC8B8EF23}"/>
              </a:ext>
            </a:extLst>
          </p:cNvPr>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a:off x="10534566" y="5347203"/>
            <a:ext cx="1062139" cy="861450"/>
          </a:xfrm>
          <a:prstGeom prst="rect">
            <a:avLst/>
          </a:prstGeom>
        </p:spPr>
      </p:pic>
      <p:sp>
        <p:nvSpPr>
          <p:cNvPr id="89" name="object 9">
            <a:extLst>
              <a:ext uri="{FF2B5EF4-FFF2-40B4-BE49-F238E27FC236}">
                <a16:creationId xmlns:a16="http://schemas.microsoft.com/office/drawing/2014/main" id="{5644F11A-3BE0-F74C-BD1F-19BBD49E06B7}"/>
              </a:ext>
            </a:extLst>
          </p:cNvPr>
          <p:cNvSpPr/>
          <p:nvPr userDrawn="1"/>
        </p:nvSpPr>
        <p:spPr>
          <a:xfrm flipV="1">
            <a:off x="0" y="6181271"/>
            <a:ext cx="12176318" cy="46648"/>
          </a:xfrm>
          <a:custGeom>
            <a:avLst/>
            <a:gdLst/>
            <a:ahLst/>
            <a:cxnLst/>
            <a:rect l="l" t="t" r="r" b="b"/>
            <a:pathLst>
              <a:path w="9107805">
                <a:moveTo>
                  <a:pt x="0" y="0"/>
                </a:moveTo>
                <a:lnTo>
                  <a:pt x="9107639" y="0"/>
                </a:lnTo>
              </a:path>
            </a:pathLst>
          </a:custGeom>
          <a:ln w="38100">
            <a:solidFill>
              <a:srgbClr val="1D1D1B"/>
            </a:solidFill>
          </a:ln>
        </p:spPr>
        <p:txBody>
          <a:bodyPr wrap="square" lIns="0" tIns="0" rIns="0" bIns="0" rtlCol="0"/>
          <a:lstStyle/>
          <a:p>
            <a:endParaRPr sz="1837"/>
          </a:p>
        </p:txBody>
      </p:sp>
    </p:spTree>
    <p:extLst>
      <p:ext uri="{BB962C8B-B14F-4D97-AF65-F5344CB8AC3E}">
        <p14:creationId xmlns:p14="http://schemas.microsoft.com/office/powerpoint/2010/main" val="672218577"/>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Lst>
  <p:hf hdr="0" dt="0"/>
  <p:txStyles>
    <p:titleStyle>
      <a:lvl1pPr algn="l" defTabSz="913526" rtl="0" eaLnBrk="1" fontAlgn="base" hangingPunct="1">
        <a:spcBef>
          <a:spcPct val="0"/>
        </a:spcBef>
        <a:spcAft>
          <a:spcPct val="0"/>
        </a:spcAft>
        <a:tabLst>
          <a:tab pos="549088" algn="l"/>
        </a:tabLst>
        <a:defRPr sz="244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83654" indent="-183654" algn="l" defTabSz="913526" rtl="0" eaLnBrk="1" fontAlgn="base" hangingPunct="1">
        <a:spcBef>
          <a:spcPct val="0"/>
        </a:spcBef>
        <a:spcAft>
          <a:spcPct val="0"/>
        </a:spcAft>
        <a:buClr>
          <a:schemeClr val="tx2"/>
        </a:buClr>
        <a:buSzPct val="125000"/>
        <a:buFont typeface="Arial" pitchFamily="34" charset="0"/>
        <a:buChar char="•"/>
        <a:defRPr sz="1632" baseline="0">
          <a:solidFill>
            <a:schemeClr val="tx1"/>
          </a:solidFill>
          <a:latin typeface="+mn-lt"/>
        </a:defRPr>
      </a:lvl2pPr>
      <a:lvl3pPr marL="367308" indent="-183654"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550962" indent="-183654" algn="l" defTabSz="913526" rtl="0" eaLnBrk="1" fontAlgn="base" hangingPunct="1">
        <a:spcBef>
          <a:spcPct val="0"/>
        </a:spcBef>
        <a:spcAft>
          <a:spcPct val="0"/>
        </a:spcAft>
        <a:buClr>
          <a:schemeClr val="tx2"/>
        </a:buClr>
        <a:buSzPct val="120000"/>
        <a:buFont typeface="Arial" pitchFamily="34" charset="0"/>
        <a:buChar char="◦"/>
        <a:defRPr sz="1632" baseline="0">
          <a:solidFill>
            <a:schemeClr val="tx1"/>
          </a:solidFill>
          <a:latin typeface="+mn-lt"/>
        </a:defRPr>
      </a:lvl4pPr>
      <a:lvl5pPr marL="734616" indent="-183654"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337319448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9" imgW="270" imgH="270" progId="TCLayout.ActiveDocument.1">
                  <p:embed/>
                </p:oleObj>
              </mc:Choice>
              <mc:Fallback>
                <p:oleObj name="think-cell Slide" r:id="rId39" imgW="270" imgH="270" progId="TCLayout.ActiveDocument.1">
                  <p:embed/>
                  <p:pic>
                    <p:nvPicPr>
                      <p:cNvPr id="2" name="Object 1" hidden="1"/>
                      <p:cNvPicPr/>
                      <p:nvPr/>
                    </p:nvPicPr>
                    <p:blipFill>
                      <a:blip r:embed="rId40"/>
                      <a:stretch>
                        <a:fillRect/>
                      </a:stretch>
                    </p:blipFill>
                    <p:spPr>
                      <a:xfrm>
                        <a:off x="0" y="0"/>
                        <a:ext cx="215979" cy="16197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13A703-F189-4854-97A2-C10D7EE5C491}"/>
              </a:ext>
            </a:extLst>
          </p:cNvPr>
          <p:cNvSpPr/>
          <p:nvPr userDrawn="1">
            <p:custDataLst>
              <p:tags r:id="rId6"/>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1036" name="Rectangle 286"/>
          <p:cNvSpPr>
            <a:spLocks noGrp="1" noChangeArrowheads="1"/>
          </p:cNvSpPr>
          <p:nvPr>
            <p:ph type="body" idx="1"/>
          </p:nvPr>
        </p:nvSpPr>
        <p:spPr bwMode="gray">
          <a:xfrm>
            <a:off x="233259" y="2698440"/>
            <a:ext cx="1172548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noProof="0" dirty="0"/>
              <a:t>Edit Master text styles</a:t>
            </a:r>
          </a:p>
          <a:p>
            <a:pPr lvl="1"/>
            <a:r>
              <a:rPr lang="nl-NL" noProof="0" dirty="0"/>
              <a:t>Second level</a:t>
            </a:r>
          </a:p>
          <a:p>
            <a:pPr lvl="2"/>
            <a:r>
              <a:rPr lang="nl-NL" noProof="0" dirty="0"/>
              <a:t>Third level</a:t>
            </a:r>
          </a:p>
          <a:p>
            <a:pPr lvl="3"/>
            <a:r>
              <a:rPr lang="nl-NL" noProof="0" dirty="0"/>
              <a:t>Fourth level</a:t>
            </a:r>
          </a:p>
          <a:p>
            <a:pPr lvl="4"/>
            <a:r>
              <a:rPr lang="nl-NL" noProof="0" dirty="0"/>
              <a:t>Fifth level</a:t>
            </a:r>
          </a:p>
        </p:txBody>
      </p:sp>
      <p:sp>
        <p:nvSpPr>
          <p:cNvPr id="19" name="Title Placeholder 2"/>
          <p:cNvSpPr>
            <a:spLocks noGrp="1" noChangeArrowheads="1"/>
          </p:cNvSpPr>
          <p:nvPr>
            <p:ph type="title"/>
          </p:nvPr>
        </p:nvSpPr>
        <p:spPr bwMode="gray">
          <a:xfrm>
            <a:off x="839041" y="283037"/>
            <a:ext cx="1111970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dirty="0"/>
              <a:t>Click to edit Master title style</a:t>
            </a:r>
          </a:p>
        </p:txBody>
      </p:sp>
      <p:sp>
        <p:nvSpPr>
          <p:cNvPr id="13" name="4. Footnote" hidden="1"/>
          <p:cNvSpPr txBox="1">
            <a:spLocks noChangeArrowheads="1"/>
          </p:cNvSpPr>
          <p:nvPr/>
        </p:nvSpPr>
        <p:spPr bwMode="gray">
          <a:xfrm>
            <a:off x="233259" y="6193144"/>
            <a:ext cx="117254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846" indent="-85846">
              <a:defRPr/>
            </a:pPr>
            <a:r>
              <a:rPr lang="nl-NL" sz="1020" baseline="0" noProof="0" dirty="0">
                <a:latin typeface="+mn-lt"/>
              </a:rPr>
              <a:t>1 Voetnoot </a:t>
            </a:r>
          </a:p>
        </p:txBody>
      </p:sp>
      <p:sp>
        <p:nvSpPr>
          <p:cNvPr id="14" name="5. Source" hidden="1"/>
          <p:cNvSpPr>
            <a:spLocks noChangeArrowheads="1"/>
          </p:cNvSpPr>
          <p:nvPr/>
        </p:nvSpPr>
        <p:spPr bwMode="gray">
          <a:xfrm>
            <a:off x="233259" y="6408862"/>
            <a:ext cx="11254650"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marL="319087" indent="-319087" defTabSz="913526">
              <a:tabLst/>
            </a:pPr>
            <a:r>
              <a:rPr lang="nl-NL" sz="1020" baseline="0" noProof="0" dirty="0">
                <a:solidFill>
                  <a:srgbClr val="000000"/>
                </a:solidFill>
                <a:latin typeface="+mn-lt"/>
              </a:rPr>
              <a:t>Bron: Bron</a:t>
            </a:r>
          </a:p>
        </p:txBody>
      </p:sp>
      <p:grpSp>
        <p:nvGrpSpPr>
          <p:cNvPr id="15" name="ACET" hidden="1"/>
          <p:cNvGrpSpPr>
            <a:grpSpLocks/>
          </p:cNvGrpSpPr>
          <p:nvPr/>
        </p:nvGrpSpPr>
        <p:grpSpPr bwMode="gray">
          <a:xfrm>
            <a:off x="233258" y="1895475"/>
            <a:ext cx="2317942" cy="531276"/>
            <a:chOff x="915" y="702"/>
            <a:chExt cx="2686" cy="328"/>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nl-NL" sz="1632" b="1" baseline="0" noProof="0" dirty="0">
                  <a:latin typeface="+mn-lt"/>
                  <a:ea typeface="+mn-ea"/>
                </a:rPr>
                <a:t>Titel</a:t>
              </a:r>
            </a:p>
            <a:p>
              <a:r>
                <a:rPr lang="nl-NL" sz="1632" baseline="0" noProof="0" dirty="0">
                  <a:solidFill>
                    <a:schemeClr val="tx1"/>
                  </a:solidFill>
                  <a:latin typeface="+mn-lt"/>
                  <a:ea typeface="+mn-ea"/>
                </a:rPr>
                <a:t>Meeteenheid</a:t>
              </a:r>
            </a:p>
          </p:txBody>
        </p:sp>
      </p:grpSp>
      <p:sp>
        <p:nvSpPr>
          <p:cNvPr id="3" name="pg number"/>
          <p:cNvSpPr>
            <a:spLocks/>
          </p:cNvSpPr>
          <p:nvPr/>
        </p:nvSpPr>
        <p:spPr bwMode="gray">
          <a:xfrm>
            <a:off x="11729760" y="6407190"/>
            <a:ext cx="228982" cy="160154"/>
          </a:xfrm>
          <a:prstGeom prst="rect">
            <a:avLst/>
          </a:prstGeom>
        </p:spPr>
        <p:txBody>
          <a:bodyPr vert="horz" wrap="none" lIns="0" tIns="0" rIns="0" bIns="0" rtlCol="0" anchor="ctr">
            <a:spAutoFit/>
          </a:bodyPr>
          <a:lstStyle/>
          <a:p>
            <a:pPr lvl="0" algn="r"/>
            <a:fld id="{42C328C1-A84F-4A39-A664-DBA00541A8C6}" type="slidenum">
              <a:rPr lang="nl-NL" sz="1020" noProof="0" smtClean="0">
                <a:latin typeface="+mn-lt"/>
              </a:rPr>
              <a:pPr lvl="0" algn="r"/>
              <a:t>‹nr.›</a:t>
            </a:fld>
            <a:endParaRPr lang="nl-NL" sz="1020" baseline="0" noProof="0" dirty="0">
              <a:solidFill>
                <a:schemeClr val="tx1"/>
              </a:solidFill>
              <a:latin typeface="+mn-lt"/>
            </a:endParaRPr>
          </a:p>
        </p:txBody>
      </p:sp>
      <p:sp>
        <p:nvSpPr>
          <p:cNvPr id="11" name="3. Unit of measure" hidden="1"/>
          <p:cNvSpPr txBox="1">
            <a:spLocks noChangeArrowheads="1"/>
          </p:cNvSpPr>
          <p:nvPr/>
        </p:nvSpPr>
        <p:spPr bwMode="gray">
          <a:xfrm>
            <a:off x="839041" y="721487"/>
            <a:ext cx="1111970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549088" algn="l"/>
              </a:tabLst>
              <a:defRPr/>
            </a:pPr>
            <a:r>
              <a:rPr lang="nl-NL" sz="1632" baseline="0" noProof="0" dirty="0">
                <a:solidFill>
                  <a:schemeClr val="tx1"/>
                </a:solidFill>
                <a:latin typeface="+mn-lt"/>
              </a:rPr>
              <a:t>Meeteenheid</a:t>
            </a:r>
          </a:p>
        </p:txBody>
      </p:sp>
      <p:sp>
        <p:nvSpPr>
          <p:cNvPr id="77" name="1. On-page tracker" hidden="1"/>
          <p:cNvSpPr>
            <a:spLocks noChangeArrowheads="1"/>
          </p:cNvSpPr>
          <p:nvPr/>
        </p:nvSpPr>
        <p:spPr bwMode="gray">
          <a:xfrm>
            <a:off x="839040" y="45940"/>
            <a:ext cx="768531"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549088" algn="l"/>
              </a:tabLst>
            </a:pPr>
            <a:r>
              <a:rPr lang="nl-NL" sz="1428" cap="all" baseline="0" dirty="0">
                <a:latin typeface="+mn-lt"/>
                <a:ea typeface="+mj-ea"/>
              </a:rPr>
              <a:t>TRACKER</a:t>
            </a:r>
          </a:p>
        </p:txBody>
      </p:sp>
      <p:sp>
        <p:nvSpPr>
          <p:cNvPr id="93" name="Oval" hidden="1"/>
          <p:cNvSpPr txBox="1">
            <a:spLocks/>
          </p:cNvSpPr>
          <p:nvPr>
            <p:custDataLst>
              <p:tags r:id="rId7"/>
            </p:custDataLst>
          </p:nvPr>
        </p:nvSpPr>
        <p:spPr bwMode="gray">
          <a:xfrm>
            <a:off x="6878923" y="1451179"/>
            <a:ext cx="1554978" cy="1554955"/>
          </a:xfrm>
          <a:prstGeom prst="ellipse">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731" tIns="36731" rIns="36731" bIns="36731"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a:r>
              <a:rPr lang="nl-NL" sz="1632" dirty="0">
                <a:latin typeface="+mn-lt"/>
              </a:rPr>
              <a:t>Text</a:t>
            </a:r>
          </a:p>
        </p:txBody>
      </p:sp>
      <p:sp>
        <p:nvSpPr>
          <p:cNvPr id="94" name="Body3" hidden="1"/>
          <p:cNvSpPr txBox="1">
            <a:spLocks/>
          </p:cNvSpPr>
          <p:nvPr>
            <p:custDataLst>
              <p:tags r:id="rId8"/>
            </p:custDataLst>
          </p:nvPr>
        </p:nvSpPr>
        <p:spPr bwMode="gray">
          <a:xfrm>
            <a:off x="3492958" y="1451179"/>
            <a:ext cx="1554978" cy="1554955"/>
          </a:xfrm>
          <a:prstGeom prst="rect">
            <a:avLst/>
          </a:prstGeom>
          <a:solidFill>
            <a:schemeClr val="accent1"/>
          </a:solidFill>
          <a:ln w="9525">
            <a:no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5" name="RoundedRectangle" hidden="1"/>
          <p:cNvSpPr txBox="1">
            <a:spLocks/>
          </p:cNvSpPr>
          <p:nvPr>
            <p:custDataLst>
              <p:tags r:id="rId9"/>
            </p:custDataLst>
          </p:nvPr>
        </p:nvSpPr>
        <p:spPr bwMode="gray">
          <a:xfrm>
            <a:off x="5185940" y="1451179"/>
            <a:ext cx="1554978" cy="1554955"/>
          </a:xfrm>
          <a:prstGeom prst="roundRect">
            <a:avLst/>
          </a:prstGeom>
          <a:solidFill>
            <a:schemeClr val="accent1"/>
          </a:solidFill>
          <a:ln w="9525">
            <a:no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6" name="Arrow" hidden="1"/>
          <p:cNvSpPr txBox="1"/>
          <p:nvPr>
            <p:custDataLst>
              <p:tags r:id="rId10"/>
            </p:custDataLst>
          </p:nvPr>
        </p:nvSpPr>
        <p:spPr bwMode="gray">
          <a:xfrm>
            <a:off x="3490717" y="4223444"/>
            <a:ext cx="1865974" cy="932973"/>
          </a:xfrm>
          <a:prstGeom prst="rightArrow">
            <a:avLst>
              <a:gd name="adj1" fmla="val 54000"/>
              <a:gd name="adj2" fmla="val 37676"/>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3462"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7" name="DirArrow" hidden="1"/>
          <p:cNvSpPr>
            <a:spLocks noChangeArrowheads="1"/>
          </p:cNvSpPr>
          <p:nvPr>
            <p:custDataLst>
              <p:tags r:id="rId11"/>
            </p:custDataLst>
          </p:nvPr>
        </p:nvSpPr>
        <p:spPr bwMode="gray">
          <a:xfrm rot="5400000">
            <a:off x="7170376" y="2852710"/>
            <a:ext cx="3153449" cy="350388"/>
          </a:xfrm>
          <a:prstGeom prst="triangle">
            <a:avLst>
              <a:gd name="adj" fmla="val 50000"/>
            </a:avLst>
          </a:prstGeom>
          <a:solidFill>
            <a:schemeClr val="accent1"/>
          </a:solidFill>
          <a:ln w="9525">
            <a:noFill/>
            <a:miter lim="800000"/>
            <a:headEnd/>
            <a:tailEnd/>
          </a:ln>
          <a:effectLst/>
        </p:spPr>
        <p:txBody>
          <a:bodyPr wrap="none" anchor="ctr"/>
          <a:lstStyle/>
          <a:p>
            <a:endParaRPr lang="nl-NL" sz="1632" dirty="0">
              <a:latin typeface="+mn-lt"/>
            </a:endParaRPr>
          </a:p>
        </p:txBody>
      </p:sp>
      <p:sp>
        <p:nvSpPr>
          <p:cNvPr id="98" name="Bracket" hidden="1"/>
          <p:cNvSpPr>
            <a:spLocks noChangeAspect="1"/>
          </p:cNvSpPr>
          <p:nvPr>
            <p:custDataLst>
              <p:tags r:id="rId12"/>
            </p:custDataLst>
          </p:nvPr>
        </p:nvSpPr>
        <p:spPr bwMode="gray">
          <a:xfrm>
            <a:off x="8179251" y="3148303"/>
            <a:ext cx="193510" cy="1865946"/>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2524"/>
              <a:gd name="connsiteY0" fmla="*/ 0 h 3096"/>
              <a:gd name="connsiteX1" fmla="*/ 2474 w 2524"/>
              <a:gd name="connsiteY1" fmla="*/ 1944 h 3096"/>
              <a:gd name="connsiteX2" fmla="*/ 2474 w 2524"/>
              <a:gd name="connsiteY2" fmla="*/ 2472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524"/>
              <a:gd name="connsiteY0" fmla="*/ 0 h 3096"/>
              <a:gd name="connsiteX1" fmla="*/ 38 w 2524"/>
              <a:gd name="connsiteY1" fmla="*/ 0 h 3096"/>
              <a:gd name="connsiteX2" fmla="*/ 2474 w 2524"/>
              <a:gd name="connsiteY2" fmla="*/ 2472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524"/>
              <a:gd name="connsiteY0" fmla="*/ 0 h 3096"/>
              <a:gd name="connsiteX1" fmla="*/ 38 w 2524"/>
              <a:gd name="connsiteY1" fmla="*/ 0 h 3096"/>
              <a:gd name="connsiteX2" fmla="*/ 38 w 2524"/>
              <a:gd name="connsiteY2" fmla="*/ 536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474"/>
              <a:gd name="connsiteY0" fmla="*/ 0 h 3096"/>
              <a:gd name="connsiteX1" fmla="*/ 38 w 2474"/>
              <a:gd name="connsiteY1" fmla="*/ 0 h 3096"/>
              <a:gd name="connsiteX2" fmla="*/ 38 w 2474"/>
              <a:gd name="connsiteY2" fmla="*/ 536 h 3096"/>
              <a:gd name="connsiteX3" fmla="*/ 57 w 2474"/>
              <a:gd name="connsiteY3" fmla="*/ 576 h 3096"/>
              <a:gd name="connsiteX4" fmla="*/ 2474 w 2474"/>
              <a:gd name="connsiteY4" fmla="*/ 2568 h 3096"/>
              <a:gd name="connsiteX5" fmla="*/ 2474 w 2474"/>
              <a:gd name="connsiteY5" fmla="*/ 3096 h 3096"/>
              <a:gd name="connsiteX6" fmla="*/ 2409 w 2474"/>
              <a:gd name="connsiteY6" fmla="*/ 3096 h 3096"/>
              <a:gd name="connsiteX0" fmla="*/ 0 w 2474"/>
              <a:gd name="connsiteY0" fmla="*/ 0 h 3096"/>
              <a:gd name="connsiteX1" fmla="*/ 38 w 2474"/>
              <a:gd name="connsiteY1" fmla="*/ 0 h 3096"/>
              <a:gd name="connsiteX2" fmla="*/ 38 w 2474"/>
              <a:gd name="connsiteY2" fmla="*/ 536 h 3096"/>
              <a:gd name="connsiteX3" fmla="*/ 57 w 2474"/>
              <a:gd name="connsiteY3" fmla="*/ 576 h 3096"/>
              <a:gd name="connsiteX4" fmla="*/ 38 w 2474"/>
              <a:gd name="connsiteY4" fmla="*/ 616 h 3096"/>
              <a:gd name="connsiteX5" fmla="*/ 2474 w 2474"/>
              <a:gd name="connsiteY5" fmla="*/ 3096 h 3096"/>
              <a:gd name="connsiteX6" fmla="*/ 2409 w 2474"/>
              <a:gd name="connsiteY6" fmla="*/ 3096 h 3096"/>
              <a:gd name="connsiteX0" fmla="*/ 0 w 2409"/>
              <a:gd name="connsiteY0" fmla="*/ 0 h 3096"/>
              <a:gd name="connsiteX1" fmla="*/ 38 w 2409"/>
              <a:gd name="connsiteY1" fmla="*/ 0 h 3096"/>
              <a:gd name="connsiteX2" fmla="*/ 38 w 2409"/>
              <a:gd name="connsiteY2" fmla="*/ 536 h 3096"/>
              <a:gd name="connsiteX3" fmla="*/ 57 w 2409"/>
              <a:gd name="connsiteY3" fmla="*/ 576 h 3096"/>
              <a:gd name="connsiteX4" fmla="*/ 38 w 2409"/>
              <a:gd name="connsiteY4" fmla="*/ 616 h 3096"/>
              <a:gd name="connsiteX5" fmla="*/ 38 w 2409"/>
              <a:gd name="connsiteY5" fmla="*/ 1152 h 3096"/>
              <a:gd name="connsiteX6" fmla="*/ 2409 w 2409"/>
              <a:gd name="connsiteY6" fmla="*/ 3096 h 3096"/>
              <a:gd name="connsiteX0" fmla="*/ 0 w 57"/>
              <a:gd name="connsiteY0" fmla="*/ 0 h 1152"/>
              <a:gd name="connsiteX1" fmla="*/ 38 w 57"/>
              <a:gd name="connsiteY1" fmla="*/ 0 h 1152"/>
              <a:gd name="connsiteX2" fmla="*/ 38 w 57"/>
              <a:gd name="connsiteY2" fmla="*/ 536 h 1152"/>
              <a:gd name="connsiteX3" fmla="*/ 57 w 57"/>
              <a:gd name="connsiteY3" fmla="*/ 576 h 1152"/>
              <a:gd name="connsiteX4" fmla="*/ 38 w 57"/>
              <a:gd name="connsiteY4" fmla="*/ 616 h 1152"/>
              <a:gd name="connsiteX5" fmla="*/ 38 w 57"/>
              <a:gd name="connsiteY5" fmla="*/ 1152 h 1152"/>
              <a:gd name="connsiteX6" fmla="*/ 0 w 57"/>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 h="1152">
                <a:moveTo>
                  <a:pt x="0" y="0"/>
                </a:moveTo>
                <a:lnTo>
                  <a:pt x="38" y="0"/>
                </a:lnTo>
                <a:lnTo>
                  <a:pt x="38" y="536"/>
                </a:lnTo>
                <a:lnTo>
                  <a:pt x="57" y="576"/>
                </a:lnTo>
                <a:lnTo>
                  <a:pt x="38" y="616"/>
                </a:lnTo>
                <a:lnTo>
                  <a:pt x="38"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632" dirty="0">
              <a:latin typeface="+mn-lt"/>
            </a:endParaRPr>
          </a:p>
        </p:txBody>
      </p:sp>
      <p:grpSp>
        <p:nvGrpSpPr>
          <p:cNvPr id="99" name="Flow" hidden="1"/>
          <p:cNvGrpSpPr/>
          <p:nvPr>
            <p:custDataLst>
              <p:tags r:id="rId13"/>
            </p:custDataLst>
          </p:nvPr>
        </p:nvGrpSpPr>
        <p:grpSpPr bwMode="gray">
          <a:xfrm>
            <a:off x="3492958" y="3148303"/>
            <a:ext cx="1865974" cy="932973"/>
            <a:chOff x="5905500" y="3124200"/>
            <a:chExt cx="1828800" cy="914400"/>
          </a:xfrm>
        </p:grpSpPr>
        <p:sp>
          <p:nvSpPr>
            <p:cNvPr id="100" name="Freeform 99"/>
            <p:cNvSpPr/>
            <p:nvPr>
              <p:custDataLst>
                <p:tags r:id="rId37"/>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1" name="TextBox 100"/>
            <p:cNvSpPr txBox="1"/>
            <p:nvPr>
              <p:custDataLst>
                <p:tags r:id="rId38"/>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grpSp>
      <p:grpSp>
        <p:nvGrpSpPr>
          <p:cNvPr id="102" name="SplitFlow" hidden="1"/>
          <p:cNvGrpSpPr/>
          <p:nvPr>
            <p:custDataLst>
              <p:tags r:id="rId14"/>
            </p:custDataLst>
          </p:nvPr>
        </p:nvGrpSpPr>
        <p:grpSpPr bwMode="gray">
          <a:xfrm>
            <a:off x="5538529" y="3148303"/>
            <a:ext cx="1865974" cy="932973"/>
            <a:chOff x="114300" y="1270000"/>
            <a:chExt cx="1828800" cy="914400"/>
          </a:xfrm>
        </p:grpSpPr>
        <p:sp>
          <p:nvSpPr>
            <p:cNvPr id="103" name="Freeform 102"/>
            <p:cNvSpPr/>
            <p:nvPr>
              <p:custDataLst>
                <p:tags r:id="rId33"/>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4" name="TextBox 103"/>
            <p:cNvSpPr txBox="1"/>
            <p:nvPr>
              <p:custDataLst>
                <p:tags r:id="rId34"/>
              </p:custDataLst>
            </p:nvPr>
          </p:nvSpPr>
          <p:spPr bwMode="gray">
            <a:xfrm>
              <a:off x="177800" y="13271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sp>
          <p:nvSpPr>
            <p:cNvPr id="105" name="Freeform 104"/>
            <p:cNvSpPr/>
            <p:nvPr>
              <p:custDataLst>
                <p:tags r:id="rId35"/>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6" name="TextBox 105"/>
            <p:cNvSpPr txBox="1"/>
            <p:nvPr>
              <p:custDataLst>
                <p:tags r:id="rId36"/>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grpSp>
      <p:grpSp>
        <p:nvGrpSpPr>
          <p:cNvPr id="107" name="LegendBoxes" hidden="1"/>
          <p:cNvGrpSpPr>
            <a:grpSpLocks/>
          </p:cNvGrpSpPr>
          <p:nvPr/>
        </p:nvGrpSpPr>
        <p:grpSpPr bwMode="gray">
          <a:xfrm>
            <a:off x="11134285" y="721486"/>
            <a:ext cx="835802" cy="1022061"/>
            <a:chOff x="4936" y="176"/>
            <a:chExt cx="516" cy="631"/>
          </a:xfrm>
        </p:grpSpPr>
        <p:sp>
          <p:nvSpPr>
            <p:cNvPr id="108" name="Legend1"/>
            <p:cNvSpPr>
              <a:spLocks noChangeArrowheads="1"/>
            </p:cNvSpPr>
            <p:nvPr/>
          </p:nvSpPr>
          <p:spPr bwMode="gray">
            <a:xfrm>
              <a:off x="5096" y="176"/>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09" name="LegendRectangle1"/>
            <p:cNvSpPr>
              <a:spLocks noChangeArrowheads="1"/>
            </p:cNvSpPr>
            <p:nvPr/>
          </p:nvSpPr>
          <p:spPr bwMode="gray">
            <a:xfrm>
              <a:off x="4936" y="182"/>
              <a:ext cx="104" cy="104"/>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0" name="Legend2"/>
            <p:cNvSpPr>
              <a:spLocks noChangeArrowheads="1"/>
            </p:cNvSpPr>
            <p:nvPr/>
          </p:nvSpPr>
          <p:spPr bwMode="gray">
            <a:xfrm>
              <a:off x="5096" y="347"/>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1" name="LegendRectangle2"/>
            <p:cNvSpPr>
              <a:spLocks noChangeArrowheads="1"/>
            </p:cNvSpPr>
            <p:nvPr/>
          </p:nvSpPr>
          <p:spPr bwMode="gray">
            <a:xfrm>
              <a:off x="4936" y="353"/>
              <a:ext cx="104" cy="104"/>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2" name="Legend3"/>
            <p:cNvSpPr>
              <a:spLocks noChangeArrowheads="1"/>
            </p:cNvSpPr>
            <p:nvPr/>
          </p:nvSpPr>
          <p:spPr bwMode="gray">
            <a:xfrm>
              <a:off x="5096" y="517"/>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3" name="LegendRectangle3"/>
            <p:cNvSpPr>
              <a:spLocks noChangeArrowheads="1"/>
            </p:cNvSpPr>
            <p:nvPr/>
          </p:nvSpPr>
          <p:spPr bwMode="gray">
            <a:xfrm>
              <a:off x="4936" y="523"/>
              <a:ext cx="104" cy="104"/>
            </a:xfrm>
            <a:prstGeom prst="rect">
              <a:avLst/>
            </a:prstGeom>
            <a:solidFill>
              <a:schemeClr val="accent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4" name="Legend4"/>
            <p:cNvSpPr>
              <a:spLocks noChangeArrowheads="1"/>
            </p:cNvSpPr>
            <p:nvPr/>
          </p:nvSpPr>
          <p:spPr bwMode="gray">
            <a:xfrm>
              <a:off x="5096" y="688"/>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5" name="LegendRectangle4"/>
            <p:cNvSpPr>
              <a:spLocks noChangeArrowheads="1"/>
            </p:cNvSpPr>
            <p:nvPr/>
          </p:nvSpPr>
          <p:spPr bwMode="gray">
            <a:xfrm>
              <a:off x="4936" y="694"/>
              <a:ext cx="104" cy="104"/>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16" name="LegendLines" hidden="1"/>
          <p:cNvGrpSpPr>
            <a:grpSpLocks/>
          </p:cNvGrpSpPr>
          <p:nvPr/>
        </p:nvGrpSpPr>
        <p:grpSpPr bwMode="gray">
          <a:xfrm>
            <a:off x="10820047" y="721486"/>
            <a:ext cx="1150037" cy="749943"/>
            <a:chOff x="4750" y="176"/>
            <a:chExt cx="710" cy="463"/>
          </a:xfrm>
        </p:grpSpPr>
        <p:sp>
          <p:nvSpPr>
            <p:cNvPr id="117" name="LineLegend1"/>
            <p:cNvSpPr>
              <a:spLocks noChangeShapeType="1"/>
            </p:cNvSpPr>
            <p:nvPr/>
          </p:nvSpPr>
          <p:spPr bwMode="gray">
            <a:xfrm>
              <a:off x="4750" y="234"/>
              <a:ext cx="288" cy="0"/>
            </a:xfrm>
            <a:prstGeom prst="line">
              <a:avLst/>
            </a:prstGeom>
            <a:noFill/>
            <a:ln w="2857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18" name="LineLegend2"/>
            <p:cNvSpPr>
              <a:spLocks noChangeShapeType="1"/>
            </p:cNvSpPr>
            <p:nvPr/>
          </p:nvSpPr>
          <p:spPr bwMode="gray">
            <a:xfrm>
              <a:off x="4750" y="406"/>
              <a:ext cx="288" cy="0"/>
            </a:xfrm>
            <a:prstGeom prst="line">
              <a:avLst/>
            </a:prstGeom>
            <a:noFill/>
            <a:ln w="28575">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19" name="LineLegend3"/>
            <p:cNvSpPr>
              <a:spLocks noChangeShapeType="1"/>
            </p:cNvSpPr>
            <p:nvPr/>
          </p:nvSpPr>
          <p:spPr bwMode="gray">
            <a:xfrm>
              <a:off x="4750" y="578"/>
              <a:ext cx="288" cy="0"/>
            </a:xfrm>
            <a:prstGeom prst="line">
              <a:avLst/>
            </a:prstGeom>
            <a:noFill/>
            <a:ln w="28575">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20" name="Legend1"/>
            <p:cNvSpPr>
              <a:spLocks noChangeArrowheads="1"/>
            </p:cNvSpPr>
            <p:nvPr/>
          </p:nvSpPr>
          <p:spPr bwMode="gray">
            <a:xfrm>
              <a:off x="5104" y="176"/>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21" name="Legend2"/>
            <p:cNvSpPr>
              <a:spLocks noChangeArrowheads="1"/>
            </p:cNvSpPr>
            <p:nvPr/>
          </p:nvSpPr>
          <p:spPr bwMode="gray">
            <a:xfrm>
              <a:off x="5104" y="348"/>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22" name="Legend3"/>
            <p:cNvSpPr>
              <a:spLocks noChangeArrowheads="1"/>
            </p:cNvSpPr>
            <p:nvPr/>
          </p:nvSpPr>
          <p:spPr bwMode="gray">
            <a:xfrm>
              <a:off x="5104" y="520"/>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grpSp>
      <p:grpSp>
        <p:nvGrpSpPr>
          <p:cNvPr id="123" name="Sticker" hidden="1"/>
          <p:cNvGrpSpPr/>
          <p:nvPr/>
        </p:nvGrpSpPr>
        <p:grpSpPr bwMode="gray">
          <a:xfrm>
            <a:off x="11368295" y="719589"/>
            <a:ext cx="590448" cy="250146"/>
            <a:chOff x="8162090" y="283891"/>
            <a:chExt cx="578685" cy="245166"/>
          </a:xfrm>
        </p:grpSpPr>
        <p:sp>
          <p:nvSpPr>
            <p:cNvPr id="124" name="StickerRectangle"/>
            <p:cNvSpPr>
              <a:spLocks noChangeArrowheads="1"/>
            </p:cNvSpPr>
            <p:nvPr/>
          </p:nvSpPr>
          <p:spPr bwMode="gray">
            <a:xfrm>
              <a:off x="8162090" y="283891"/>
              <a:ext cx="578685" cy="2451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913526">
                <a:buClr>
                  <a:schemeClr val="tx2"/>
                </a:buClr>
              </a:pPr>
              <a:r>
                <a:rPr lang="nl-NL" sz="1224" noProof="0" dirty="0">
                  <a:solidFill>
                    <a:schemeClr val="tx1"/>
                  </a:solidFill>
                  <a:latin typeface="+mn-lt"/>
                </a:rPr>
                <a:t>STICKER</a:t>
              </a:r>
            </a:p>
          </p:txBody>
        </p:sp>
        <p:cxnSp>
          <p:nvCxnSpPr>
            <p:cNvPr id="125" name="AutoShape 32"/>
            <p:cNvCxnSpPr>
              <a:cxnSpLocks noChangeShapeType="1"/>
              <a:stCxn id="124" idx="4"/>
              <a:endCxn id="124" idx="6"/>
            </p:cNvCxnSpPr>
            <p:nvPr/>
          </p:nvCxnSpPr>
          <p:spPr bwMode="gray">
            <a:xfrm>
              <a:off x="8162090" y="529057"/>
              <a:ext cx="57868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2"/>
              <a:endCxn id="124" idx="0"/>
            </p:cNvCxnSpPr>
            <p:nvPr userDrawn="1"/>
          </p:nvCxnSpPr>
          <p:spPr bwMode="gray">
            <a:xfrm>
              <a:off x="8162090" y="283891"/>
              <a:ext cx="57868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8" name="LegendMoons" hidden="1">
            <a:extLst>
              <a:ext uri="{FF2B5EF4-FFF2-40B4-BE49-F238E27FC236}">
                <a16:creationId xmlns:a16="http://schemas.microsoft.com/office/drawing/2014/main" id="{9D74EF3F-2EAF-4D4B-8FF9-DE4300E7A04F}"/>
              </a:ext>
            </a:extLst>
          </p:cNvPr>
          <p:cNvGrpSpPr/>
          <p:nvPr userDrawn="1"/>
        </p:nvGrpSpPr>
        <p:grpSpPr bwMode="gray">
          <a:xfrm>
            <a:off x="11065636" y="721486"/>
            <a:ext cx="904556" cy="1333317"/>
            <a:chOff x="9205424" y="664256"/>
            <a:chExt cx="886536" cy="1306774"/>
          </a:xfrm>
        </p:grpSpPr>
        <p:grpSp>
          <p:nvGrpSpPr>
            <p:cNvPr id="128" name="MoonLegend1"/>
            <p:cNvGrpSpPr>
              <a:grpSpLocks noChangeAspect="1"/>
            </p:cNvGrpSpPr>
            <p:nvPr>
              <p:custDataLst>
                <p:tags r:id="rId18"/>
              </p:custDataLst>
            </p:nvPr>
          </p:nvGrpSpPr>
          <p:grpSpPr bwMode="gray">
            <a:xfrm>
              <a:off x="9205424" y="664256"/>
              <a:ext cx="209550" cy="209551"/>
              <a:chOff x="4533" y="183"/>
              <a:chExt cx="144" cy="144"/>
            </a:xfrm>
          </p:grpSpPr>
          <p:sp>
            <p:nvSpPr>
              <p:cNvPr id="146" name="Oval 38"/>
              <p:cNvSpPr>
                <a:spLocks noChangeAspect="1" noChangeArrowheads="1"/>
              </p:cNvSpPr>
              <p:nvPr>
                <p:custDataLst>
                  <p:tags r:id="rId31"/>
                </p:custDataLst>
              </p:nvPr>
            </p:nvSpPr>
            <p:spPr bwMode="gray">
              <a:xfrm>
                <a:off x="4533" y="183"/>
                <a:ext cx="144" cy="144"/>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7" name="Arc 39"/>
              <p:cNvSpPr>
                <a:spLocks noChangeAspect="1"/>
              </p:cNvSpPr>
              <p:nvPr>
                <p:custDataLst>
                  <p:tags r:id="rId32"/>
                </p:custDataLst>
              </p:nvPr>
            </p:nvSpPr>
            <p:spPr bwMode="gray">
              <a:xfrm>
                <a:off x="4533" y="183"/>
                <a:ext cx="144" cy="144"/>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29" name="MoonLegend2"/>
            <p:cNvGrpSpPr>
              <a:grpSpLocks noChangeAspect="1"/>
            </p:cNvGrpSpPr>
            <p:nvPr>
              <p:custDataLst>
                <p:tags r:id="rId19"/>
              </p:custDataLst>
            </p:nvPr>
          </p:nvGrpSpPr>
          <p:grpSpPr bwMode="gray">
            <a:xfrm>
              <a:off x="9205424" y="938562"/>
              <a:ext cx="209550" cy="209551"/>
              <a:chOff x="1694" y="2044"/>
              <a:chExt cx="160" cy="160"/>
            </a:xfrm>
          </p:grpSpPr>
          <p:sp>
            <p:nvSpPr>
              <p:cNvPr id="144" name="Oval 41"/>
              <p:cNvSpPr>
                <a:spLocks noChangeAspect="1" noChangeArrowheads="1"/>
              </p:cNvSpPr>
              <p:nvPr>
                <p:custDataLst>
                  <p:tags r:id="rId29"/>
                </p:custDataLst>
              </p:nvPr>
            </p:nvSpPr>
            <p:spPr bwMode="gray">
              <a:xfrm>
                <a:off x="1694" y="2044"/>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5" name="Arc 42"/>
              <p:cNvSpPr>
                <a:spLocks noChangeAspect="1"/>
              </p:cNvSpPr>
              <p:nvPr>
                <p:custDataLst>
                  <p:tags r:id="rId30"/>
                </p:custDataLst>
              </p:nvPr>
            </p:nvSpPr>
            <p:spPr bwMode="gray">
              <a:xfrm>
                <a:off x="1694" y="2044"/>
                <a:ext cx="160" cy="160"/>
              </a:xfrm>
              <a:prstGeom prst="arc">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30" name="MoonLegend4"/>
            <p:cNvGrpSpPr>
              <a:grpSpLocks noChangeAspect="1"/>
            </p:cNvGrpSpPr>
            <p:nvPr>
              <p:custDataLst>
                <p:tags r:id="rId20"/>
              </p:custDataLst>
            </p:nvPr>
          </p:nvGrpSpPr>
          <p:grpSpPr bwMode="gray">
            <a:xfrm>
              <a:off x="9205424" y="1487174"/>
              <a:ext cx="209550" cy="209551"/>
              <a:chOff x="4495" y="1198"/>
              <a:chExt cx="160" cy="160"/>
            </a:xfrm>
          </p:grpSpPr>
          <p:sp>
            <p:nvSpPr>
              <p:cNvPr id="142" name="Oval 47"/>
              <p:cNvSpPr>
                <a:spLocks noChangeAspect="1" noChangeArrowheads="1"/>
              </p:cNvSpPr>
              <p:nvPr>
                <p:custDataLst>
                  <p:tags r:id="rId27"/>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3" name="Arc 48"/>
              <p:cNvSpPr>
                <a:spLocks noChangeAspect="1"/>
              </p:cNvSpPr>
              <p:nvPr>
                <p:custDataLst>
                  <p:tags r:id="rId28"/>
                </p:custDataLst>
              </p:nvPr>
            </p:nvSpPr>
            <p:spPr bwMode="gray">
              <a:xfrm>
                <a:off x="4495" y="1198"/>
                <a:ext cx="160" cy="160"/>
              </a:xfrm>
              <a:prstGeom prst="arc">
                <a:avLst>
                  <a:gd name="adj1" fmla="val 16200000"/>
                  <a:gd name="adj2" fmla="val 108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31" name="MoonLegend5"/>
            <p:cNvGrpSpPr>
              <a:grpSpLocks noChangeAspect="1"/>
            </p:cNvGrpSpPr>
            <p:nvPr>
              <p:custDataLst>
                <p:tags r:id="rId21"/>
              </p:custDataLst>
            </p:nvPr>
          </p:nvGrpSpPr>
          <p:grpSpPr bwMode="gray">
            <a:xfrm>
              <a:off x="9205424" y="1761479"/>
              <a:ext cx="209550" cy="209551"/>
              <a:chOff x="4495" y="1440"/>
              <a:chExt cx="160" cy="160"/>
            </a:xfrm>
          </p:grpSpPr>
          <p:sp>
            <p:nvSpPr>
              <p:cNvPr id="140" name="Oval 50"/>
              <p:cNvSpPr>
                <a:spLocks noChangeAspect="1" noChangeArrowheads="1"/>
              </p:cNvSpPr>
              <p:nvPr>
                <p:custDataLst>
                  <p:tags r:id="rId25"/>
                </p:custDataLst>
              </p:nvPr>
            </p:nvSpPr>
            <p:spPr bwMode="gray">
              <a:xfrm>
                <a:off x="4495" y="1440"/>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1" name="Oval 51"/>
              <p:cNvSpPr>
                <a:spLocks noChangeAspect="1" noChangeArrowheads="1"/>
              </p:cNvSpPr>
              <p:nvPr>
                <p:custDataLst>
                  <p:tags r:id="rId26"/>
                </p:custDataLst>
              </p:nvPr>
            </p:nvSpPr>
            <p:spPr bwMode="gray">
              <a:xfrm>
                <a:off x="4495" y="1440"/>
                <a:ext cx="160" cy="160"/>
              </a:xfrm>
              <a:prstGeom prst="arc">
                <a:avLst>
                  <a:gd name="adj1" fmla="val 16200000"/>
                  <a:gd name="adj2" fmla="val 162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sp>
          <p:nvSpPr>
            <p:cNvPr id="132" name="Legend1"/>
            <p:cNvSpPr>
              <a:spLocks noChangeArrowheads="1"/>
            </p:cNvSpPr>
            <p:nvPr/>
          </p:nvSpPr>
          <p:spPr bwMode="gray">
            <a:xfrm>
              <a:off x="9526099" y="676699"/>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3" name="Legend2"/>
            <p:cNvSpPr>
              <a:spLocks noChangeArrowheads="1"/>
            </p:cNvSpPr>
            <p:nvPr/>
          </p:nvSpPr>
          <p:spPr bwMode="gray">
            <a:xfrm>
              <a:off x="9526099" y="951005"/>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4" name="Legend3"/>
            <p:cNvSpPr>
              <a:spLocks noChangeArrowheads="1"/>
            </p:cNvSpPr>
            <p:nvPr/>
          </p:nvSpPr>
          <p:spPr bwMode="gray">
            <a:xfrm>
              <a:off x="9526099" y="1225311"/>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5" name="Legend4"/>
            <p:cNvSpPr>
              <a:spLocks noChangeArrowheads="1"/>
            </p:cNvSpPr>
            <p:nvPr/>
          </p:nvSpPr>
          <p:spPr bwMode="gray">
            <a:xfrm>
              <a:off x="9526099" y="1499617"/>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6" name="Legend5"/>
            <p:cNvSpPr>
              <a:spLocks noChangeArrowheads="1"/>
            </p:cNvSpPr>
            <p:nvPr/>
          </p:nvSpPr>
          <p:spPr bwMode="gray">
            <a:xfrm>
              <a:off x="9526099" y="1773922"/>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grpSp>
          <p:nvGrpSpPr>
            <p:cNvPr id="137" name="MoonLegend3"/>
            <p:cNvGrpSpPr>
              <a:grpSpLocks noChangeAspect="1"/>
            </p:cNvGrpSpPr>
            <p:nvPr>
              <p:custDataLst>
                <p:tags r:id="rId22"/>
              </p:custDataLst>
            </p:nvPr>
          </p:nvGrpSpPr>
          <p:grpSpPr bwMode="gray">
            <a:xfrm>
              <a:off x="9205424" y="1212868"/>
              <a:ext cx="209550" cy="209551"/>
              <a:chOff x="4495" y="1198"/>
              <a:chExt cx="160" cy="160"/>
            </a:xfrm>
          </p:grpSpPr>
          <p:sp>
            <p:nvSpPr>
              <p:cNvPr id="138" name="Oval 47"/>
              <p:cNvSpPr>
                <a:spLocks noChangeAspect="1" noChangeArrowheads="1"/>
              </p:cNvSpPr>
              <p:nvPr>
                <p:custDataLst>
                  <p:tags r:id="rId23"/>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39" name="Arc 48"/>
              <p:cNvSpPr>
                <a:spLocks noChangeAspect="1"/>
              </p:cNvSpPr>
              <p:nvPr>
                <p:custDataLst>
                  <p:tags r:id="rId24"/>
                </p:custDataLst>
              </p:nvPr>
            </p:nvSpPr>
            <p:spPr bwMode="gray">
              <a:xfrm>
                <a:off x="4495" y="1198"/>
                <a:ext cx="160" cy="160"/>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grpSp>
        <p:nvGrpSpPr>
          <p:cNvPr id="148" name="Moon" hidden="1"/>
          <p:cNvGrpSpPr/>
          <p:nvPr>
            <p:custDataLst>
              <p:tags r:id="rId15"/>
            </p:custDataLst>
          </p:nvPr>
        </p:nvGrpSpPr>
        <p:grpSpPr bwMode="gray">
          <a:xfrm>
            <a:off x="11699579" y="2698440"/>
            <a:ext cx="259163" cy="259159"/>
            <a:chOff x="762000" y="1270000"/>
            <a:chExt cx="254000" cy="254000"/>
          </a:xfrm>
        </p:grpSpPr>
        <p:sp>
          <p:nvSpPr>
            <p:cNvPr id="149" name="Oval 148"/>
            <p:cNvSpPr/>
            <p:nvPr/>
          </p:nvSpPr>
          <p:spPr bwMode="gray">
            <a:xfrm>
              <a:off x="762000" y="1270000"/>
              <a:ext cx="254000" cy="254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37" dirty="0">
                <a:solidFill>
                  <a:schemeClr val="tx1"/>
                </a:solidFill>
              </a:endParaRPr>
            </a:p>
          </p:txBody>
        </p:sp>
        <p:sp>
          <p:nvSpPr>
            <p:cNvPr id="150" name="Arc 149"/>
            <p:cNvSpPr/>
            <p:nvPr/>
          </p:nvSpPr>
          <p:spPr bwMode="gray">
            <a:xfrm>
              <a:off x="762000" y="1270000"/>
              <a:ext cx="254000" cy="254000"/>
            </a:xfrm>
            <a:prstGeom prst="arc">
              <a:avLst/>
            </a:prstGeom>
            <a:solidFill>
              <a:schemeClr val="accent4"/>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837" dirty="0"/>
            </a:p>
          </p:txBody>
        </p:sp>
      </p:grpSp>
      <p:sp>
        <p:nvSpPr>
          <p:cNvPr id="72" name="SingleChevron" hidden="1">
            <a:extLst>
              <a:ext uri="{FF2B5EF4-FFF2-40B4-BE49-F238E27FC236}">
                <a16:creationId xmlns:a16="http://schemas.microsoft.com/office/drawing/2014/main" id="{F76CFF7D-6557-4985-9AC8-0BA5374E926A}"/>
              </a:ext>
            </a:extLst>
          </p:cNvPr>
          <p:cNvSpPr>
            <a:spLocks noChangeAspect="1"/>
          </p:cNvSpPr>
          <p:nvPr/>
        </p:nvSpPr>
        <p:spPr bwMode="gray">
          <a:xfrm>
            <a:off x="5558038" y="4431545"/>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nvGrpSpPr>
          <p:cNvPr id="73" name="DoubleChevron2" hidden="1">
            <a:extLst>
              <a:ext uri="{FF2B5EF4-FFF2-40B4-BE49-F238E27FC236}">
                <a16:creationId xmlns:a16="http://schemas.microsoft.com/office/drawing/2014/main" id="{03430B6D-F4A8-4F59-B66C-8C207F43DAF7}"/>
              </a:ext>
            </a:extLst>
          </p:cNvPr>
          <p:cNvGrpSpPr>
            <a:grpSpLocks noChangeAspect="1"/>
          </p:cNvGrpSpPr>
          <p:nvPr/>
        </p:nvGrpSpPr>
        <p:grpSpPr bwMode="gray">
          <a:xfrm>
            <a:off x="6852326" y="4431545"/>
            <a:ext cx="1268194" cy="1554955"/>
            <a:chOff x="1270000" y="1270000"/>
            <a:chExt cx="2951957" cy="3619500"/>
          </a:xfrm>
          <a:solidFill>
            <a:schemeClr val="accent1"/>
          </a:solidFill>
        </p:grpSpPr>
        <p:sp>
          <p:nvSpPr>
            <p:cNvPr id="78" name="Chevron1">
              <a:extLst>
                <a:ext uri="{FF2B5EF4-FFF2-40B4-BE49-F238E27FC236}">
                  <a16:creationId xmlns:a16="http://schemas.microsoft.com/office/drawing/2014/main" id="{BEF86B13-F0F9-44E8-BC82-D3B1F01A2E04}"/>
                </a:ext>
              </a:extLst>
            </p:cNvPr>
            <p:cNvSpPr>
              <a:spLocks noChangeAspect="1"/>
            </p:cNvSpPr>
            <p:nvPr userDrawn="1"/>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sp>
          <p:nvSpPr>
            <p:cNvPr id="79" name="Chevron2">
              <a:extLst>
                <a:ext uri="{FF2B5EF4-FFF2-40B4-BE49-F238E27FC236}">
                  <a16:creationId xmlns:a16="http://schemas.microsoft.com/office/drawing/2014/main" id="{8DE836DF-98B4-4DEB-AD7B-399DB9FCD487}"/>
                </a:ext>
              </a:extLst>
            </p:cNvPr>
            <p:cNvSpPr>
              <a:spLocks noChangeAspect="1"/>
            </p:cNvSpPr>
            <p:nvPr userDrawn="1"/>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grpSp>
        <p:nvGrpSpPr>
          <p:cNvPr id="74" name="DoubleChevron" hidden="1">
            <a:extLst>
              <a:ext uri="{FF2B5EF4-FFF2-40B4-BE49-F238E27FC236}">
                <a16:creationId xmlns:a16="http://schemas.microsoft.com/office/drawing/2014/main" id="{DD1F7A8A-45A7-4E8C-8541-B4A77C4549C2}"/>
              </a:ext>
            </a:extLst>
          </p:cNvPr>
          <p:cNvGrpSpPr>
            <a:grpSpLocks noChangeAspect="1"/>
          </p:cNvGrpSpPr>
          <p:nvPr/>
        </p:nvGrpSpPr>
        <p:grpSpPr bwMode="gray">
          <a:xfrm>
            <a:off x="6027861" y="4431545"/>
            <a:ext cx="1034947" cy="1554955"/>
            <a:chOff x="1270000" y="1270000"/>
            <a:chExt cx="2409032" cy="3619500"/>
          </a:xfrm>
          <a:solidFill>
            <a:schemeClr val="accent1"/>
          </a:solidFill>
        </p:grpSpPr>
        <p:sp>
          <p:nvSpPr>
            <p:cNvPr id="75" name="Chevron1">
              <a:extLst>
                <a:ext uri="{FF2B5EF4-FFF2-40B4-BE49-F238E27FC236}">
                  <a16:creationId xmlns:a16="http://schemas.microsoft.com/office/drawing/2014/main" id="{FE91783C-386A-49DF-98E2-044BFF2D9715}"/>
                </a:ext>
              </a:extLst>
            </p:cNvPr>
            <p:cNvSpPr>
              <a:spLocks noChangeAspect="1"/>
            </p:cNvSpPr>
            <p:nvPr userDrawn="1"/>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sp>
          <p:nvSpPr>
            <p:cNvPr id="76" name="Chevron2">
              <a:extLst>
                <a:ext uri="{FF2B5EF4-FFF2-40B4-BE49-F238E27FC236}">
                  <a16:creationId xmlns:a16="http://schemas.microsoft.com/office/drawing/2014/main" id="{23EED61E-5E5B-4DC3-AA5C-EF1657A66CE6}"/>
                </a:ext>
              </a:extLst>
            </p:cNvPr>
            <p:cNvSpPr>
              <a:spLocks noChangeAspect="1"/>
            </p:cNvSpPr>
            <p:nvPr userDrawn="1"/>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sp>
        <p:nvSpPr>
          <p:cNvPr id="80" name="TitleTrackerAlpha" hidden="1">
            <a:extLst>
              <a:ext uri="{FF2B5EF4-FFF2-40B4-BE49-F238E27FC236}">
                <a16:creationId xmlns:a16="http://schemas.microsoft.com/office/drawing/2014/main" id="{DBBF5B7D-AEA7-4B32-86DF-D97974B2332B}"/>
              </a:ext>
            </a:extLst>
          </p:cNvPr>
          <p:cNvSpPr/>
          <p:nvPr>
            <p:custDataLst>
              <p:tags r:id="rId16"/>
            </p:custDataLst>
          </p:nvPr>
        </p:nvSpPr>
        <p:spPr bwMode="gray">
          <a:xfrm>
            <a:off x="839040" y="225253"/>
            <a:ext cx="492410" cy="492402"/>
          </a:xfrm>
          <a:prstGeom prst="ellipse">
            <a:avLst/>
          </a:prstGeom>
          <a:solidFill>
            <a:schemeClr val="bg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nl-NL" sz="2449" b="1" dirty="0">
                <a:solidFill>
                  <a:schemeClr val="tx2"/>
                </a:solidFill>
                <a:latin typeface="+mj-lt"/>
              </a:rPr>
              <a:t>A</a:t>
            </a:r>
          </a:p>
        </p:txBody>
      </p:sp>
      <p:sp>
        <p:nvSpPr>
          <p:cNvPr id="81" name="TitleTrackerNum" hidden="1">
            <a:extLst>
              <a:ext uri="{FF2B5EF4-FFF2-40B4-BE49-F238E27FC236}">
                <a16:creationId xmlns:a16="http://schemas.microsoft.com/office/drawing/2014/main" id="{794CED1F-6725-4459-8907-48C740430B0C}"/>
              </a:ext>
            </a:extLst>
          </p:cNvPr>
          <p:cNvSpPr/>
          <p:nvPr>
            <p:custDataLst>
              <p:tags r:id="rId17"/>
            </p:custDataLst>
          </p:nvPr>
        </p:nvSpPr>
        <p:spPr bwMode="gray">
          <a:xfrm>
            <a:off x="839040" y="225253"/>
            <a:ext cx="492410" cy="492402"/>
          </a:xfrm>
          <a:prstGeom prst="ellipse">
            <a:avLst/>
          </a:prstGeom>
          <a:solidFill>
            <a:schemeClr val="bg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nl-NL" sz="2449" b="1" dirty="0">
                <a:solidFill>
                  <a:schemeClr val="tx2"/>
                </a:solidFill>
                <a:latin typeface="+mj-lt"/>
              </a:rPr>
              <a:t>1</a:t>
            </a:r>
          </a:p>
        </p:txBody>
      </p:sp>
      <p:grpSp>
        <p:nvGrpSpPr>
          <p:cNvPr id="155" name="Group 154">
            <a:extLst>
              <a:ext uri="{FF2B5EF4-FFF2-40B4-BE49-F238E27FC236}">
                <a16:creationId xmlns:a16="http://schemas.microsoft.com/office/drawing/2014/main" id="{D5277C95-E1E2-4256-90CF-0E3D9E82775F}"/>
              </a:ext>
            </a:extLst>
          </p:cNvPr>
          <p:cNvGrpSpPr/>
          <p:nvPr userDrawn="1"/>
        </p:nvGrpSpPr>
        <p:grpSpPr bwMode="ltGray">
          <a:xfrm>
            <a:off x="233258" y="106904"/>
            <a:ext cx="426000" cy="1448052"/>
            <a:chOff x="177800" y="104775"/>
            <a:chExt cx="417513" cy="1419225"/>
          </a:xfrm>
          <a:solidFill>
            <a:schemeClr val="tx2"/>
          </a:solidFill>
        </p:grpSpPr>
        <p:sp>
          <p:nvSpPr>
            <p:cNvPr id="156" name="Freeform 42">
              <a:extLst>
                <a:ext uri="{FF2B5EF4-FFF2-40B4-BE49-F238E27FC236}">
                  <a16:creationId xmlns:a16="http://schemas.microsoft.com/office/drawing/2014/main" id="{2632F7AF-F5FB-4620-AF44-CD765C50CB67}"/>
                </a:ext>
              </a:extLst>
            </p:cNvPr>
            <p:cNvSpPr>
              <a:spLocks/>
            </p:cNvSpPr>
            <p:nvPr userDrawn="1"/>
          </p:nvSpPr>
          <p:spPr bwMode="ltGray">
            <a:xfrm>
              <a:off x="177800" y="1108075"/>
              <a:ext cx="417513" cy="415925"/>
            </a:xfrm>
            <a:custGeom>
              <a:avLst/>
              <a:gdLst>
                <a:gd name="T0" fmla="*/ 0 w 263"/>
                <a:gd name="T1" fmla="*/ 209 h 262"/>
                <a:gd name="T2" fmla="*/ 80 w 263"/>
                <a:gd name="T3" fmla="*/ 131 h 262"/>
                <a:gd name="T4" fmla="*/ 0 w 263"/>
                <a:gd name="T5" fmla="*/ 52 h 262"/>
                <a:gd name="T6" fmla="*/ 53 w 263"/>
                <a:gd name="T7" fmla="*/ 0 h 262"/>
                <a:gd name="T8" fmla="*/ 132 w 263"/>
                <a:gd name="T9" fmla="*/ 78 h 262"/>
                <a:gd name="T10" fmla="*/ 210 w 263"/>
                <a:gd name="T11" fmla="*/ 0 h 262"/>
                <a:gd name="T12" fmla="*/ 263 w 263"/>
                <a:gd name="T13" fmla="*/ 52 h 262"/>
                <a:gd name="T14" fmla="*/ 185 w 263"/>
                <a:gd name="T15" fmla="*/ 131 h 262"/>
                <a:gd name="T16" fmla="*/ 263 w 263"/>
                <a:gd name="T17" fmla="*/ 209 h 262"/>
                <a:gd name="T18" fmla="*/ 210 w 263"/>
                <a:gd name="T19" fmla="*/ 262 h 262"/>
                <a:gd name="T20" fmla="*/ 132 w 263"/>
                <a:gd name="T21" fmla="*/ 183 h 262"/>
                <a:gd name="T22" fmla="*/ 53 w 263"/>
                <a:gd name="T23" fmla="*/ 262 h 262"/>
                <a:gd name="T24" fmla="*/ 0 w 263"/>
                <a:gd name="T25" fmla="*/ 20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2">
                  <a:moveTo>
                    <a:pt x="0" y="209"/>
                  </a:moveTo>
                  <a:lnTo>
                    <a:pt x="80" y="131"/>
                  </a:lnTo>
                  <a:lnTo>
                    <a:pt x="0" y="52"/>
                  </a:lnTo>
                  <a:lnTo>
                    <a:pt x="53" y="0"/>
                  </a:lnTo>
                  <a:lnTo>
                    <a:pt x="132" y="78"/>
                  </a:lnTo>
                  <a:lnTo>
                    <a:pt x="210" y="0"/>
                  </a:lnTo>
                  <a:lnTo>
                    <a:pt x="263" y="52"/>
                  </a:lnTo>
                  <a:lnTo>
                    <a:pt x="185" y="131"/>
                  </a:lnTo>
                  <a:lnTo>
                    <a:pt x="263" y="209"/>
                  </a:lnTo>
                  <a:lnTo>
                    <a:pt x="210" y="262"/>
                  </a:lnTo>
                  <a:lnTo>
                    <a:pt x="132" y="183"/>
                  </a:lnTo>
                  <a:lnTo>
                    <a:pt x="53" y="262"/>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157" name="Freeform 43">
              <a:extLst>
                <a:ext uri="{FF2B5EF4-FFF2-40B4-BE49-F238E27FC236}">
                  <a16:creationId xmlns:a16="http://schemas.microsoft.com/office/drawing/2014/main" id="{EAEBA356-DF50-406B-A0F8-71773E1B6C83}"/>
                </a:ext>
              </a:extLst>
            </p:cNvPr>
            <p:cNvSpPr>
              <a:spLocks/>
            </p:cNvSpPr>
            <p:nvPr userDrawn="1"/>
          </p:nvSpPr>
          <p:spPr bwMode="ltGray">
            <a:xfrm>
              <a:off x="177800" y="104775"/>
              <a:ext cx="417513" cy="417513"/>
            </a:xfrm>
            <a:custGeom>
              <a:avLst/>
              <a:gdLst>
                <a:gd name="T0" fmla="*/ 0 w 263"/>
                <a:gd name="T1" fmla="*/ 211 h 263"/>
                <a:gd name="T2" fmla="*/ 80 w 263"/>
                <a:gd name="T3" fmla="*/ 132 h 263"/>
                <a:gd name="T4" fmla="*/ 0 w 263"/>
                <a:gd name="T5" fmla="*/ 53 h 263"/>
                <a:gd name="T6" fmla="*/ 53 w 263"/>
                <a:gd name="T7" fmla="*/ 0 h 263"/>
                <a:gd name="T8" fmla="*/ 132 w 263"/>
                <a:gd name="T9" fmla="*/ 80 h 263"/>
                <a:gd name="T10" fmla="*/ 210 w 263"/>
                <a:gd name="T11" fmla="*/ 0 h 263"/>
                <a:gd name="T12" fmla="*/ 263 w 263"/>
                <a:gd name="T13" fmla="*/ 53 h 263"/>
                <a:gd name="T14" fmla="*/ 185 w 263"/>
                <a:gd name="T15" fmla="*/ 132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2"/>
                  </a:lnTo>
                  <a:lnTo>
                    <a:pt x="0" y="53"/>
                  </a:lnTo>
                  <a:lnTo>
                    <a:pt x="53" y="0"/>
                  </a:lnTo>
                  <a:lnTo>
                    <a:pt x="132" y="80"/>
                  </a:lnTo>
                  <a:lnTo>
                    <a:pt x="210" y="0"/>
                  </a:lnTo>
                  <a:lnTo>
                    <a:pt x="263" y="53"/>
                  </a:lnTo>
                  <a:lnTo>
                    <a:pt x="185" y="132"/>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158" name="Freeform 44">
              <a:extLst>
                <a:ext uri="{FF2B5EF4-FFF2-40B4-BE49-F238E27FC236}">
                  <a16:creationId xmlns:a16="http://schemas.microsoft.com/office/drawing/2014/main" id="{4BC8CEA6-C57E-4F7B-A57F-2A3E140774AF}"/>
                </a:ext>
              </a:extLst>
            </p:cNvPr>
            <p:cNvSpPr>
              <a:spLocks/>
            </p:cNvSpPr>
            <p:nvPr userDrawn="1"/>
          </p:nvSpPr>
          <p:spPr bwMode="ltGray">
            <a:xfrm>
              <a:off x="177800" y="606425"/>
              <a:ext cx="417513" cy="417513"/>
            </a:xfrm>
            <a:custGeom>
              <a:avLst/>
              <a:gdLst>
                <a:gd name="T0" fmla="*/ 0 w 263"/>
                <a:gd name="T1" fmla="*/ 211 h 263"/>
                <a:gd name="T2" fmla="*/ 80 w 263"/>
                <a:gd name="T3" fmla="*/ 131 h 263"/>
                <a:gd name="T4" fmla="*/ 0 w 263"/>
                <a:gd name="T5" fmla="*/ 53 h 263"/>
                <a:gd name="T6" fmla="*/ 53 w 263"/>
                <a:gd name="T7" fmla="*/ 0 h 263"/>
                <a:gd name="T8" fmla="*/ 132 w 263"/>
                <a:gd name="T9" fmla="*/ 79 h 263"/>
                <a:gd name="T10" fmla="*/ 210 w 263"/>
                <a:gd name="T11" fmla="*/ 0 h 263"/>
                <a:gd name="T12" fmla="*/ 263 w 263"/>
                <a:gd name="T13" fmla="*/ 53 h 263"/>
                <a:gd name="T14" fmla="*/ 185 w 263"/>
                <a:gd name="T15" fmla="*/ 131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1"/>
                  </a:lnTo>
                  <a:lnTo>
                    <a:pt x="0" y="53"/>
                  </a:lnTo>
                  <a:lnTo>
                    <a:pt x="53" y="0"/>
                  </a:lnTo>
                  <a:lnTo>
                    <a:pt x="132" y="79"/>
                  </a:lnTo>
                  <a:lnTo>
                    <a:pt x="210" y="0"/>
                  </a:lnTo>
                  <a:lnTo>
                    <a:pt x="263" y="53"/>
                  </a:lnTo>
                  <a:lnTo>
                    <a:pt x="185" y="131"/>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grpSp>
      <p:pic>
        <p:nvPicPr>
          <p:cNvPr id="85" name="Picture 84">
            <a:extLst>
              <a:ext uri="{FF2B5EF4-FFF2-40B4-BE49-F238E27FC236}">
                <a16:creationId xmlns:a16="http://schemas.microsoft.com/office/drawing/2014/main" id="{26EF00A0-5632-4E05-86CC-1BCC461D3DFE}"/>
              </a:ext>
            </a:extLst>
          </p:cNvPr>
          <p:cNvPicPr>
            <a:picLocks noChangeAspect="1"/>
          </p:cNvPicPr>
          <p:nvPr userDrawn="1"/>
        </p:nvPicPr>
        <p:blipFill>
          <a:blip r:embed="rId41"/>
          <a:stretch>
            <a:fillRect/>
          </a:stretch>
        </p:blipFill>
        <p:spPr>
          <a:xfrm>
            <a:off x="10441494" y="5761433"/>
            <a:ext cx="1718920" cy="966877"/>
          </a:xfrm>
          <a:prstGeom prst="rect">
            <a:avLst/>
          </a:prstGeom>
        </p:spPr>
      </p:pic>
    </p:spTree>
    <p:extLst>
      <p:ext uri="{BB962C8B-B14F-4D97-AF65-F5344CB8AC3E}">
        <p14:creationId xmlns:p14="http://schemas.microsoft.com/office/powerpoint/2010/main" val="278697925"/>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Lst>
  <p:hf hdr="0" dt="0"/>
  <p:txStyles>
    <p:titleStyle>
      <a:lvl1pPr algn="l" defTabSz="913526" rtl="0" eaLnBrk="1" fontAlgn="base" hangingPunct="1">
        <a:spcBef>
          <a:spcPct val="0"/>
        </a:spcBef>
        <a:spcAft>
          <a:spcPct val="0"/>
        </a:spcAft>
        <a:tabLst>
          <a:tab pos="549088" algn="l"/>
        </a:tabLst>
        <a:defRPr sz="244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83654" indent="-183654" algn="l" defTabSz="913526" rtl="0" eaLnBrk="1" fontAlgn="base" hangingPunct="1">
        <a:spcBef>
          <a:spcPct val="0"/>
        </a:spcBef>
        <a:spcAft>
          <a:spcPct val="0"/>
        </a:spcAft>
        <a:buClr>
          <a:schemeClr val="tx2"/>
        </a:buClr>
        <a:buSzPct val="125000"/>
        <a:buFont typeface="Arial" pitchFamily="34" charset="0"/>
        <a:buChar char="•"/>
        <a:defRPr sz="1632" baseline="0">
          <a:solidFill>
            <a:schemeClr val="tx1"/>
          </a:solidFill>
          <a:latin typeface="+mn-lt"/>
        </a:defRPr>
      </a:lvl2pPr>
      <a:lvl3pPr marL="367308" indent="-183654"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550962" indent="-183654" algn="l" defTabSz="913526" rtl="0" eaLnBrk="1" fontAlgn="base" hangingPunct="1">
        <a:spcBef>
          <a:spcPct val="0"/>
        </a:spcBef>
        <a:spcAft>
          <a:spcPct val="0"/>
        </a:spcAft>
        <a:buClr>
          <a:schemeClr val="tx2"/>
        </a:buClr>
        <a:buSzPct val="120000"/>
        <a:buFont typeface="Arial" pitchFamily="34" charset="0"/>
        <a:buChar char="◦"/>
        <a:defRPr sz="1632" baseline="0">
          <a:solidFill>
            <a:schemeClr val="tx1"/>
          </a:solidFill>
          <a:latin typeface="+mn-lt"/>
        </a:defRPr>
      </a:lvl4pPr>
      <a:lvl5pPr marL="734616" indent="-183654"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65A6508-E1C8-4462-9136-A50BFE72C76F}"/>
              </a:ext>
            </a:extLst>
          </p:cNvPr>
          <p:cNvGraphicFramePr>
            <a:graphicFrameLocks noChangeAspect="1"/>
          </p:cNvGraphicFramePr>
          <p:nvPr userDrawn="1">
            <p:custDataLst>
              <p:tags r:id="rId19"/>
            </p:custDataLst>
            <p:extLst>
              <p:ext uri="{D42A27DB-BD31-4B8C-83A1-F6EECF244321}">
                <p14:modId xmlns:p14="http://schemas.microsoft.com/office/powerpoint/2010/main" val="1489290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3" imgH="403" progId="TCLayout.ActiveDocument.1">
                  <p:embed/>
                </p:oleObj>
              </mc:Choice>
              <mc:Fallback>
                <p:oleObj name="think-cell Slide" r:id="rId20" imgW="393" imgH="403" progId="TCLayout.ActiveDocument.1">
                  <p:embed/>
                  <p:pic>
                    <p:nvPicPr>
                      <p:cNvPr id="7" name="Object 6" hidden="1">
                        <a:extLst>
                          <a:ext uri="{FF2B5EF4-FFF2-40B4-BE49-F238E27FC236}">
                            <a16:creationId xmlns:a16="http://schemas.microsoft.com/office/drawing/2014/main" id="{A65A6508-E1C8-4462-9136-A50BFE72C76F}"/>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12" name="Groep 11"/>
          <p:cNvGrpSpPr>
            <a:grpSpLocks noSelect="1"/>
          </p:cNvGrpSpPr>
          <p:nvPr userDrawn="1"/>
        </p:nvGrpSpPr>
        <p:grpSpPr bwMode="black">
          <a:xfrm>
            <a:off x="243417" y="163513"/>
            <a:ext cx="567267" cy="1447800"/>
            <a:chOff x="182563" y="163513"/>
            <a:chExt cx="425450" cy="1447800"/>
          </a:xfrm>
          <a:solidFill>
            <a:srgbClr val="FF0000"/>
          </a:solidFill>
        </p:grpSpPr>
        <p:sp>
          <p:nvSpPr>
            <p:cNvPr id="13" name="Freeform 7"/>
            <p:cNvSpPr>
              <a:spLocks noSelect="1"/>
            </p:cNvSpPr>
            <p:nvPr/>
          </p:nvSpPr>
          <p:spPr bwMode="black">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4" name="Freeform 8"/>
            <p:cNvSpPr>
              <a:spLocks noSelect="1"/>
            </p:cNvSpPr>
            <p:nvPr/>
          </p:nvSpPr>
          <p:spPr bwMode="black">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5" name="Freeform 9"/>
            <p:cNvSpPr>
              <a:spLocks noSelect="1"/>
            </p:cNvSpPr>
            <p:nvPr/>
          </p:nvSpPr>
          <p:spPr bwMode="black">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grpSp>
      <p:sp>
        <p:nvSpPr>
          <p:cNvPr id="2" name="Tijdelijke aanduiding voor titel 1"/>
          <p:cNvSpPr>
            <a:spLocks noGrp="1" noSelect="1"/>
          </p:cNvSpPr>
          <p:nvPr>
            <p:ph type="title"/>
          </p:nvPr>
        </p:nvSpPr>
        <p:spPr bwMode="gray">
          <a:xfrm>
            <a:off x="1042628" y="1998333"/>
            <a:ext cx="10680000" cy="1143000"/>
          </a:xfrm>
          <a:prstGeom prst="rect">
            <a:avLst/>
          </a:prstGeom>
        </p:spPr>
        <p:txBody>
          <a:bodyPr vert="horz" lIns="0" tIns="0" rIns="0" bIns="0" rtlCol="0" anchor="t">
            <a:noAutofit/>
          </a:bodyPr>
          <a:lstStyle/>
          <a:p>
            <a:r>
              <a:rPr lang="nl-NL" noProof="1"/>
              <a:t>Klik om de stijl te bewerken</a:t>
            </a:r>
          </a:p>
        </p:txBody>
      </p:sp>
      <p:sp>
        <p:nvSpPr>
          <p:cNvPr id="3" name="Tijdelijke aanduiding voor tekst 2"/>
          <p:cNvSpPr>
            <a:spLocks noGrp="1" noSelect="1"/>
          </p:cNvSpPr>
          <p:nvPr>
            <p:ph type="body" idx="1"/>
          </p:nvPr>
        </p:nvSpPr>
        <p:spPr bwMode="gray">
          <a:xfrm>
            <a:off x="1042084" y="3367564"/>
            <a:ext cx="10680000" cy="2787175"/>
          </a:xfrm>
          <a:prstGeom prst="rect">
            <a:avLst/>
          </a:prstGeom>
        </p:spPr>
        <p:txBody>
          <a:bodyPr vert="horz" lIns="0" tIns="0" rIns="0" bIns="0" rtlCol="0">
            <a:noAutofit/>
          </a:bodyPr>
          <a:lstStyle/>
          <a:p>
            <a:pPr lvl="0"/>
            <a:r>
              <a:rPr lang="nl-NL" noProof="1"/>
              <a:t>Klik om de modelstijlen te bewerken</a:t>
            </a:r>
          </a:p>
          <a:p>
            <a:pPr lvl="1"/>
            <a:r>
              <a:rPr lang="nl-NL" noProof="1"/>
              <a:t>Tweede niveau</a:t>
            </a:r>
          </a:p>
          <a:p>
            <a:pPr lvl="2"/>
            <a:r>
              <a:rPr lang="nl-NL" noProof="1"/>
              <a:t>Derde niveau</a:t>
            </a:r>
          </a:p>
          <a:p>
            <a:pPr lvl="3"/>
            <a:r>
              <a:rPr lang="nl-NL" noProof="1"/>
              <a:t>Vierde niveau</a:t>
            </a:r>
          </a:p>
          <a:p>
            <a:pPr lvl="4"/>
            <a:r>
              <a:rPr lang="nl-NL" noProof="1"/>
              <a:t>Vijfde niveau</a:t>
            </a:r>
          </a:p>
          <a:p>
            <a:pPr lvl="5"/>
            <a:r>
              <a:rPr lang="nl-NL" noProof="1"/>
              <a:t>Zesde niveau</a:t>
            </a:r>
          </a:p>
          <a:p>
            <a:pPr lvl="6"/>
            <a:r>
              <a:rPr lang="nl-NL" noProof="1"/>
              <a:t>Zevende niveau</a:t>
            </a:r>
          </a:p>
          <a:p>
            <a:pPr lvl="7"/>
            <a:r>
              <a:rPr lang="nl-NL" noProof="1"/>
              <a:t>Achtste niveau</a:t>
            </a:r>
          </a:p>
          <a:p>
            <a:pPr lvl="8"/>
            <a:r>
              <a:rPr lang="nl-NL" noProof="1"/>
              <a:t>Negende niveau</a:t>
            </a:r>
          </a:p>
        </p:txBody>
      </p:sp>
      <p:grpSp>
        <p:nvGrpSpPr>
          <p:cNvPr id="20" name="Groep 19"/>
          <p:cNvGrpSpPr>
            <a:grpSpLocks noSelect="1"/>
          </p:cNvGrpSpPr>
          <p:nvPr userDrawn="1"/>
        </p:nvGrpSpPr>
        <p:grpSpPr bwMode="gray">
          <a:xfrm>
            <a:off x="12336832" y="-47626"/>
            <a:ext cx="2146029" cy="6948000"/>
            <a:chOff x="9252624" y="-47626"/>
            <a:chExt cx="1609522" cy="6948000"/>
          </a:xfrm>
        </p:grpSpPr>
        <p:sp>
          <p:nvSpPr>
            <p:cNvPr id="16" name="Afgeronde rechthoek 15"/>
            <p:cNvSpPr>
              <a:spLocks noSelect="1"/>
            </p:cNvSpPr>
            <p:nvPr userDrawn="1"/>
          </p:nvSpPr>
          <p:spPr bwMode="gray">
            <a:xfrm>
              <a:off x="9252624" y="-47626"/>
              <a:ext cx="1609522" cy="6948000"/>
            </a:xfrm>
            <a:prstGeom prst="roundRect">
              <a:avLst>
                <a:gd name="adj" fmla="val 970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r>
                <a:rPr lang="nl-NL" sz="900" noProof="1">
                  <a:solidFill>
                    <a:schemeClr val="tx1"/>
                  </a:solidFill>
                </a:rPr>
                <a:t>Klik op het pijltje naast Nieuwe dia om een nieuwe dia aan te maken. Kies een van de indelingen.</a:t>
              </a:r>
            </a:p>
            <a:p>
              <a:pPr algn="l"/>
              <a:endParaRPr lang="nl-NL" sz="900" noProof="1">
                <a:solidFill>
                  <a:schemeClr val="tx1"/>
                </a:solidFill>
              </a:endParaRPr>
            </a:p>
            <a:p>
              <a:pPr algn="l"/>
              <a:r>
                <a:rPr lang="nl-NL" sz="900" noProof="1">
                  <a:solidFill>
                    <a:schemeClr val="tx1"/>
                  </a:solidFill>
                </a:rPr>
                <a:t>Klik op Indeling als de dia opnieuw moet worden aangepast aan de huidige indeling, of om een andere indeling toe te passen.</a:t>
              </a:r>
            </a:p>
            <a:p>
              <a:pPr algn="l"/>
              <a:endParaRPr lang="nl-NL" sz="900" noProof="1">
                <a:solidFill>
                  <a:schemeClr val="tx1"/>
                </a:solidFill>
              </a:endParaRPr>
            </a:p>
            <a:p>
              <a:pPr algn="l"/>
              <a:r>
                <a:rPr lang="nl-NL" sz="900" noProof="1">
                  <a:solidFill>
                    <a:schemeClr val="tx1"/>
                  </a:solidFill>
                </a:rPr>
                <a:t>De tekstvakken van de dia’s hebben allen 9 niveaus.</a:t>
              </a:r>
            </a:p>
            <a:p>
              <a:pPr algn="l"/>
              <a:r>
                <a:rPr lang="nl-NL" sz="900" noProof="1">
                  <a:solidFill>
                    <a:schemeClr val="tx1"/>
                  </a:solidFill>
                </a:rPr>
                <a:t>Eerste, tweede en derde niveau hebben</a:t>
              </a:r>
              <a:r>
                <a:rPr lang="nl-NL" sz="900" baseline="0" noProof="1">
                  <a:solidFill>
                    <a:schemeClr val="tx1"/>
                  </a:solidFill>
                </a:rPr>
                <a:t> een opsomming. Het vierde niveau is bold en geschikt voor een kopje.</a:t>
              </a:r>
            </a:p>
            <a:p>
              <a:pPr algn="l"/>
              <a:r>
                <a:rPr lang="nl-NL" sz="900" baseline="0" noProof="1">
                  <a:solidFill>
                    <a:schemeClr val="tx1"/>
                  </a:solidFill>
                </a:rPr>
                <a:t>Het vijfde niveau is voor de basistekst. Zowel niveau  vier als vijf lijnen automatisch uit aan de linkerkantlijn.</a:t>
              </a:r>
            </a:p>
            <a:p>
              <a:pPr algn="l"/>
              <a:r>
                <a:rPr lang="nl-NL" sz="900" baseline="0" noProof="1">
                  <a:solidFill>
                    <a:schemeClr val="tx1"/>
                  </a:solidFill>
                </a:rPr>
                <a:t>Het zesde, zevende en achtste niveau lijnen uit onder resp. eerste, tweede en derde opsomming.</a:t>
              </a:r>
            </a:p>
            <a:p>
              <a:pPr algn="l"/>
              <a:r>
                <a:rPr lang="nl-NL" sz="900" baseline="0" noProof="1">
                  <a:solidFill>
                    <a:schemeClr val="tx1"/>
                  </a:solidFill>
                </a:rPr>
                <a:t>Het negende niveau is een kleiner lettertype dat uitlijnt aan de linkermarge. Deze is geschikt voor bijvoorbeeld een bijschrift.</a:t>
              </a:r>
            </a:p>
            <a:p>
              <a:pPr algn="l"/>
              <a:endParaRPr lang="nl-NL" sz="900" baseline="0" noProof="1">
                <a:solidFill>
                  <a:schemeClr val="tx1"/>
                </a:solidFill>
              </a:endParaRPr>
            </a:p>
            <a:p>
              <a:pPr algn="l"/>
              <a:r>
                <a:rPr lang="nl-NL" sz="900" b="1" baseline="0" noProof="1">
                  <a:solidFill>
                    <a:schemeClr val="tx1"/>
                  </a:solidFill>
                </a:rPr>
                <a:t>Let op:</a:t>
              </a:r>
              <a:r>
                <a:rPr lang="nl-NL" sz="900" b="0" baseline="0" noProof="1">
                  <a:solidFill>
                    <a:schemeClr val="tx1"/>
                  </a:solidFill>
                </a:rPr>
                <a:t>  Let op: wissel van stijl met de knoppen              voor lijstniveau verhogen of verlagen, of in MS Office met verkorte toetscombinatie Alt+Shift+← of Alt+Shift+→</a:t>
              </a:r>
            </a:p>
            <a:p>
              <a:pPr algn="l"/>
              <a:endParaRPr lang="nl-NL" sz="900" b="0" baseline="0" noProof="1">
                <a:solidFill>
                  <a:schemeClr val="tx1"/>
                </a:solidFill>
              </a:endParaRPr>
            </a:p>
            <a:p>
              <a:pPr algn="l"/>
              <a:endParaRPr lang="nl-NL" sz="900" b="0" baseline="0" noProof="1">
                <a:solidFill>
                  <a:schemeClr val="tx1"/>
                </a:solidFill>
              </a:endParaRPr>
            </a:p>
            <a:p>
              <a:pPr algn="l"/>
              <a:r>
                <a:rPr lang="nl-NL" sz="900" b="0" baseline="0" noProof="1">
                  <a:solidFill>
                    <a:schemeClr val="tx1"/>
                  </a:solidFill>
                </a:rPr>
                <a:t>Gebruik dus niet de standaard opsomming- knoppen van MS Office om de stijl te veranderen!</a:t>
              </a:r>
              <a:endParaRPr lang="nl-NL" sz="900" b="1" noProof="1">
                <a:solidFill>
                  <a:schemeClr val="tx1"/>
                </a:solidFill>
              </a:endParaRPr>
            </a:p>
          </p:txBody>
        </p:sp>
        <p:pic>
          <p:nvPicPr>
            <p:cNvPr id="17" name="Afbeelding 16" descr="knoppen inspringen.png"/>
            <p:cNvPicPr>
              <a:picLocks noSelect="1" noChangeAspect="1"/>
            </p:cNvPicPr>
            <p:nvPr userDrawn="1"/>
          </p:nvPicPr>
          <p:blipFill>
            <a:blip r:embed="rId22"/>
            <a:stretch>
              <a:fillRect/>
            </a:stretch>
          </p:blipFill>
          <p:spPr bwMode="gray">
            <a:xfrm>
              <a:off x="9664584" y="5669775"/>
              <a:ext cx="419100" cy="228600"/>
            </a:xfrm>
            <a:prstGeom prst="rect">
              <a:avLst/>
            </a:prstGeom>
          </p:spPr>
        </p:pic>
        <p:grpSp>
          <p:nvGrpSpPr>
            <p:cNvPr id="19" name="Groep 18"/>
            <p:cNvGrpSpPr>
              <a:grpSpLocks noSelect="1"/>
            </p:cNvGrpSpPr>
            <p:nvPr userDrawn="1"/>
          </p:nvGrpSpPr>
          <p:grpSpPr bwMode="gray">
            <a:xfrm>
              <a:off x="9632100" y="6521279"/>
              <a:ext cx="752580" cy="285790"/>
              <a:chOff x="9670200" y="6559379"/>
              <a:chExt cx="752580" cy="285790"/>
            </a:xfrm>
          </p:grpSpPr>
          <p:pic>
            <p:nvPicPr>
              <p:cNvPr id="18" name="Afbeelding 17" descr="knoppen ms office niet gebruiken.png"/>
              <p:cNvPicPr>
                <a:picLocks noSelect="1" noChangeAspect="1"/>
              </p:cNvPicPr>
              <p:nvPr userDrawn="1"/>
            </p:nvPicPr>
            <p:blipFill>
              <a:blip r:embed="rId23"/>
              <a:stretch>
                <a:fillRect/>
              </a:stretch>
            </p:blipFill>
            <p:spPr bwMode="gray">
              <a:xfrm>
                <a:off x="9670200" y="6559379"/>
                <a:ext cx="752580" cy="285790"/>
              </a:xfrm>
              <a:prstGeom prst="rect">
                <a:avLst/>
              </a:prstGeom>
            </p:spPr>
          </p:pic>
          <p:cxnSp>
            <p:nvCxnSpPr>
              <p:cNvPr id="22" name="Rechte verbindingslijn 21"/>
              <p:cNvCxnSpPr/>
              <p:nvPr userDrawn="1"/>
            </p:nvCxnSpPr>
            <p:spPr bwMode="gray">
              <a:xfrm flipH="1">
                <a:off x="9702684" y="6565608"/>
                <a:ext cx="677709" cy="27956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bwMode="gray">
              <a:xfrm flipH="1" flipV="1">
                <a:off x="9702684" y="6565608"/>
                <a:ext cx="677709" cy="27956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grpSp>
      </p:grpSp>
      <p:sp>
        <p:nvSpPr>
          <p:cNvPr id="4" name="Tijdelijke aanduiding voor datum 3"/>
          <p:cNvSpPr>
            <a:spLocks noGrp="1" noSelect="1"/>
          </p:cNvSpPr>
          <p:nvPr>
            <p:ph type="dt" sz="half" idx="2"/>
          </p:nvPr>
        </p:nvSpPr>
        <p:spPr bwMode="gray">
          <a:xfrm>
            <a:off x="10275041" y="6489408"/>
            <a:ext cx="1008000" cy="180000"/>
          </a:xfrm>
          <a:prstGeom prst="rect">
            <a:avLst/>
          </a:prstGeom>
        </p:spPr>
        <p:txBody>
          <a:bodyPr vert="horz" lIns="0" tIns="0" rIns="0" bIns="0" rtlCol="0" anchor="t"/>
          <a:lstStyle>
            <a:lvl1pPr algn="r">
              <a:defRPr sz="1000">
                <a:solidFill>
                  <a:schemeClr val="bg2"/>
                </a:solidFill>
              </a:defRPr>
            </a:lvl1pPr>
          </a:lstStyle>
          <a:p>
            <a:endParaRPr lang="nl-NL" dirty="0"/>
          </a:p>
        </p:txBody>
      </p:sp>
      <p:sp>
        <p:nvSpPr>
          <p:cNvPr id="5" name="Tijdelijke aanduiding voor voettekst 4"/>
          <p:cNvSpPr>
            <a:spLocks noGrp="1" noSelect="1"/>
          </p:cNvSpPr>
          <p:nvPr>
            <p:ph type="ftr" sz="quarter" idx="3"/>
          </p:nvPr>
        </p:nvSpPr>
        <p:spPr bwMode="gray">
          <a:xfrm>
            <a:off x="1042084" y="6489408"/>
            <a:ext cx="8256000" cy="180000"/>
          </a:xfrm>
          <a:prstGeom prst="rect">
            <a:avLst/>
          </a:prstGeom>
        </p:spPr>
        <p:txBody>
          <a:bodyPr vert="horz" lIns="0" tIns="0" rIns="0" bIns="0" rtlCol="0" anchor="t"/>
          <a:lstStyle>
            <a:lvl1pPr algn="l">
              <a:defRPr sz="1000">
                <a:solidFill>
                  <a:schemeClr val="bg2"/>
                </a:solidFill>
              </a:defRPr>
            </a:lvl1pPr>
          </a:lstStyle>
          <a:p>
            <a:r>
              <a:rPr lang="nl-NL"/>
              <a:t>Informatiebijeenkomst 26 juli 2021 Europese Aanbesteding SVWI</a:t>
            </a:r>
            <a:endParaRPr lang="nl-NL" dirty="0"/>
          </a:p>
        </p:txBody>
      </p:sp>
      <p:sp>
        <p:nvSpPr>
          <p:cNvPr id="6" name="Tijdelijke aanduiding voor dianummer 5"/>
          <p:cNvSpPr>
            <a:spLocks noGrp="1" noSelect="1"/>
          </p:cNvSpPr>
          <p:nvPr>
            <p:ph type="sldNum" sz="quarter" idx="4"/>
          </p:nvPr>
        </p:nvSpPr>
        <p:spPr bwMode="gray">
          <a:xfrm>
            <a:off x="11329077" y="6489408"/>
            <a:ext cx="384000" cy="180000"/>
          </a:xfrm>
          <a:prstGeom prst="rect">
            <a:avLst/>
          </a:prstGeom>
        </p:spPr>
        <p:txBody>
          <a:bodyPr vert="horz" lIns="0" tIns="0" rIns="0" bIns="0" rtlCol="0" anchor="t"/>
          <a:lstStyle>
            <a:lvl1pPr algn="l">
              <a:defRPr sz="1000">
                <a:solidFill>
                  <a:schemeClr val="bg2"/>
                </a:solidFill>
              </a:defRPr>
            </a:lvl1p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2423597806"/>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Lst>
  <p:hf hdr="0" dt="0"/>
  <p:txStyles>
    <p:titleStyle>
      <a:lvl1pPr algn="l" defTabSz="914400" rtl="0" eaLnBrk="1" latinLnBrk="0" hangingPunct="1">
        <a:spcBef>
          <a:spcPct val="0"/>
        </a:spcBef>
        <a:buNone/>
        <a:defRPr sz="3500" b="1" kern="1200">
          <a:solidFill>
            <a:schemeClr val="accent1"/>
          </a:solidFill>
          <a:latin typeface="+mj-lt"/>
          <a:ea typeface="+mj-ea"/>
          <a:cs typeface="+mj-cs"/>
        </a:defRPr>
      </a:lvl1pPr>
    </p:titleStyle>
    <p:bodyStyle>
      <a:lvl1pPr marL="216000" indent="-216000" algn="l" defTabSz="914400" rtl="0" eaLnBrk="1" latinLnBrk="0" hangingPunct="1">
        <a:spcBef>
          <a:spcPts val="0"/>
        </a:spcBef>
        <a:buClr>
          <a:schemeClr val="accent1"/>
        </a:buClr>
        <a:buSzPct val="65000"/>
        <a:buFont typeface="Wingdings" pitchFamily="2" charset="2"/>
        <a:buChar char=""/>
        <a:defRPr sz="2200" b="0" kern="1200">
          <a:solidFill>
            <a:schemeClr val="tx1"/>
          </a:solidFill>
          <a:latin typeface="+mn-lt"/>
          <a:ea typeface="+mn-ea"/>
          <a:cs typeface="+mn-cs"/>
        </a:defRPr>
      </a:lvl1pPr>
      <a:lvl2pPr marL="432000" indent="-216000" algn="l" defTabSz="914400" rtl="0" eaLnBrk="1" latinLnBrk="0" hangingPunct="1">
        <a:spcBef>
          <a:spcPts val="0"/>
        </a:spcBef>
        <a:buFont typeface="Corbel" pitchFamily="34" charset="0"/>
        <a:buChar char="–"/>
        <a:defRPr sz="2200" kern="1200">
          <a:solidFill>
            <a:schemeClr val="tx1"/>
          </a:solidFill>
          <a:latin typeface="+mn-lt"/>
          <a:ea typeface="+mn-ea"/>
          <a:cs typeface="+mn-cs"/>
        </a:defRPr>
      </a:lvl2pPr>
      <a:lvl3pPr marL="648000" indent="-216000" algn="l" defTabSz="914400" rtl="0" eaLnBrk="1" latinLnBrk="0" hangingPunct="1">
        <a:spcBef>
          <a:spcPts val="0"/>
        </a:spcBef>
        <a:buClrTx/>
        <a:buSzPct val="100000"/>
        <a:buFont typeface="Corbel" pitchFamily="34" charset="0"/>
        <a:buChar char="-"/>
        <a:defRPr sz="1800" kern="1200">
          <a:solidFill>
            <a:schemeClr val="tx1"/>
          </a:solidFill>
          <a:latin typeface="+mn-lt"/>
          <a:ea typeface="+mn-ea"/>
          <a:cs typeface="+mn-cs"/>
        </a:defRPr>
      </a:lvl3pPr>
      <a:lvl4pPr marL="0" indent="0" algn="l" defTabSz="914400" rtl="0" eaLnBrk="1" latinLnBrk="0" hangingPunct="1">
        <a:spcBef>
          <a:spcPts val="0"/>
        </a:spcBef>
        <a:buFont typeface="Corbel" pitchFamily="34" charset="0"/>
        <a:buNone/>
        <a:defRPr sz="2200" b="1" kern="1200">
          <a:solidFill>
            <a:schemeClr val="tx1"/>
          </a:solidFill>
          <a:latin typeface="+mn-lt"/>
          <a:ea typeface="+mn-ea"/>
          <a:cs typeface="+mn-cs"/>
        </a:defRPr>
      </a:lvl4pPr>
      <a:lvl5pPr marL="0" indent="0" algn="l" defTabSz="914400" rtl="0" eaLnBrk="1" latinLnBrk="0" hangingPunct="1">
        <a:spcBef>
          <a:spcPts val="0"/>
        </a:spcBef>
        <a:buFont typeface="Corbel" pitchFamily="34" charset="0"/>
        <a:buNone/>
        <a:defRPr sz="2200" kern="1200">
          <a:solidFill>
            <a:schemeClr val="tx1"/>
          </a:solidFill>
          <a:latin typeface="+mn-lt"/>
          <a:ea typeface="+mn-ea"/>
          <a:cs typeface="+mn-cs"/>
        </a:defRPr>
      </a:lvl5pPr>
      <a:lvl6pPr marL="216000" indent="0" algn="l" defTabSz="914400" rtl="0" eaLnBrk="1" latinLnBrk="0" hangingPunct="1">
        <a:spcBef>
          <a:spcPts val="0"/>
        </a:spcBef>
        <a:buFont typeface="Arial" pitchFamily="34" charset="0"/>
        <a:buNone/>
        <a:defRPr sz="2200" kern="1200">
          <a:solidFill>
            <a:schemeClr val="tx1"/>
          </a:solidFill>
          <a:latin typeface="+mn-lt"/>
          <a:ea typeface="+mn-ea"/>
          <a:cs typeface="+mn-cs"/>
        </a:defRPr>
      </a:lvl6pPr>
      <a:lvl7pPr marL="432000" indent="0" algn="l" defTabSz="914400" rtl="0" eaLnBrk="1" latinLnBrk="0" hangingPunct="1">
        <a:spcBef>
          <a:spcPts val="0"/>
        </a:spcBef>
        <a:buFont typeface="Arial" pitchFamily="34" charset="0"/>
        <a:buNone/>
        <a:defRPr sz="2200" kern="1200">
          <a:solidFill>
            <a:schemeClr val="tx1"/>
          </a:solidFill>
          <a:latin typeface="+mn-lt"/>
          <a:ea typeface="+mn-ea"/>
          <a:cs typeface="+mn-cs"/>
        </a:defRPr>
      </a:lvl7pPr>
      <a:lvl8pPr marL="648000" indent="0" algn="l" defTabSz="914400" rtl="0" eaLnBrk="1" latinLnBrk="0" hangingPunct="1">
        <a:spcBef>
          <a:spcPts val="0"/>
        </a:spcBef>
        <a:buFont typeface="Arial" pitchFamily="34" charset="0"/>
        <a:buNone/>
        <a:defRPr sz="1800" kern="1200">
          <a:solidFill>
            <a:schemeClr val="tx1"/>
          </a:solidFill>
          <a:latin typeface="+mn-lt"/>
          <a:ea typeface="+mn-ea"/>
          <a:cs typeface="+mn-cs"/>
        </a:defRPr>
      </a:lvl8pPr>
      <a:lvl9pPr marL="0" indent="0" algn="l" defTabSz="914400" rtl="0" eaLnBrk="1" latinLnBrk="0" hangingPunct="1">
        <a:spcBef>
          <a:spcPts val="0"/>
        </a:spcBef>
        <a:buFont typeface="Arial" pitchFamily="34" charset="0"/>
        <a:buNone/>
        <a:defRPr sz="14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594614335"/>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42" imgW="270" imgH="270" progId="TCLayout.ActiveDocument.1">
                  <p:embed/>
                </p:oleObj>
              </mc:Choice>
              <mc:Fallback>
                <p:oleObj name="think-cell Slide" r:id="rId42" imgW="270" imgH="270" progId="TCLayout.ActiveDocument.1">
                  <p:embed/>
                  <p:pic>
                    <p:nvPicPr>
                      <p:cNvPr id="2" name="Object 1" hidden="1"/>
                      <p:cNvPicPr/>
                      <p:nvPr/>
                    </p:nvPicPr>
                    <p:blipFill>
                      <a:blip r:embed="rId43"/>
                      <a:stretch>
                        <a:fillRect/>
                      </a:stretch>
                    </p:blipFill>
                    <p:spPr>
                      <a:xfrm>
                        <a:off x="0" y="0"/>
                        <a:ext cx="215979" cy="16197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13A703-F189-4854-97A2-C10D7EE5C491}"/>
              </a:ext>
            </a:extLst>
          </p:cNvPr>
          <p:cNvSpPr/>
          <p:nvPr userDrawn="1">
            <p:custDataLst>
              <p:tags r:id="rId9"/>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1036" name="Rectangle 286"/>
          <p:cNvSpPr>
            <a:spLocks noGrp="1" noChangeArrowheads="1"/>
          </p:cNvSpPr>
          <p:nvPr>
            <p:ph type="body" idx="1"/>
          </p:nvPr>
        </p:nvSpPr>
        <p:spPr bwMode="gray">
          <a:xfrm>
            <a:off x="233259" y="2698440"/>
            <a:ext cx="1172548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noProof="0" dirty="0"/>
              <a:t>Edit Master text styles</a:t>
            </a:r>
          </a:p>
          <a:p>
            <a:pPr lvl="1"/>
            <a:r>
              <a:rPr lang="nl-NL" noProof="0" dirty="0"/>
              <a:t>Second level</a:t>
            </a:r>
          </a:p>
          <a:p>
            <a:pPr lvl="2"/>
            <a:r>
              <a:rPr lang="nl-NL" noProof="0" dirty="0"/>
              <a:t>Third level</a:t>
            </a:r>
          </a:p>
          <a:p>
            <a:pPr lvl="3"/>
            <a:r>
              <a:rPr lang="nl-NL" noProof="0" dirty="0"/>
              <a:t>Fourth level</a:t>
            </a:r>
          </a:p>
          <a:p>
            <a:pPr lvl="4"/>
            <a:r>
              <a:rPr lang="nl-NL" noProof="0" dirty="0"/>
              <a:t>Fifth level</a:t>
            </a:r>
          </a:p>
        </p:txBody>
      </p:sp>
      <p:sp>
        <p:nvSpPr>
          <p:cNvPr id="19" name="Title Placeholder 2"/>
          <p:cNvSpPr>
            <a:spLocks noGrp="1" noChangeArrowheads="1"/>
          </p:cNvSpPr>
          <p:nvPr>
            <p:ph type="title"/>
          </p:nvPr>
        </p:nvSpPr>
        <p:spPr bwMode="gray">
          <a:xfrm>
            <a:off x="839041" y="283037"/>
            <a:ext cx="1111970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dirty="0"/>
              <a:t>Click to edit Master title style</a:t>
            </a:r>
          </a:p>
        </p:txBody>
      </p:sp>
      <p:sp>
        <p:nvSpPr>
          <p:cNvPr id="13" name="4. Footnote" hidden="1"/>
          <p:cNvSpPr txBox="1">
            <a:spLocks noChangeArrowheads="1"/>
          </p:cNvSpPr>
          <p:nvPr/>
        </p:nvSpPr>
        <p:spPr bwMode="gray">
          <a:xfrm>
            <a:off x="233259" y="6193144"/>
            <a:ext cx="117254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846" indent="-85846" rtl="0">
              <a:defRPr/>
            </a:pPr>
            <a:r>
              <a:rPr lang="nl-NL" sz="1020" baseline="0" noProof="0" dirty="0">
                <a:latin typeface="+mn-lt"/>
              </a:rPr>
              <a:t>1 Voetnoot </a:t>
            </a:r>
          </a:p>
        </p:txBody>
      </p:sp>
      <p:sp>
        <p:nvSpPr>
          <p:cNvPr id="14" name="5. Source" hidden="1"/>
          <p:cNvSpPr>
            <a:spLocks noChangeArrowheads="1"/>
          </p:cNvSpPr>
          <p:nvPr/>
        </p:nvSpPr>
        <p:spPr bwMode="gray">
          <a:xfrm>
            <a:off x="233259" y="6408862"/>
            <a:ext cx="11254650"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marL="319087" indent="-319087" defTabSz="913526" rtl="0">
              <a:tabLst/>
            </a:pPr>
            <a:r>
              <a:rPr lang="nl-NL" sz="1020" baseline="0" noProof="0" dirty="0">
                <a:solidFill>
                  <a:srgbClr val="000000"/>
                </a:solidFill>
                <a:latin typeface="+mn-lt"/>
              </a:rPr>
              <a:t>Bron: Bron</a:t>
            </a:r>
          </a:p>
        </p:txBody>
      </p:sp>
      <p:grpSp>
        <p:nvGrpSpPr>
          <p:cNvPr id="15" name="ACET" hidden="1"/>
          <p:cNvGrpSpPr>
            <a:grpSpLocks/>
          </p:cNvGrpSpPr>
          <p:nvPr/>
        </p:nvGrpSpPr>
        <p:grpSpPr bwMode="gray">
          <a:xfrm>
            <a:off x="233258" y="1895475"/>
            <a:ext cx="2317942" cy="531276"/>
            <a:chOff x="915" y="702"/>
            <a:chExt cx="2686" cy="328"/>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rtl="0"/>
              <a:r>
                <a:rPr lang="nl-NL" sz="1632" b="1" baseline="0" noProof="0" dirty="0">
                  <a:latin typeface="+mn-lt"/>
                  <a:ea typeface="+mn-ea"/>
                </a:rPr>
                <a:t>Titel</a:t>
              </a:r>
            </a:p>
            <a:p>
              <a:pPr rtl="0"/>
              <a:r>
                <a:rPr lang="nl-NL" sz="1632" baseline="0" noProof="0" dirty="0">
                  <a:solidFill>
                    <a:schemeClr val="tx1"/>
                  </a:solidFill>
                  <a:latin typeface="+mn-lt"/>
                  <a:ea typeface="+mn-ea"/>
                </a:rPr>
                <a:t>Meeteenheid</a:t>
              </a:r>
            </a:p>
          </p:txBody>
        </p:sp>
      </p:grpSp>
      <p:sp>
        <p:nvSpPr>
          <p:cNvPr id="3" name="pg number"/>
          <p:cNvSpPr>
            <a:spLocks/>
          </p:cNvSpPr>
          <p:nvPr/>
        </p:nvSpPr>
        <p:spPr bwMode="gray">
          <a:xfrm>
            <a:off x="11729760" y="6407190"/>
            <a:ext cx="228982" cy="160154"/>
          </a:xfrm>
          <a:prstGeom prst="rect">
            <a:avLst/>
          </a:prstGeom>
        </p:spPr>
        <p:txBody>
          <a:bodyPr vert="horz" wrap="none" lIns="0" tIns="0" rIns="0" bIns="0" rtlCol="0" anchor="ctr">
            <a:spAutoFit/>
          </a:bodyPr>
          <a:lstStyle/>
          <a:p>
            <a:pPr lvl="0" algn="r" rtl="0"/>
            <a:fld id="{42C328C1-A84F-4A39-A664-DBA00541A8C6}" type="slidenum">
              <a:rPr lang="nl-NL" sz="1020" noProof="0" smtClean="0">
                <a:latin typeface="+mn-lt"/>
              </a:rPr>
              <a:pPr lvl="0" algn="r" rtl="0"/>
              <a:t>‹nr.›</a:t>
            </a:fld>
            <a:endParaRPr lang="nl-NL" sz="1020" baseline="0" noProof="0" dirty="0">
              <a:solidFill>
                <a:schemeClr val="tx1"/>
              </a:solidFill>
              <a:latin typeface="+mn-lt"/>
            </a:endParaRPr>
          </a:p>
        </p:txBody>
      </p:sp>
      <p:sp>
        <p:nvSpPr>
          <p:cNvPr id="11" name="3. Unit of measure" hidden="1"/>
          <p:cNvSpPr txBox="1">
            <a:spLocks noChangeArrowheads="1"/>
          </p:cNvSpPr>
          <p:nvPr/>
        </p:nvSpPr>
        <p:spPr bwMode="gray">
          <a:xfrm>
            <a:off x="839041" y="721487"/>
            <a:ext cx="1111970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rtl="0">
              <a:tabLst>
                <a:tab pos="549088" algn="l"/>
              </a:tabLst>
              <a:defRPr/>
            </a:pPr>
            <a:r>
              <a:rPr lang="nl-NL" sz="1632" baseline="0" noProof="0" dirty="0">
                <a:solidFill>
                  <a:schemeClr val="tx1"/>
                </a:solidFill>
                <a:latin typeface="+mn-lt"/>
              </a:rPr>
              <a:t>Meeteenheid</a:t>
            </a:r>
          </a:p>
        </p:txBody>
      </p:sp>
      <p:sp>
        <p:nvSpPr>
          <p:cNvPr id="77" name="1. On-page tracker" hidden="1"/>
          <p:cNvSpPr>
            <a:spLocks noChangeArrowheads="1"/>
          </p:cNvSpPr>
          <p:nvPr/>
        </p:nvSpPr>
        <p:spPr bwMode="gray">
          <a:xfrm>
            <a:off x="839040" y="45940"/>
            <a:ext cx="768531"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rtl="0">
              <a:tabLst>
                <a:tab pos="549088" algn="l"/>
              </a:tabLst>
            </a:pPr>
            <a:r>
              <a:rPr lang="nl-NL" sz="1428" cap="all" baseline="0" dirty="0">
                <a:latin typeface="+mn-lt"/>
                <a:ea typeface="+mj-ea"/>
              </a:rPr>
              <a:t>TRACKER</a:t>
            </a:r>
          </a:p>
        </p:txBody>
      </p:sp>
      <p:sp>
        <p:nvSpPr>
          <p:cNvPr id="93" name="Oval" hidden="1"/>
          <p:cNvSpPr txBox="1">
            <a:spLocks/>
          </p:cNvSpPr>
          <p:nvPr>
            <p:custDataLst>
              <p:tags r:id="rId10"/>
            </p:custDataLst>
          </p:nvPr>
        </p:nvSpPr>
        <p:spPr bwMode="gray">
          <a:xfrm>
            <a:off x="6878923" y="1451179"/>
            <a:ext cx="1554978" cy="1554955"/>
          </a:xfrm>
          <a:prstGeom prst="ellipse">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731" tIns="36731" rIns="36731" bIns="36731"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rtl="0"/>
            <a:r>
              <a:rPr lang="nl-NL" sz="1632" dirty="0">
                <a:latin typeface="+mn-lt"/>
              </a:rPr>
              <a:t>Text</a:t>
            </a:r>
          </a:p>
        </p:txBody>
      </p:sp>
      <p:sp>
        <p:nvSpPr>
          <p:cNvPr id="94" name="Body3" hidden="1"/>
          <p:cNvSpPr txBox="1">
            <a:spLocks/>
          </p:cNvSpPr>
          <p:nvPr>
            <p:custDataLst>
              <p:tags r:id="rId11"/>
            </p:custDataLst>
          </p:nvPr>
        </p:nvSpPr>
        <p:spPr bwMode="gray">
          <a:xfrm>
            <a:off x="3492958" y="1451179"/>
            <a:ext cx="1554978" cy="1554955"/>
          </a:xfrm>
          <a:prstGeom prst="rect">
            <a:avLst/>
          </a:prstGeom>
          <a:solidFill>
            <a:schemeClr val="accent1"/>
          </a:solidFill>
          <a:ln w="9525">
            <a:no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rtl="0"/>
            <a:r>
              <a:rPr lang="nl-NL" sz="1632" dirty="0">
                <a:latin typeface="+mn-lt"/>
              </a:rPr>
              <a:t>Text</a:t>
            </a:r>
          </a:p>
        </p:txBody>
      </p:sp>
      <p:sp>
        <p:nvSpPr>
          <p:cNvPr id="95" name="RoundedRectangle" hidden="1"/>
          <p:cNvSpPr txBox="1">
            <a:spLocks/>
          </p:cNvSpPr>
          <p:nvPr>
            <p:custDataLst>
              <p:tags r:id="rId12"/>
            </p:custDataLst>
          </p:nvPr>
        </p:nvSpPr>
        <p:spPr bwMode="gray">
          <a:xfrm>
            <a:off x="5185940" y="1451179"/>
            <a:ext cx="1554978" cy="1554955"/>
          </a:xfrm>
          <a:prstGeom prst="roundRect">
            <a:avLst/>
          </a:prstGeom>
          <a:solidFill>
            <a:schemeClr val="accent1"/>
          </a:solidFill>
          <a:ln w="9525">
            <a:no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rtl="0"/>
            <a:r>
              <a:rPr lang="nl-NL" sz="1632" dirty="0">
                <a:latin typeface="+mn-lt"/>
              </a:rPr>
              <a:t>Text</a:t>
            </a:r>
          </a:p>
        </p:txBody>
      </p:sp>
      <p:sp>
        <p:nvSpPr>
          <p:cNvPr id="96" name="Arrow" hidden="1"/>
          <p:cNvSpPr txBox="1"/>
          <p:nvPr>
            <p:custDataLst>
              <p:tags r:id="rId13"/>
            </p:custDataLst>
          </p:nvPr>
        </p:nvSpPr>
        <p:spPr bwMode="gray">
          <a:xfrm>
            <a:off x="3490717" y="4223444"/>
            <a:ext cx="1865974" cy="932973"/>
          </a:xfrm>
          <a:prstGeom prst="rightArrow">
            <a:avLst>
              <a:gd name="adj1" fmla="val 54000"/>
              <a:gd name="adj2" fmla="val 37676"/>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3462"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rtl="0"/>
            <a:r>
              <a:rPr lang="nl-NL" sz="1632" dirty="0">
                <a:latin typeface="+mn-lt"/>
              </a:rPr>
              <a:t>Text</a:t>
            </a:r>
          </a:p>
        </p:txBody>
      </p:sp>
      <p:sp>
        <p:nvSpPr>
          <p:cNvPr id="97" name="DirArrow" hidden="1"/>
          <p:cNvSpPr>
            <a:spLocks noChangeArrowheads="1"/>
          </p:cNvSpPr>
          <p:nvPr>
            <p:custDataLst>
              <p:tags r:id="rId14"/>
            </p:custDataLst>
          </p:nvPr>
        </p:nvSpPr>
        <p:spPr bwMode="gray">
          <a:xfrm rot="5400000">
            <a:off x="7170376" y="2852710"/>
            <a:ext cx="3153449" cy="350388"/>
          </a:xfrm>
          <a:prstGeom prst="triangle">
            <a:avLst>
              <a:gd name="adj" fmla="val 50000"/>
            </a:avLst>
          </a:prstGeom>
          <a:solidFill>
            <a:schemeClr val="accent1"/>
          </a:solidFill>
          <a:ln w="9525">
            <a:noFill/>
            <a:miter lim="800000"/>
            <a:headEnd/>
            <a:tailEnd/>
          </a:ln>
          <a:effectLst/>
        </p:spPr>
        <p:txBody>
          <a:bodyPr wrap="none" anchor="ctr"/>
          <a:lstStyle/>
          <a:p>
            <a:pPr rtl="0"/>
            <a:endParaRPr lang="nl-NL" sz="1632" dirty="0">
              <a:latin typeface="+mn-lt"/>
            </a:endParaRPr>
          </a:p>
        </p:txBody>
      </p:sp>
      <p:sp>
        <p:nvSpPr>
          <p:cNvPr id="98" name="Bracket" hidden="1"/>
          <p:cNvSpPr>
            <a:spLocks noChangeAspect="1"/>
          </p:cNvSpPr>
          <p:nvPr>
            <p:custDataLst>
              <p:tags r:id="rId15"/>
            </p:custDataLst>
          </p:nvPr>
        </p:nvSpPr>
        <p:spPr bwMode="gray">
          <a:xfrm>
            <a:off x="8179251" y="3148303"/>
            <a:ext cx="193510" cy="1865946"/>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2524"/>
              <a:gd name="connsiteY0" fmla="*/ 0 h 3096"/>
              <a:gd name="connsiteX1" fmla="*/ 2474 w 2524"/>
              <a:gd name="connsiteY1" fmla="*/ 1944 h 3096"/>
              <a:gd name="connsiteX2" fmla="*/ 2474 w 2524"/>
              <a:gd name="connsiteY2" fmla="*/ 2472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524"/>
              <a:gd name="connsiteY0" fmla="*/ 0 h 3096"/>
              <a:gd name="connsiteX1" fmla="*/ 38 w 2524"/>
              <a:gd name="connsiteY1" fmla="*/ 0 h 3096"/>
              <a:gd name="connsiteX2" fmla="*/ 2474 w 2524"/>
              <a:gd name="connsiteY2" fmla="*/ 2472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524"/>
              <a:gd name="connsiteY0" fmla="*/ 0 h 3096"/>
              <a:gd name="connsiteX1" fmla="*/ 38 w 2524"/>
              <a:gd name="connsiteY1" fmla="*/ 0 h 3096"/>
              <a:gd name="connsiteX2" fmla="*/ 38 w 2524"/>
              <a:gd name="connsiteY2" fmla="*/ 536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474"/>
              <a:gd name="connsiteY0" fmla="*/ 0 h 3096"/>
              <a:gd name="connsiteX1" fmla="*/ 38 w 2474"/>
              <a:gd name="connsiteY1" fmla="*/ 0 h 3096"/>
              <a:gd name="connsiteX2" fmla="*/ 38 w 2474"/>
              <a:gd name="connsiteY2" fmla="*/ 536 h 3096"/>
              <a:gd name="connsiteX3" fmla="*/ 57 w 2474"/>
              <a:gd name="connsiteY3" fmla="*/ 576 h 3096"/>
              <a:gd name="connsiteX4" fmla="*/ 2474 w 2474"/>
              <a:gd name="connsiteY4" fmla="*/ 2568 h 3096"/>
              <a:gd name="connsiteX5" fmla="*/ 2474 w 2474"/>
              <a:gd name="connsiteY5" fmla="*/ 3096 h 3096"/>
              <a:gd name="connsiteX6" fmla="*/ 2409 w 2474"/>
              <a:gd name="connsiteY6" fmla="*/ 3096 h 3096"/>
              <a:gd name="connsiteX0" fmla="*/ 0 w 2474"/>
              <a:gd name="connsiteY0" fmla="*/ 0 h 3096"/>
              <a:gd name="connsiteX1" fmla="*/ 38 w 2474"/>
              <a:gd name="connsiteY1" fmla="*/ 0 h 3096"/>
              <a:gd name="connsiteX2" fmla="*/ 38 w 2474"/>
              <a:gd name="connsiteY2" fmla="*/ 536 h 3096"/>
              <a:gd name="connsiteX3" fmla="*/ 57 w 2474"/>
              <a:gd name="connsiteY3" fmla="*/ 576 h 3096"/>
              <a:gd name="connsiteX4" fmla="*/ 38 w 2474"/>
              <a:gd name="connsiteY4" fmla="*/ 616 h 3096"/>
              <a:gd name="connsiteX5" fmla="*/ 2474 w 2474"/>
              <a:gd name="connsiteY5" fmla="*/ 3096 h 3096"/>
              <a:gd name="connsiteX6" fmla="*/ 2409 w 2474"/>
              <a:gd name="connsiteY6" fmla="*/ 3096 h 3096"/>
              <a:gd name="connsiteX0" fmla="*/ 0 w 2409"/>
              <a:gd name="connsiteY0" fmla="*/ 0 h 3096"/>
              <a:gd name="connsiteX1" fmla="*/ 38 w 2409"/>
              <a:gd name="connsiteY1" fmla="*/ 0 h 3096"/>
              <a:gd name="connsiteX2" fmla="*/ 38 w 2409"/>
              <a:gd name="connsiteY2" fmla="*/ 536 h 3096"/>
              <a:gd name="connsiteX3" fmla="*/ 57 w 2409"/>
              <a:gd name="connsiteY3" fmla="*/ 576 h 3096"/>
              <a:gd name="connsiteX4" fmla="*/ 38 w 2409"/>
              <a:gd name="connsiteY4" fmla="*/ 616 h 3096"/>
              <a:gd name="connsiteX5" fmla="*/ 38 w 2409"/>
              <a:gd name="connsiteY5" fmla="*/ 1152 h 3096"/>
              <a:gd name="connsiteX6" fmla="*/ 2409 w 2409"/>
              <a:gd name="connsiteY6" fmla="*/ 3096 h 3096"/>
              <a:gd name="connsiteX0" fmla="*/ 0 w 57"/>
              <a:gd name="connsiteY0" fmla="*/ 0 h 1152"/>
              <a:gd name="connsiteX1" fmla="*/ 38 w 57"/>
              <a:gd name="connsiteY1" fmla="*/ 0 h 1152"/>
              <a:gd name="connsiteX2" fmla="*/ 38 w 57"/>
              <a:gd name="connsiteY2" fmla="*/ 536 h 1152"/>
              <a:gd name="connsiteX3" fmla="*/ 57 w 57"/>
              <a:gd name="connsiteY3" fmla="*/ 576 h 1152"/>
              <a:gd name="connsiteX4" fmla="*/ 38 w 57"/>
              <a:gd name="connsiteY4" fmla="*/ 616 h 1152"/>
              <a:gd name="connsiteX5" fmla="*/ 38 w 57"/>
              <a:gd name="connsiteY5" fmla="*/ 1152 h 1152"/>
              <a:gd name="connsiteX6" fmla="*/ 0 w 57"/>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 h="1152">
                <a:moveTo>
                  <a:pt x="0" y="0"/>
                </a:moveTo>
                <a:lnTo>
                  <a:pt x="38" y="0"/>
                </a:lnTo>
                <a:lnTo>
                  <a:pt x="38" y="536"/>
                </a:lnTo>
                <a:lnTo>
                  <a:pt x="57" y="576"/>
                </a:lnTo>
                <a:lnTo>
                  <a:pt x="38" y="616"/>
                </a:lnTo>
                <a:lnTo>
                  <a:pt x="38"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nl-NL" sz="1632" dirty="0">
              <a:latin typeface="+mn-lt"/>
            </a:endParaRPr>
          </a:p>
        </p:txBody>
      </p:sp>
      <p:grpSp>
        <p:nvGrpSpPr>
          <p:cNvPr id="99" name="Flow" hidden="1"/>
          <p:cNvGrpSpPr/>
          <p:nvPr>
            <p:custDataLst>
              <p:tags r:id="rId16"/>
            </p:custDataLst>
          </p:nvPr>
        </p:nvGrpSpPr>
        <p:grpSpPr bwMode="gray">
          <a:xfrm>
            <a:off x="3492958" y="3148303"/>
            <a:ext cx="1865974" cy="932973"/>
            <a:chOff x="5905500" y="3124200"/>
            <a:chExt cx="1828800" cy="914400"/>
          </a:xfrm>
        </p:grpSpPr>
        <p:sp>
          <p:nvSpPr>
            <p:cNvPr id="100" name="Freeform 99"/>
            <p:cNvSpPr/>
            <p:nvPr>
              <p:custDataLst>
                <p:tags r:id="rId40"/>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sz="1632" b="1" dirty="0">
                <a:solidFill>
                  <a:schemeClr val="tx1"/>
                </a:solidFill>
                <a:latin typeface="+mn-lt"/>
              </a:endParaRPr>
            </a:p>
          </p:txBody>
        </p:sp>
        <p:sp>
          <p:nvSpPr>
            <p:cNvPr id="101" name="TextBox 100"/>
            <p:cNvSpPr txBox="1"/>
            <p:nvPr>
              <p:custDataLst>
                <p:tags r:id="rId41"/>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rtl="0"/>
              <a:r>
                <a:rPr lang="nl-NL" sz="1632" b="1" dirty="0">
                  <a:latin typeface="+mn-lt"/>
                </a:rPr>
                <a:t>Text</a:t>
              </a:r>
            </a:p>
          </p:txBody>
        </p:sp>
      </p:grpSp>
      <p:grpSp>
        <p:nvGrpSpPr>
          <p:cNvPr id="102" name="SplitFlow" hidden="1"/>
          <p:cNvGrpSpPr/>
          <p:nvPr>
            <p:custDataLst>
              <p:tags r:id="rId17"/>
            </p:custDataLst>
          </p:nvPr>
        </p:nvGrpSpPr>
        <p:grpSpPr bwMode="gray">
          <a:xfrm>
            <a:off x="5538529" y="3148303"/>
            <a:ext cx="1865974" cy="932973"/>
            <a:chOff x="114300" y="1270000"/>
            <a:chExt cx="1828800" cy="914400"/>
          </a:xfrm>
        </p:grpSpPr>
        <p:sp>
          <p:nvSpPr>
            <p:cNvPr id="103" name="Freeform 102"/>
            <p:cNvSpPr/>
            <p:nvPr>
              <p:custDataLst>
                <p:tags r:id="rId36"/>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sz="1632" b="1" dirty="0">
                <a:solidFill>
                  <a:schemeClr val="tx1"/>
                </a:solidFill>
                <a:latin typeface="+mn-lt"/>
              </a:endParaRPr>
            </a:p>
          </p:txBody>
        </p:sp>
        <p:sp>
          <p:nvSpPr>
            <p:cNvPr id="104" name="TextBox 103"/>
            <p:cNvSpPr txBox="1"/>
            <p:nvPr>
              <p:custDataLst>
                <p:tags r:id="rId37"/>
              </p:custDataLst>
            </p:nvPr>
          </p:nvSpPr>
          <p:spPr bwMode="gray">
            <a:xfrm>
              <a:off x="177800" y="13271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rtl="0"/>
              <a:r>
                <a:rPr lang="nl-NL" sz="1632" b="1" dirty="0">
                  <a:latin typeface="+mn-lt"/>
                </a:rPr>
                <a:t>Text</a:t>
              </a:r>
            </a:p>
          </p:txBody>
        </p:sp>
        <p:sp>
          <p:nvSpPr>
            <p:cNvPr id="105" name="Freeform 104"/>
            <p:cNvSpPr/>
            <p:nvPr>
              <p:custDataLst>
                <p:tags r:id="rId38"/>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sz="1632" b="1" dirty="0">
                <a:solidFill>
                  <a:schemeClr val="tx1"/>
                </a:solidFill>
                <a:latin typeface="+mn-lt"/>
              </a:endParaRPr>
            </a:p>
          </p:txBody>
        </p:sp>
        <p:sp>
          <p:nvSpPr>
            <p:cNvPr id="106" name="TextBox 105"/>
            <p:cNvSpPr txBox="1"/>
            <p:nvPr>
              <p:custDataLst>
                <p:tags r:id="rId39"/>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rtl="0"/>
              <a:r>
                <a:rPr lang="nl-NL" sz="1632" b="1" dirty="0">
                  <a:latin typeface="+mn-lt"/>
                </a:rPr>
                <a:t>Text</a:t>
              </a:r>
            </a:p>
          </p:txBody>
        </p:sp>
      </p:grpSp>
      <p:grpSp>
        <p:nvGrpSpPr>
          <p:cNvPr id="107" name="LegendBoxes" hidden="1"/>
          <p:cNvGrpSpPr>
            <a:grpSpLocks/>
          </p:cNvGrpSpPr>
          <p:nvPr/>
        </p:nvGrpSpPr>
        <p:grpSpPr bwMode="gray">
          <a:xfrm>
            <a:off x="11134285" y="721486"/>
            <a:ext cx="835802" cy="1022061"/>
            <a:chOff x="4936" y="176"/>
            <a:chExt cx="516" cy="631"/>
          </a:xfrm>
        </p:grpSpPr>
        <p:sp>
          <p:nvSpPr>
            <p:cNvPr id="108" name="Legend1"/>
            <p:cNvSpPr>
              <a:spLocks noChangeArrowheads="1"/>
            </p:cNvSpPr>
            <p:nvPr/>
          </p:nvSpPr>
          <p:spPr bwMode="gray">
            <a:xfrm>
              <a:off x="5096" y="176"/>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rtl="0">
                <a:buClr>
                  <a:schemeClr val="tx2"/>
                </a:buClr>
              </a:pPr>
              <a:r>
                <a:rPr lang="nl-NL" sz="1224" noProof="0" dirty="0">
                  <a:latin typeface="+mn-lt"/>
                </a:rPr>
                <a:t>Legenda</a:t>
              </a:r>
            </a:p>
          </p:txBody>
        </p:sp>
        <p:sp>
          <p:nvSpPr>
            <p:cNvPr id="109" name="LegendRectangle1"/>
            <p:cNvSpPr>
              <a:spLocks noChangeArrowheads="1"/>
            </p:cNvSpPr>
            <p:nvPr/>
          </p:nvSpPr>
          <p:spPr bwMode="gray">
            <a:xfrm>
              <a:off x="4936" y="182"/>
              <a:ext cx="104" cy="104"/>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nl-NL" sz="1224" noProof="0" dirty="0">
                <a:latin typeface="+mn-lt"/>
              </a:endParaRPr>
            </a:p>
          </p:txBody>
        </p:sp>
        <p:sp>
          <p:nvSpPr>
            <p:cNvPr id="110" name="Legend2"/>
            <p:cNvSpPr>
              <a:spLocks noChangeArrowheads="1"/>
            </p:cNvSpPr>
            <p:nvPr/>
          </p:nvSpPr>
          <p:spPr bwMode="gray">
            <a:xfrm>
              <a:off x="5096" y="347"/>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rtl="0">
                <a:buClr>
                  <a:schemeClr val="tx2"/>
                </a:buClr>
              </a:pPr>
              <a:r>
                <a:rPr lang="nl-NL" sz="1224" noProof="0" dirty="0">
                  <a:latin typeface="+mn-lt"/>
                </a:rPr>
                <a:t>Legenda</a:t>
              </a:r>
            </a:p>
          </p:txBody>
        </p:sp>
        <p:sp>
          <p:nvSpPr>
            <p:cNvPr id="111" name="LegendRectangle2"/>
            <p:cNvSpPr>
              <a:spLocks noChangeArrowheads="1"/>
            </p:cNvSpPr>
            <p:nvPr/>
          </p:nvSpPr>
          <p:spPr bwMode="gray">
            <a:xfrm>
              <a:off x="4936" y="353"/>
              <a:ext cx="104" cy="104"/>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nl-NL" sz="1224" noProof="0" dirty="0">
                <a:latin typeface="+mn-lt"/>
              </a:endParaRPr>
            </a:p>
          </p:txBody>
        </p:sp>
        <p:sp>
          <p:nvSpPr>
            <p:cNvPr id="112" name="Legend3"/>
            <p:cNvSpPr>
              <a:spLocks noChangeArrowheads="1"/>
            </p:cNvSpPr>
            <p:nvPr/>
          </p:nvSpPr>
          <p:spPr bwMode="gray">
            <a:xfrm>
              <a:off x="5096" y="517"/>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rtl="0">
                <a:buClr>
                  <a:schemeClr val="tx2"/>
                </a:buClr>
              </a:pPr>
              <a:r>
                <a:rPr lang="nl-NL" sz="1224" noProof="0" dirty="0">
                  <a:latin typeface="+mn-lt"/>
                </a:rPr>
                <a:t>Legenda</a:t>
              </a:r>
            </a:p>
          </p:txBody>
        </p:sp>
        <p:sp>
          <p:nvSpPr>
            <p:cNvPr id="113" name="LegendRectangle3"/>
            <p:cNvSpPr>
              <a:spLocks noChangeArrowheads="1"/>
            </p:cNvSpPr>
            <p:nvPr/>
          </p:nvSpPr>
          <p:spPr bwMode="gray">
            <a:xfrm>
              <a:off x="4936" y="523"/>
              <a:ext cx="104" cy="104"/>
            </a:xfrm>
            <a:prstGeom prst="rect">
              <a:avLst/>
            </a:prstGeom>
            <a:solidFill>
              <a:schemeClr val="accent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nl-NL" sz="1224" noProof="0" dirty="0">
                <a:latin typeface="+mn-lt"/>
              </a:endParaRPr>
            </a:p>
          </p:txBody>
        </p:sp>
        <p:sp>
          <p:nvSpPr>
            <p:cNvPr id="114" name="Legend4"/>
            <p:cNvSpPr>
              <a:spLocks noChangeArrowheads="1"/>
            </p:cNvSpPr>
            <p:nvPr/>
          </p:nvSpPr>
          <p:spPr bwMode="gray">
            <a:xfrm>
              <a:off x="5096" y="688"/>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rtl="0">
                <a:buClr>
                  <a:schemeClr val="tx2"/>
                </a:buClr>
              </a:pPr>
              <a:r>
                <a:rPr lang="nl-NL" sz="1224" noProof="0" dirty="0">
                  <a:latin typeface="+mn-lt"/>
                </a:rPr>
                <a:t>Legenda</a:t>
              </a:r>
            </a:p>
          </p:txBody>
        </p:sp>
        <p:sp>
          <p:nvSpPr>
            <p:cNvPr id="115" name="LegendRectangle4"/>
            <p:cNvSpPr>
              <a:spLocks noChangeArrowheads="1"/>
            </p:cNvSpPr>
            <p:nvPr/>
          </p:nvSpPr>
          <p:spPr bwMode="gray">
            <a:xfrm>
              <a:off x="4936" y="694"/>
              <a:ext cx="104" cy="104"/>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nl-NL" sz="1224" noProof="0" dirty="0">
                <a:latin typeface="+mn-lt"/>
              </a:endParaRPr>
            </a:p>
          </p:txBody>
        </p:sp>
      </p:grpSp>
      <p:grpSp>
        <p:nvGrpSpPr>
          <p:cNvPr id="116" name="LegendLines" hidden="1"/>
          <p:cNvGrpSpPr>
            <a:grpSpLocks/>
          </p:cNvGrpSpPr>
          <p:nvPr/>
        </p:nvGrpSpPr>
        <p:grpSpPr bwMode="gray">
          <a:xfrm>
            <a:off x="10820047" y="721486"/>
            <a:ext cx="1150037" cy="749943"/>
            <a:chOff x="4750" y="176"/>
            <a:chExt cx="710" cy="463"/>
          </a:xfrm>
        </p:grpSpPr>
        <p:sp>
          <p:nvSpPr>
            <p:cNvPr id="117" name="LineLegend1"/>
            <p:cNvSpPr>
              <a:spLocks noChangeShapeType="1"/>
            </p:cNvSpPr>
            <p:nvPr/>
          </p:nvSpPr>
          <p:spPr bwMode="gray">
            <a:xfrm>
              <a:off x="4750" y="234"/>
              <a:ext cx="288" cy="0"/>
            </a:xfrm>
            <a:prstGeom prst="line">
              <a:avLst/>
            </a:prstGeom>
            <a:noFill/>
            <a:ln w="2857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rtl="0"/>
              <a:endParaRPr lang="nl-NL" sz="1224" noProof="0" dirty="0">
                <a:latin typeface="+mn-lt"/>
              </a:endParaRPr>
            </a:p>
          </p:txBody>
        </p:sp>
        <p:sp>
          <p:nvSpPr>
            <p:cNvPr id="118" name="LineLegend2"/>
            <p:cNvSpPr>
              <a:spLocks noChangeShapeType="1"/>
            </p:cNvSpPr>
            <p:nvPr/>
          </p:nvSpPr>
          <p:spPr bwMode="gray">
            <a:xfrm>
              <a:off x="4750" y="406"/>
              <a:ext cx="288" cy="0"/>
            </a:xfrm>
            <a:prstGeom prst="line">
              <a:avLst/>
            </a:prstGeom>
            <a:noFill/>
            <a:ln w="28575">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rtl="0"/>
              <a:endParaRPr lang="nl-NL" sz="1224" noProof="0" dirty="0">
                <a:latin typeface="+mn-lt"/>
              </a:endParaRPr>
            </a:p>
          </p:txBody>
        </p:sp>
        <p:sp>
          <p:nvSpPr>
            <p:cNvPr id="119" name="LineLegend3"/>
            <p:cNvSpPr>
              <a:spLocks noChangeShapeType="1"/>
            </p:cNvSpPr>
            <p:nvPr/>
          </p:nvSpPr>
          <p:spPr bwMode="gray">
            <a:xfrm>
              <a:off x="4750" y="578"/>
              <a:ext cx="288" cy="0"/>
            </a:xfrm>
            <a:prstGeom prst="line">
              <a:avLst/>
            </a:prstGeom>
            <a:noFill/>
            <a:ln w="28575">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rtl="0"/>
              <a:endParaRPr lang="nl-NL" sz="1224" noProof="0" dirty="0">
                <a:latin typeface="+mn-lt"/>
              </a:endParaRPr>
            </a:p>
          </p:txBody>
        </p:sp>
        <p:sp>
          <p:nvSpPr>
            <p:cNvPr id="120" name="Legend1"/>
            <p:cNvSpPr>
              <a:spLocks noChangeArrowheads="1"/>
            </p:cNvSpPr>
            <p:nvPr/>
          </p:nvSpPr>
          <p:spPr bwMode="gray">
            <a:xfrm>
              <a:off x="5104" y="176"/>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rtl="0">
                <a:buClr>
                  <a:schemeClr val="tx2"/>
                </a:buClr>
              </a:pPr>
              <a:r>
                <a:rPr lang="nl-NL" sz="1224" noProof="0" dirty="0">
                  <a:latin typeface="+mn-lt"/>
                </a:rPr>
                <a:t>Legenda</a:t>
              </a:r>
            </a:p>
          </p:txBody>
        </p:sp>
        <p:sp>
          <p:nvSpPr>
            <p:cNvPr id="121" name="Legend2"/>
            <p:cNvSpPr>
              <a:spLocks noChangeArrowheads="1"/>
            </p:cNvSpPr>
            <p:nvPr/>
          </p:nvSpPr>
          <p:spPr bwMode="gray">
            <a:xfrm>
              <a:off x="5104" y="348"/>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rtl="0">
                <a:buClr>
                  <a:schemeClr val="tx2"/>
                </a:buClr>
              </a:pPr>
              <a:r>
                <a:rPr lang="nl-NL" sz="1224" noProof="0" dirty="0">
                  <a:latin typeface="+mn-lt"/>
                </a:rPr>
                <a:t>Legenda</a:t>
              </a:r>
            </a:p>
          </p:txBody>
        </p:sp>
        <p:sp>
          <p:nvSpPr>
            <p:cNvPr id="122" name="Legend3"/>
            <p:cNvSpPr>
              <a:spLocks noChangeArrowheads="1"/>
            </p:cNvSpPr>
            <p:nvPr/>
          </p:nvSpPr>
          <p:spPr bwMode="gray">
            <a:xfrm>
              <a:off x="5104" y="520"/>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rtl="0">
                <a:buClr>
                  <a:schemeClr val="tx2"/>
                </a:buClr>
              </a:pPr>
              <a:r>
                <a:rPr lang="nl-NL" sz="1224" noProof="0" dirty="0">
                  <a:latin typeface="+mn-lt"/>
                </a:rPr>
                <a:t>Legenda</a:t>
              </a:r>
            </a:p>
          </p:txBody>
        </p:sp>
      </p:grpSp>
      <p:grpSp>
        <p:nvGrpSpPr>
          <p:cNvPr id="123" name="Sticker" hidden="1"/>
          <p:cNvGrpSpPr/>
          <p:nvPr/>
        </p:nvGrpSpPr>
        <p:grpSpPr bwMode="gray">
          <a:xfrm>
            <a:off x="11368295" y="719589"/>
            <a:ext cx="590448" cy="250146"/>
            <a:chOff x="8162090" y="283891"/>
            <a:chExt cx="578685" cy="245166"/>
          </a:xfrm>
        </p:grpSpPr>
        <p:sp>
          <p:nvSpPr>
            <p:cNvPr id="124" name="StickerRectangle"/>
            <p:cNvSpPr>
              <a:spLocks noChangeArrowheads="1"/>
            </p:cNvSpPr>
            <p:nvPr/>
          </p:nvSpPr>
          <p:spPr bwMode="gray">
            <a:xfrm>
              <a:off x="8162090" y="283891"/>
              <a:ext cx="578685" cy="2451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913526" rtl="0">
                <a:buClr>
                  <a:schemeClr val="tx2"/>
                </a:buClr>
              </a:pPr>
              <a:r>
                <a:rPr lang="nl-NL" sz="1224" noProof="0" dirty="0">
                  <a:solidFill>
                    <a:schemeClr val="tx1"/>
                  </a:solidFill>
                  <a:latin typeface="+mn-lt"/>
                </a:rPr>
                <a:t>STICKER</a:t>
              </a:r>
            </a:p>
          </p:txBody>
        </p:sp>
        <p:cxnSp>
          <p:nvCxnSpPr>
            <p:cNvPr id="125" name="AutoShape 32"/>
            <p:cNvCxnSpPr>
              <a:cxnSpLocks noChangeShapeType="1"/>
              <a:stCxn id="124" idx="4"/>
              <a:endCxn id="124" idx="6"/>
            </p:cNvCxnSpPr>
            <p:nvPr/>
          </p:nvCxnSpPr>
          <p:spPr bwMode="gray">
            <a:xfrm>
              <a:off x="8162090" y="529057"/>
              <a:ext cx="57868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2"/>
              <a:endCxn id="124" idx="0"/>
            </p:cNvCxnSpPr>
            <p:nvPr userDrawn="1"/>
          </p:nvCxnSpPr>
          <p:spPr bwMode="gray">
            <a:xfrm>
              <a:off x="8162090" y="283891"/>
              <a:ext cx="57868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8" name="LegendMoons" hidden="1">
            <a:extLst>
              <a:ext uri="{FF2B5EF4-FFF2-40B4-BE49-F238E27FC236}">
                <a16:creationId xmlns:a16="http://schemas.microsoft.com/office/drawing/2014/main" id="{9D74EF3F-2EAF-4D4B-8FF9-DE4300E7A04F}"/>
              </a:ext>
            </a:extLst>
          </p:cNvPr>
          <p:cNvGrpSpPr/>
          <p:nvPr userDrawn="1"/>
        </p:nvGrpSpPr>
        <p:grpSpPr bwMode="gray">
          <a:xfrm>
            <a:off x="11065636" y="721486"/>
            <a:ext cx="904556" cy="1333317"/>
            <a:chOff x="9205424" y="664256"/>
            <a:chExt cx="886536" cy="1306774"/>
          </a:xfrm>
        </p:grpSpPr>
        <p:grpSp>
          <p:nvGrpSpPr>
            <p:cNvPr id="128" name="MoonLegend1"/>
            <p:cNvGrpSpPr>
              <a:grpSpLocks noChangeAspect="1"/>
            </p:cNvGrpSpPr>
            <p:nvPr>
              <p:custDataLst>
                <p:tags r:id="rId21"/>
              </p:custDataLst>
            </p:nvPr>
          </p:nvGrpSpPr>
          <p:grpSpPr bwMode="gray">
            <a:xfrm>
              <a:off x="9205424" y="664256"/>
              <a:ext cx="209550" cy="209551"/>
              <a:chOff x="4533" y="183"/>
              <a:chExt cx="144" cy="144"/>
            </a:xfrm>
          </p:grpSpPr>
          <p:sp>
            <p:nvSpPr>
              <p:cNvPr id="146" name="Oval 38"/>
              <p:cNvSpPr>
                <a:spLocks noChangeAspect="1" noChangeArrowheads="1"/>
              </p:cNvSpPr>
              <p:nvPr>
                <p:custDataLst>
                  <p:tags r:id="rId34"/>
                </p:custDataLst>
              </p:nvPr>
            </p:nvSpPr>
            <p:spPr bwMode="gray">
              <a:xfrm>
                <a:off x="4533" y="183"/>
                <a:ext cx="144" cy="144"/>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nl-NL" sz="1224" noProof="0" dirty="0">
                  <a:latin typeface="+mn-lt"/>
                </a:endParaRPr>
              </a:p>
            </p:txBody>
          </p:sp>
          <p:sp>
            <p:nvSpPr>
              <p:cNvPr id="147" name="Arc 39"/>
              <p:cNvSpPr>
                <a:spLocks noChangeAspect="1"/>
              </p:cNvSpPr>
              <p:nvPr>
                <p:custDataLst>
                  <p:tags r:id="rId35"/>
                </p:custDataLst>
              </p:nvPr>
            </p:nvSpPr>
            <p:spPr bwMode="gray">
              <a:xfrm>
                <a:off x="4533" y="183"/>
                <a:ext cx="144" cy="144"/>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nl-NL" sz="1224" noProof="0" dirty="0">
                  <a:latin typeface="+mn-lt"/>
                </a:endParaRPr>
              </a:p>
            </p:txBody>
          </p:sp>
        </p:grpSp>
        <p:grpSp>
          <p:nvGrpSpPr>
            <p:cNvPr id="129" name="MoonLegend2"/>
            <p:cNvGrpSpPr>
              <a:grpSpLocks noChangeAspect="1"/>
            </p:cNvGrpSpPr>
            <p:nvPr>
              <p:custDataLst>
                <p:tags r:id="rId22"/>
              </p:custDataLst>
            </p:nvPr>
          </p:nvGrpSpPr>
          <p:grpSpPr bwMode="gray">
            <a:xfrm>
              <a:off x="9205424" y="938562"/>
              <a:ext cx="209550" cy="209551"/>
              <a:chOff x="1694" y="2044"/>
              <a:chExt cx="160" cy="160"/>
            </a:xfrm>
          </p:grpSpPr>
          <p:sp>
            <p:nvSpPr>
              <p:cNvPr id="144" name="Oval 41"/>
              <p:cNvSpPr>
                <a:spLocks noChangeAspect="1" noChangeArrowheads="1"/>
              </p:cNvSpPr>
              <p:nvPr>
                <p:custDataLst>
                  <p:tags r:id="rId32"/>
                </p:custDataLst>
              </p:nvPr>
            </p:nvSpPr>
            <p:spPr bwMode="gray">
              <a:xfrm>
                <a:off x="1694" y="2044"/>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nl-NL" sz="1224" noProof="0" dirty="0">
                  <a:latin typeface="+mn-lt"/>
                </a:endParaRPr>
              </a:p>
            </p:txBody>
          </p:sp>
          <p:sp>
            <p:nvSpPr>
              <p:cNvPr id="145" name="Arc 42"/>
              <p:cNvSpPr>
                <a:spLocks noChangeAspect="1"/>
              </p:cNvSpPr>
              <p:nvPr>
                <p:custDataLst>
                  <p:tags r:id="rId33"/>
                </p:custDataLst>
              </p:nvPr>
            </p:nvSpPr>
            <p:spPr bwMode="gray">
              <a:xfrm>
                <a:off x="1694" y="2044"/>
                <a:ext cx="160" cy="160"/>
              </a:xfrm>
              <a:prstGeom prst="arc">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nl-NL" sz="1224" noProof="0" dirty="0">
                  <a:latin typeface="+mn-lt"/>
                </a:endParaRPr>
              </a:p>
            </p:txBody>
          </p:sp>
        </p:grpSp>
        <p:grpSp>
          <p:nvGrpSpPr>
            <p:cNvPr id="130" name="MoonLegend4"/>
            <p:cNvGrpSpPr>
              <a:grpSpLocks noChangeAspect="1"/>
            </p:cNvGrpSpPr>
            <p:nvPr>
              <p:custDataLst>
                <p:tags r:id="rId23"/>
              </p:custDataLst>
            </p:nvPr>
          </p:nvGrpSpPr>
          <p:grpSpPr bwMode="gray">
            <a:xfrm>
              <a:off x="9205424" y="1487174"/>
              <a:ext cx="209550" cy="209551"/>
              <a:chOff x="4495" y="1198"/>
              <a:chExt cx="160" cy="160"/>
            </a:xfrm>
          </p:grpSpPr>
          <p:sp>
            <p:nvSpPr>
              <p:cNvPr id="142"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nl-NL" sz="1224" noProof="0" dirty="0">
                  <a:latin typeface="+mn-lt"/>
                </a:endParaRPr>
              </a:p>
            </p:txBody>
          </p:sp>
          <p:sp>
            <p:nvSpPr>
              <p:cNvPr id="143" name="Arc 48"/>
              <p:cNvSpPr>
                <a:spLocks noChangeAspect="1"/>
              </p:cNvSpPr>
              <p:nvPr>
                <p:custDataLst>
                  <p:tags r:id="rId31"/>
                </p:custDataLst>
              </p:nvPr>
            </p:nvSpPr>
            <p:spPr bwMode="gray">
              <a:xfrm>
                <a:off x="4495" y="1198"/>
                <a:ext cx="160" cy="160"/>
              </a:xfrm>
              <a:prstGeom prst="arc">
                <a:avLst>
                  <a:gd name="adj1" fmla="val 16200000"/>
                  <a:gd name="adj2" fmla="val 108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nl-NL" sz="1224" noProof="0" dirty="0">
                  <a:latin typeface="+mn-lt"/>
                </a:endParaRPr>
              </a:p>
            </p:txBody>
          </p:sp>
        </p:grpSp>
        <p:grpSp>
          <p:nvGrpSpPr>
            <p:cNvPr id="131" name="MoonLegend5"/>
            <p:cNvGrpSpPr>
              <a:grpSpLocks noChangeAspect="1"/>
            </p:cNvGrpSpPr>
            <p:nvPr>
              <p:custDataLst>
                <p:tags r:id="rId24"/>
              </p:custDataLst>
            </p:nvPr>
          </p:nvGrpSpPr>
          <p:grpSpPr bwMode="gray">
            <a:xfrm>
              <a:off x="9205424" y="1761479"/>
              <a:ext cx="209550" cy="209551"/>
              <a:chOff x="4495" y="1440"/>
              <a:chExt cx="160" cy="160"/>
            </a:xfrm>
          </p:grpSpPr>
          <p:sp>
            <p:nvSpPr>
              <p:cNvPr id="140" name="Oval 50"/>
              <p:cNvSpPr>
                <a:spLocks noChangeAspect="1" noChangeArrowheads="1"/>
              </p:cNvSpPr>
              <p:nvPr>
                <p:custDataLst>
                  <p:tags r:id="rId28"/>
                </p:custDataLst>
              </p:nvPr>
            </p:nvSpPr>
            <p:spPr bwMode="gray">
              <a:xfrm>
                <a:off x="4495" y="1440"/>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nl-NL" sz="1224" noProof="0" dirty="0">
                  <a:latin typeface="+mn-lt"/>
                </a:endParaRPr>
              </a:p>
            </p:txBody>
          </p:sp>
          <p:sp>
            <p:nvSpPr>
              <p:cNvPr id="141" name="Oval 51"/>
              <p:cNvSpPr>
                <a:spLocks noChangeAspect="1" noChangeArrowheads="1"/>
              </p:cNvSpPr>
              <p:nvPr>
                <p:custDataLst>
                  <p:tags r:id="rId29"/>
                </p:custDataLst>
              </p:nvPr>
            </p:nvSpPr>
            <p:spPr bwMode="gray">
              <a:xfrm>
                <a:off x="4495" y="1440"/>
                <a:ext cx="160" cy="160"/>
              </a:xfrm>
              <a:prstGeom prst="arc">
                <a:avLst>
                  <a:gd name="adj1" fmla="val 16200000"/>
                  <a:gd name="adj2" fmla="val 162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nl-NL" sz="1224" noProof="0" dirty="0">
                  <a:latin typeface="+mn-lt"/>
                </a:endParaRPr>
              </a:p>
            </p:txBody>
          </p:sp>
        </p:grpSp>
        <p:sp>
          <p:nvSpPr>
            <p:cNvPr id="132" name="Legend1"/>
            <p:cNvSpPr>
              <a:spLocks noChangeArrowheads="1"/>
            </p:cNvSpPr>
            <p:nvPr/>
          </p:nvSpPr>
          <p:spPr bwMode="gray">
            <a:xfrm>
              <a:off x="9526099" y="676699"/>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rtl="0">
                <a:buClr>
                  <a:schemeClr val="tx2"/>
                </a:buClr>
              </a:pPr>
              <a:r>
                <a:rPr lang="nl-NL" sz="1224" noProof="0" dirty="0">
                  <a:latin typeface="+mn-lt"/>
                </a:rPr>
                <a:t>Legenda</a:t>
              </a:r>
            </a:p>
          </p:txBody>
        </p:sp>
        <p:sp>
          <p:nvSpPr>
            <p:cNvPr id="133" name="Legend2"/>
            <p:cNvSpPr>
              <a:spLocks noChangeArrowheads="1"/>
            </p:cNvSpPr>
            <p:nvPr/>
          </p:nvSpPr>
          <p:spPr bwMode="gray">
            <a:xfrm>
              <a:off x="9526099" y="951005"/>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rtl="0">
                <a:buClr>
                  <a:schemeClr val="tx2"/>
                </a:buClr>
              </a:pPr>
              <a:r>
                <a:rPr lang="nl-NL" sz="1224" noProof="0" dirty="0">
                  <a:latin typeface="+mn-lt"/>
                </a:rPr>
                <a:t>Legenda</a:t>
              </a:r>
            </a:p>
          </p:txBody>
        </p:sp>
        <p:sp>
          <p:nvSpPr>
            <p:cNvPr id="134" name="Legend3"/>
            <p:cNvSpPr>
              <a:spLocks noChangeArrowheads="1"/>
            </p:cNvSpPr>
            <p:nvPr/>
          </p:nvSpPr>
          <p:spPr bwMode="gray">
            <a:xfrm>
              <a:off x="9526099" y="1225311"/>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rtl="0">
                <a:buClr>
                  <a:schemeClr val="tx2"/>
                </a:buClr>
              </a:pPr>
              <a:r>
                <a:rPr lang="nl-NL" sz="1224" noProof="0" dirty="0">
                  <a:latin typeface="+mn-lt"/>
                </a:rPr>
                <a:t>Legenda</a:t>
              </a:r>
            </a:p>
          </p:txBody>
        </p:sp>
        <p:sp>
          <p:nvSpPr>
            <p:cNvPr id="135" name="Legend4"/>
            <p:cNvSpPr>
              <a:spLocks noChangeArrowheads="1"/>
            </p:cNvSpPr>
            <p:nvPr/>
          </p:nvSpPr>
          <p:spPr bwMode="gray">
            <a:xfrm>
              <a:off x="9526099" y="1499617"/>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rtl="0">
                <a:buClr>
                  <a:schemeClr val="tx2"/>
                </a:buClr>
              </a:pPr>
              <a:r>
                <a:rPr lang="nl-NL" sz="1224" noProof="0" dirty="0">
                  <a:latin typeface="+mn-lt"/>
                </a:rPr>
                <a:t>Legenda</a:t>
              </a:r>
            </a:p>
          </p:txBody>
        </p:sp>
        <p:sp>
          <p:nvSpPr>
            <p:cNvPr id="136" name="Legend5"/>
            <p:cNvSpPr>
              <a:spLocks noChangeArrowheads="1"/>
            </p:cNvSpPr>
            <p:nvPr/>
          </p:nvSpPr>
          <p:spPr bwMode="gray">
            <a:xfrm>
              <a:off x="9526099" y="1773922"/>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rtl="0">
                <a:buClr>
                  <a:schemeClr val="tx2"/>
                </a:buClr>
              </a:pPr>
              <a:r>
                <a:rPr lang="nl-NL" sz="1224" noProof="0" dirty="0">
                  <a:latin typeface="+mn-lt"/>
                </a:rPr>
                <a:t>Legenda</a:t>
              </a:r>
            </a:p>
          </p:txBody>
        </p:sp>
        <p:grpSp>
          <p:nvGrpSpPr>
            <p:cNvPr id="137" name="MoonLegend3"/>
            <p:cNvGrpSpPr>
              <a:grpSpLocks noChangeAspect="1"/>
            </p:cNvGrpSpPr>
            <p:nvPr>
              <p:custDataLst>
                <p:tags r:id="rId25"/>
              </p:custDataLst>
            </p:nvPr>
          </p:nvGrpSpPr>
          <p:grpSpPr bwMode="gray">
            <a:xfrm>
              <a:off x="9205424" y="1212868"/>
              <a:ext cx="209550" cy="209551"/>
              <a:chOff x="4495" y="1198"/>
              <a:chExt cx="160" cy="160"/>
            </a:xfrm>
          </p:grpSpPr>
          <p:sp>
            <p:nvSpPr>
              <p:cNvPr id="138" name="Oval 47"/>
              <p:cNvSpPr>
                <a:spLocks noChangeAspect="1" noChangeArrowheads="1"/>
              </p:cNvSpPr>
              <p:nvPr>
                <p:custDataLst>
                  <p:tags r:id="rId26"/>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nl-NL" sz="1224" noProof="0" dirty="0">
                  <a:latin typeface="+mn-lt"/>
                </a:endParaRPr>
              </a:p>
            </p:txBody>
          </p:sp>
          <p:sp>
            <p:nvSpPr>
              <p:cNvPr id="139" name="Arc 48"/>
              <p:cNvSpPr>
                <a:spLocks noChangeAspect="1"/>
              </p:cNvSpPr>
              <p:nvPr>
                <p:custDataLst>
                  <p:tags r:id="rId27"/>
                </p:custDataLst>
              </p:nvPr>
            </p:nvSpPr>
            <p:spPr bwMode="gray">
              <a:xfrm>
                <a:off x="4495" y="1198"/>
                <a:ext cx="160" cy="160"/>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nl-NL" sz="1224" noProof="0" dirty="0">
                  <a:latin typeface="+mn-lt"/>
                </a:endParaRPr>
              </a:p>
            </p:txBody>
          </p:sp>
        </p:grpSp>
      </p:grpSp>
      <p:grpSp>
        <p:nvGrpSpPr>
          <p:cNvPr id="148" name="Moon" hidden="1"/>
          <p:cNvGrpSpPr/>
          <p:nvPr>
            <p:custDataLst>
              <p:tags r:id="rId18"/>
            </p:custDataLst>
          </p:nvPr>
        </p:nvGrpSpPr>
        <p:grpSpPr bwMode="gray">
          <a:xfrm>
            <a:off x="11699579" y="2698440"/>
            <a:ext cx="259163" cy="259159"/>
            <a:chOff x="762000" y="1270000"/>
            <a:chExt cx="254000" cy="254000"/>
          </a:xfrm>
        </p:grpSpPr>
        <p:sp>
          <p:nvSpPr>
            <p:cNvPr id="149" name="Oval 148"/>
            <p:cNvSpPr/>
            <p:nvPr/>
          </p:nvSpPr>
          <p:spPr bwMode="gray">
            <a:xfrm>
              <a:off x="762000" y="1270000"/>
              <a:ext cx="254000" cy="254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sz="1837" dirty="0">
                <a:solidFill>
                  <a:schemeClr val="tx1"/>
                </a:solidFill>
              </a:endParaRPr>
            </a:p>
          </p:txBody>
        </p:sp>
        <p:sp>
          <p:nvSpPr>
            <p:cNvPr id="150" name="Arc 149"/>
            <p:cNvSpPr/>
            <p:nvPr/>
          </p:nvSpPr>
          <p:spPr bwMode="gray">
            <a:xfrm>
              <a:off x="762000" y="1270000"/>
              <a:ext cx="254000" cy="254000"/>
            </a:xfrm>
            <a:prstGeom prst="arc">
              <a:avLst/>
            </a:prstGeom>
            <a:solidFill>
              <a:schemeClr val="accent4"/>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nl-NL" sz="1837" dirty="0"/>
            </a:p>
          </p:txBody>
        </p:sp>
      </p:grpSp>
      <p:sp>
        <p:nvSpPr>
          <p:cNvPr id="72" name="SingleChevron" hidden="1">
            <a:extLst>
              <a:ext uri="{FF2B5EF4-FFF2-40B4-BE49-F238E27FC236}">
                <a16:creationId xmlns:a16="http://schemas.microsoft.com/office/drawing/2014/main" id="{F76CFF7D-6557-4985-9AC8-0BA5374E926A}"/>
              </a:ext>
            </a:extLst>
          </p:cNvPr>
          <p:cNvSpPr>
            <a:spLocks noChangeAspect="1"/>
          </p:cNvSpPr>
          <p:nvPr/>
        </p:nvSpPr>
        <p:spPr bwMode="gray">
          <a:xfrm>
            <a:off x="5558038" y="4431545"/>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rtl="0" eaLnBrk="1"/>
            <a:endParaRPr lang="nl-NL" sz="1632" dirty="0">
              <a:solidFill>
                <a:schemeClr val="tx1"/>
              </a:solidFill>
              <a:latin typeface="+mn-lt"/>
            </a:endParaRPr>
          </a:p>
        </p:txBody>
      </p:sp>
      <p:grpSp>
        <p:nvGrpSpPr>
          <p:cNvPr id="73" name="DoubleChevron2" hidden="1">
            <a:extLst>
              <a:ext uri="{FF2B5EF4-FFF2-40B4-BE49-F238E27FC236}">
                <a16:creationId xmlns:a16="http://schemas.microsoft.com/office/drawing/2014/main" id="{03430B6D-F4A8-4F59-B66C-8C207F43DAF7}"/>
              </a:ext>
            </a:extLst>
          </p:cNvPr>
          <p:cNvGrpSpPr>
            <a:grpSpLocks noChangeAspect="1"/>
          </p:cNvGrpSpPr>
          <p:nvPr/>
        </p:nvGrpSpPr>
        <p:grpSpPr bwMode="gray">
          <a:xfrm>
            <a:off x="6852326" y="4431545"/>
            <a:ext cx="1268194" cy="1554955"/>
            <a:chOff x="1270000" y="1270000"/>
            <a:chExt cx="2951957" cy="3619500"/>
          </a:xfrm>
          <a:solidFill>
            <a:schemeClr val="accent1"/>
          </a:solidFill>
        </p:grpSpPr>
        <p:sp>
          <p:nvSpPr>
            <p:cNvPr id="78" name="Chevron1">
              <a:extLst>
                <a:ext uri="{FF2B5EF4-FFF2-40B4-BE49-F238E27FC236}">
                  <a16:creationId xmlns:a16="http://schemas.microsoft.com/office/drawing/2014/main" id="{BEF86B13-F0F9-44E8-BC82-D3B1F01A2E04}"/>
                </a:ext>
              </a:extLst>
            </p:cNvPr>
            <p:cNvSpPr>
              <a:spLocks noChangeAspect="1"/>
            </p:cNvSpPr>
            <p:nvPr userDrawn="1"/>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rtl="0" eaLnBrk="1"/>
              <a:endParaRPr lang="nl-NL" sz="1632" dirty="0">
                <a:solidFill>
                  <a:schemeClr val="tx1"/>
                </a:solidFill>
                <a:latin typeface="+mn-lt"/>
              </a:endParaRPr>
            </a:p>
          </p:txBody>
        </p:sp>
        <p:sp>
          <p:nvSpPr>
            <p:cNvPr id="79" name="Chevron2">
              <a:extLst>
                <a:ext uri="{FF2B5EF4-FFF2-40B4-BE49-F238E27FC236}">
                  <a16:creationId xmlns:a16="http://schemas.microsoft.com/office/drawing/2014/main" id="{8DE836DF-98B4-4DEB-AD7B-399DB9FCD487}"/>
                </a:ext>
              </a:extLst>
            </p:cNvPr>
            <p:cNvSpPr>
              <a:spLocks noChangeAspect="1"/>
            </p:cNvSpPr>
            <p:nvPr userDrawn="1"/>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rtl="0" eaLnBrk="1"/>
              <a:endParaRPr lang="nl-NL" sz="1632" dirty="0">
                <a:solidFill>
                  <a:schemeClr val="tx1"/>
                </a:solidFill>
                <a:latin typeface="+mn-lt"/>
              </a:endParaRPr>
            </a:p>
          </p:txBody>
        </p:sp>
      </p:grpSp>
      <p:grpSp>
        <p:nvGrpSpPr>
          <p:cNvPr id="74" name="DoubleChevron" hidden="1">
            <a:extLst>
              <a:ext uri="{FF2B5EF4-FFF2-40B4-BE49-F238E27FC236}">
                <a16:creationId xmlns:a16="http://schemas.microsoft.com/office/drawing/2014/main" id="{DD1F7A8A-45A7-4E8C-8541-B4A77C4549C2}"/>
              </a:ext>
            </a:extLst>
          </p:cNvPr>
          <p:cNvGrpSpPr>
            <a:grpSpLocks noChangeAspect="1"/>
          </p:cNvGrpSpPr>
          <p:nvPr/>
        </p:nvGrpSpPr>
        <p:grpSpPr bwMode="gray">
          <a:xfrm>
            <a:off x="6027861" y="4431545"/>
            <a:ext cx="1034947" cy="1554955"/>
            <a:chOff x="1270000" y="1270000"/>
            <a:chExt cx="2409032" cy="3619500"/>
          </a:xfrm>
          <a:solidFill>
            <a:schemeClr val="accent1"/>
          </a:solidFill>
        </p:grpSpPr>
        <p:sp>
          <p:nvSpPr>
            <p:cNvPr id="75" name="Chevron1">
              <a:extLst>
                <a:ext uri="{FF2B5EF4-FFF2-40B4-BE49-F238E27FC236}">
                  <a16:creationId xmlns:a16="http://schemas.microsoft.com/office/drawing/2014/main" id="{FE91783C-386A-49DF-98E2-044BFF2D9715}"/>
                </a:ext>
              </a:extLst>
            </p:cNvPr>
            <p:cNvSpPr>
              <a:spLocks noChangeAspect="1"/>
            </p:cNvSpPr>
            <p:nvPr userDrawn="1"/>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rtl="0" eaLnBrk="1"/>
              <a:endParaRPr lang="nl-NL" sz="1632" dirty="0">
                <a:solidFill>
                  <a:schemeClr val="tx1"/>
                </a:solidFill>
                <a:latin typeface="+mn-lt"/>
              </a:endParaRPr>
            </a:p>
          </p:txBody>
        </p:sp>
        <p:sp>
          <p:nvSpPr>
            <p:cNvPr id="76" name="Chevron2">
              <a:extLst>
                <a:ext uri="{FF2B5EF4-FFF2-40B4-BE49-F238E27FC236}">
                  <a16:creationId xmlns:a16="http://schemas.microsoft.com/office/drawing/2014/main" id="{23EED61E-5E5B-4DC3-AA5C-EF1657A66CE6}"/>
                </a:ext>
              </a:extLst>
            </p:cNvPr>
            <p:cNvSpPr>
              <a:spLocks noChangeAspect="1"/>
            </p:cNvSpPr>
            <p:nvPr userDrawn="1"/>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rtl="0" eaLnBrk="1"/>
              <a:endParaRPr lang="nl-NL" sz="1632" dirty="0">
                <a:solidFill>
                  <a:schemeClr val="tx1"/>
                </a:solidFill>
                <a:latin typeface="+mn-lt"/>
              </a:endParaRPr>
            </a:p>
          </p:txBody>
        </p:sp>
      </p:grpSp>
      <p:sp>
        <p:nvSpPr>
          <p:cNvPr id="80" name="TitleTrackerAlpha" hidden="1">
            <a:extLst>
              <a:ext uri="{FF2B5EF4-FFF2-40B4-BE49-F238E27FC236}">
                <a16:creationId xmlns:a16="http://schemas.microsoft.com/office/drawing/2014/main" id="{DBBF5B7D-AEA7-4B32-86DF-D97974B2332B}"/>
              </a:ext>
            </a:extLst>
          </p:cNvPr>
          <p:cNvSpPr/>
          <p:nvPr>
            <p:custDataLst>
              <p:tags r:id="rId19"/>
            </p:custDataLst>
          </p:nvPr>
        </p:nvSpPr>
        <p:spPr bwMode="gray">
          <a:xfrm>
            <a:off x="839040" y="225253"/>
            <a:ext cx="492410" cy="492402"/>
          </a:xfrm>
          <a:prstGeom prst="ellipse">
            <a:avLst/>
          </a:prstGeom>
          <a:solidFill>
            <a:schemeClr val="bg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rtl="0"/>
            <a:r>
              <a:rPr lang="nl-NL" sz="2449" b="1" dirty="0">
                <a:solidFill>
                  <a:schemeClr val="tx2"/>
                </a:solidFill>
                <a:latin typeface="+mj-lt"/>
              </a:rPr>
              <a:t>A</a:t>
            </a:r>
          </a:p>
        </p:txBody>
      </p:sp>
      <p:sp>
        <p:nvSpPr>
          <p:cNvPr id="81" name="TitleTrackerNum" hidden="1">
            <a:extLst>
              <a:ext uri="{FF2B5EF4-FFF2-40B4-BE49-F238E27FC236}">
                <a16:creationId xmlns:a16="http://schemas.microsoft.com/office/drawing/2014/main" id="{794CED1F-6725-4459-8907-48C740430B0C}"/>
              </a:ext>
            </a:extLst>
          </p:cNvPr>
          <p:cNvSpPr/>
          <p:nvPr>
            <p:custDataLst>
              <p:tags r:id="rId20"/>
            </p:custDataLst>
          </p:nvPr>
        </p:nvSpPr>
        <p:spPr bwMode="gray">
          <a:xfrm>
            <a:off x="839040" y="225253"/>
            <a:ext cx="492410" cy="492402"/>
          </a:xfrm>
          <a:prstGeom prst="ellipse">
            <a:avLst/>
          </a:prstGeom>
          <a:solidFill>
            <a:schemeClr val="bg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rtl="0"/>
            <a:r>
              <a:rPr lang="nl-NL" sz="2449" b="1" dirty="0">
                <a:solidFill>
                  <a:schemeClr val="tx2"/>
                </a:solidFill>
                <a:latin typeface="+mj-lt"/>
              </a:rPr>
              <a:t>1</a:t>
            </a:r>
          </a:p>
        </p:txBody>
      </p:sp>
      <p:grpSp>
        <p:nvGrpSpPr>
          <p:cNvPr id="155" name="Group 154">
            <a:extLst>
              <a:ext uri="{FF2B5EF4-FFF2-40B4-BE49-F238E27FC236}">
                <a16:creationId xmlns:a16="http://schemas.microsoft.com/office/drawing/2014/main" id="{D5277C95-E1E2-4256-90CF-0E3D9E82775F}"/>
              </a:ext>
            </a:extLst>
          </p:cNvPr>
          <p:cNvGrpSpPr/>
          <p:nvPr userDrawn="1"/>
        </p:nvGrpSpPr>
        <p:grpSpPr bwMode="ltGray">
          <a:xfrm>
            <a:off x="233258" y="106904"/>
            <a:ext cx="426000" cy="1448052"/>
            <a:chOff x="177800" y="104775"/>
            <a:chExt cx="417513" cy="1419225"/>
          </a:xfrm>
          <a:solidFill>
            <a:schemeClr val="tx2"/>
          </a:solidFill>
        </p:grpSpPr>
        <p:sp>
          <p:nvSpPr>
            <p:cNvPr id="156" name="Freeform 42">
              <a:extLst>
                <a:ext uri="{FF2B5EF4-FFF2-40B4-BE49-F238E27FC236}">
                  <a16:creationId xmlns:a16="http://schemas.microsoft.com/office/drawing/2014/main" id="{2632F7AF-F5FB-4620-AF44-CD765C50CB67}"/>
                </a:ext>
              </a:extLst>
            </p:cNvPr>
            <p:cNvSpPr>
              <a:spLocks/>
            </p:cNvSpPr>
            <p:nvPr userDrawn="1"/>
          </p:nvSpPr>
          <p:spPr bwMode="ltGray">
            <a:xfrm>
              <a:off x="177800" y="1108075"/>
              <a:ext cx="417513" cy="415925"/>
            </a:xfrm>
            <a:custGeom>
              <a:avLst/>
              <a:gdLst>
                <a:gd name="T0" fmla="*/ 0 w 263"/>
                <a:gd name="T1" fmla="*/ 209 h 262"/>
                <a:gd name="T2" fmla="*/ 80 w 263"/>
                <a:gd name="T3" fmla="*/ 131 h 262"/>
                <a:gd name="T4" fmla="*/ 0 w 263"/>
                <a:gd name="T5" fmla="*/ 52 h 262"/>
                <a:gd name="T6" fmla="*/ 53 w 263"/>
                <a:gd name="T7" fmla="*/ 0 h 262"/>
                <a:gd name="T8" fmla="*/ 132 w 263"/>
                <a:gd name="T9" fmla="*/ 78 h 262"/>
                <a:gd name="T10" fmla="*/ 210 w 263"/>
                <a:gd name="T11" fmla="*/ 0 h 262"/>
                <a:gd name="T12" fmla="*/ 263 w 263"/>
                <a:gd name="T13" fmla="*/ 52 h 262"/>
                <a:gd name="T14" fmla="*/ 185 w 263"/>
                <a:gd name="T15" fmla="*/ 131 h 262"/>
                <a:gd name="T16" fmla="*/ 263 w 263"/>
                <a:gd name="T17" fmla="*/ 209 h 262"/>
                <a:gd name="T18" fmla="*/ 210 w 263"/>
                <a:gd name="T19" fmla="*/ 262 h 262"/>
                <a:gd name="T20" fmla="*/ 132 w 263"/>
                <a:gd name="T21" fmla="*/ 183 h 262"/>
                <a:gd name="T22" fmla="*/ 53 w 263"/>
                <a:gd name="T23" fmla="*/ 262 h 262"/>
                <a:gd name="T24" fmla="*/ 0 w 263"/>
                <a:gd name="T25" fmla="*/ 20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2">
                  <a:moveTo>
                    <a:pt x="0" y="209"/>
                  </a:moveTo>
                  <a:lnTo>
                    <a:pt x="80" y="131"/>
                  </a:lnTo>
                  <a:lnTo>
                    <a:pt x="0" y="52"/>
                  </a:lnTo>
                  <a:lnTo>
                    <a:pt x="53" y="0"/>
                  </a:lnTo>
                  <a:lnTo>
                    <a:pt x="132" y="78"/>
                  </a:lnTo>
                  <a:lnTo>
                    <a:pt x="210" y="0"/>
                  </a:lnTo>
                  <a:lnTo>
                    <a:pt x="263" y="52"/>
                  </a:lnTo>
                  <a:lnTo>
                    <a:pt x="185" y="131"/>
                  </a:lnTo>
                  <a:lnTo>
                    <a:pt x="263" y="209"/>
                  </a:lnTo>
                  <a:lnTo>
                    <a:pt x="210" y="262"/>
                  </a:lnTo>
                  <a:lnTo>
                    <a:pt x="132" y="183"/>
                  </a:lnTo>
                  <a:lnTo>
                    <a:pt x="53" y="262"/>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nl-NL" sz="1837" dirty="0"/>
            </a:p>
          </p:txBody>
        </p:sp>
        <p:sp>
          <p:nvSpPr>
            <p:cNvPr id="157" name="Freeform 43">
              <a:extLst>
                <a:ext uri="{FF2B5EF4-FFF2-40B4-BE49-F238E27FC236}">
                  <a16:creationId xmlns:a16="http://schemas.microsoft.com/office/drawing/2014/main" id="{EAEBA356-DF50-406B-A0F8-71773E1B6C83}"/>
                </a:ext>
              </a:extLst>
            </p:cNvPr>
            <p:cNvSpPr>
              <a:spLocks/>
            </p:cNvSpPr>
            <p:nvPr userDrawn="1"/>
          </p:nvSpPr>
          <p:spPr bwMode="ltGray">
            <a:xfrm>
              <a:off x="177800" y="104775"/>
              <a:ext cx="417513" cy="417513"/>
            </a:xfrm>
            <a:custGeom>
              <a:avLst/>
              <a:gdLst>
                <a:gd name="T0" fmla="*/ 0 w 263"/>
                <a:gd name="T1" fmla="*/ 211 h 263"/>
                <a:gd name="T2" fmla="*/ 80 w 263"/>
                <a:gd name="T3" fmla="*/ 132 h 263"/>
                <a:gd name="T4" fmla="*/ 0 w 263"/>
                <a:gd name="T5" fmla="*/ 53 h 263"/>
                <a:gd name="T6" fmla="*/ 53 w 263"/>
                <a:gd name="T7" fmla="*/ 0 h 263"/>
                <a:gd name="T8" fmla="*/ 132 w 263"/>
                <a:gd name="T9" fmla="*/ 80 h 263"/>
                <a:gd name="T10" fmla="*/ 210 w 263"/>
                <a:gd name="T11" fmla="*/ 0 h 263"/>
                <a:gd name="T12" fmla="*/ 263 w 263"/>
                <a:gd name="T13" fmla="*/ 53 h 263"/>
                <a:gd name="T14" fmla="*/ 185 w 263"/>
                <a:gd name="T15" fmla="*/ 132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2"/>
                  </a:lnTo>
                  <a:lnTo>
                    <a:pt x="0" y="53"/>
                  </a:lnTo>
                  <a:lnTo>
                    <a:pt x="53" y="0"/>
                  </a:lnTo>
                  <a:lnTo>
                    <a:pt x="132" y="80"/>
                  </a:lnTo>
                  <a:lnTo>
                    <a:pt x="210" y="0"/>
                  </a:lnTo>
                  <a:lnTo>
                    <a:pt x="263" y="53"/>
                  </a:lnTo>
                  <a:lnTo>
                    <a:pt x="185" y="132"/>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nl-NL" sz="1837" dirty="0"/>
            </a:p>
          </p:txBody>
        </p:sp>
        <p:sp>
          <p:nvSpPr>
            <p:cNvPr id="158" name="Freeform 44">
              <a:extLst>
                <a:ext uri="{FF2B5EF4-FFF2-40B4-BE49-F238E27FC236}">
                  <a16:creationId xmlns:a16="http://schemas.microsoft.com/office/drawing/2014/main" id="{4BC8CEA6-C57E-4F7B-A57F-2A3E140774AF}"/>
                </a:ext>
              </a:extLst>
            </p:cNvPr>
            <p:cNvSpPr>
              <a:spLocks/>
            </p:cNvSpPr>
            <p:nvPr userDrawn="1"/>
          </p:nvSpPr>
          <p:spPr bwMode="ltGray">
            <a:xfrm>
              <a:off x="177800" y="606425"/>
              <a:ext cx="417513" cy="417513"/>
            </a:xfrm>
            <a:custGeom>
              <a:avLst/>
              <a:gdLst>
                <a:gd name="T0" fmla="*/ 0 w 263"/>
                <a:gd name="T1" fmla="*/ 211 h 263"/>
                <a:gd name="T2" fmla="*/ 80 w 263"/>
                <a:gd name="T3" fmla="*/ 131 h 263"/>
                <a:gd name="T4" fmla="*/ 0 w 263"/>
                <a:gd name="T5" fmla="*/ 53 h 263"/>
                <a:gd name="T6" fmla="*/ 53 w 263"/>
                <a:gd name="T7" fmla="*/ 0 h 263"/>
                <a:gd name="T8" fmla="*/ 132 w 263"/>
                <a:gd name="T9" fmla="*/ 79 h 263"/>
                <a:gd name="T10" fmla="*/ 210 w 263"/>
                <a:gd name="T11" fmla="*/ 0 h 263"/>
                <a:gd name="T12" fmla="*/ 263 w 263"/>
                <a:gd name="T13" fmla="*/ 53 h 263"/>
                <a:gd name="T14" fmla="*/ 185 w 263"/>
                <a:gd name="T15" fmla="*/ 131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1"/>
                  </a:lnTo>
                  <a:lnTo>
                    <a:pt x="0" y="53"/>
                  </a:lnTo>
                  <a:lnTo>
                    <a:pt x="53" y="0"/>
                  </a:lnTo>
                  <a:lnTo>
                    <a:pt x="132" y="79"/>
                  </a:lnTo>
                  <a:lnTo>
                    <a:pt x="210" y="0"/>
                  </a:lnTo>
                  <a:lnTo>
                    <a:pt x="263" y="53"/>
                  </a:lnTo>
                  <a:lnTo>
                    <a:pt x="185" y="131"/>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nl-NL" sz="1837" dirty="0"/>
            </a:p>
          </p:txBody>
        </p:sp>
      </p:grpSp>
      <p:pic>
        <p:nvPicPr>
          <p:cNvPr id="85" name="Picture 84">
            <a:extLst>
              <a:ext uri="{FF2B5EF4-FFF2-40B4-BE49-F238E27FC236}">
                <a16:creationId xmlns:a16="http://schemas.microsoft.com/office/drawing/2014/main" id="{26EF00A0-5632-4E05-86CC-1BCC461D3DFE}"/>
              </a:ext>
            </a:extLst>
          </p:cNvPr>
          <p:cNvPicPr>
            <a:picLocks noChangeAspect="1"/>
          </p:cNvPicPr>
          <p:nvPr userDrawn="1"/>
        </p:nvPicPr>
        <p:blipFill>
          <a:blip r:embed="rId44"/>
          <a:stretch>
            <a:fillRect/>
          </a:stretch>
        </p:blipFill>
        <p:spPr>
          <a:xfrm>
            <a:off x="10441494" y="5761433"/>
            <a:ext cx="1718920" cy="966877"/>
          </a:xfrm>
          <a:prstGeom prst="rect">
            <a:avLst/>
          </a:prstGeom>
        </p:spPr>
      </p:pic>
    </p:spTree>
    <p:extLst>
      <p:ext uri="{BB962C8B-B14F-4D97-AF65-F5344CB8AC3E}">
        <p14:creationId xmlns:p14="http://schemas.microsoft.com/office/powerpoint/2010/main" val="3189767967"/>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Lst>
  <p:hf hdr="0" dt="0"/>
  <p:txStyles>
    <p:titleStyle>
      <a:lvl1pPr algn="l" defTabSz="913526" rtl="0" eaLnBrk="1" fontAlgn="base" hangingPunct="1">
        <a:spcBef>
          <a:spcPct val="0"/>
        </a:spcBef>
        <a:spcAft>
          <a:spcPct val="0"/>
        </a:spcAft>
        <a:tabLst>
          <a:tab pos="549088" algn="l"/>
        </a:tabLst>
        <a:defRPr sz="244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83654" indent="-183654" algn="l" defTabSz="913526" rtl="0" eaLnBrk="1" fontAlgn="base" hangingPunct="1">
        <a:spcBef>
          <a:spcPct val="0"/>
        </a:spcBef>
        <a:spcAft>
          <a:spcPct val="0"/>
        </a:spcAft>
        <a:buClr>
          <a:schemeClr val="tx2"/>
        </a:buClr>
        <a:buSzPct val="125000"/>
        <a:buFont typeface="Arial" pitchFamily="34" charset="0"/>
        <a:buChar char="•"/>
        <a:defRPr sz="1632" baseline="0">
          <a:solidFill>
            <a:schemeClr val="tx1"/>
          </a:solidFill>
          <a:latin typeface="+mn-lt"/>
        </a:defRPr>
      </a:lvl2pPr>
      <a:lvl3pPr marL="367308" indent="-183654"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550962" indent="-183654" algn="l" defTabSz="913526" rtl="0" eaLnBrk="1" fontAlgn="base" hangingPunct="1">
        <a:spcBef>
          <a:spcPct val="0"/>
        </a:spcBef>
        <a:spcAft>
          <a:spcPct val="0"/>
        </a:spcAft>
        <a:buClr>
          <a:schemeClr val="tx2"/>
        </a:buClr>
        <a:buSzPct val="120000"/>
        <a:buFont typeface="Arial" pitchFamily="34" charset="0"/>
        <a:buChar char="◦"/>
        <a:defRPr sz="1632" baseline="0">
          <a:solidFill>
            <a:schemeClr val="tx1"/>
          </a:solidFill>
          <a:latin typeface="+mn-lt"/>
        </a:defRPr>
      </a:lvl4pPr>
      <a:lvl5pPr marL="734616" indent="-183654"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ext uri="{D42A27DB-BD31-4B8C-83A1-F6EECF244321}">
                <p14:modId xmlns:p14="http://schemas.microsoft.com/office/powerpoint/2010/main" val="426956339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41" imgW="270" imgH="270" progId="TCLayout.ActiveDocument.1">
                  <p:embed/>
                </p:oleObj>
              </mc:Choice>
              <mc:Fallback>
                <p:oleObj name="think-cell Slide" r:id="rId41" imgW="270" imgH="270" progId="TCLayout.ActiveDocument.1">
                  <p:embed/>
                  <p:pic>
                    <p:nvPicPr>
                      <p:cNvPr id="2" name="Object 1" hidden="1"/>
                      <p:cNvPicPr/>
                      <p:nvPr/>
                    </p:nvPicPr>
                    <p:blipFill>
                      <a:blip r:embed="rId42"/>
                      <a:stretch>
                        <a:fillRect/>
                      </a:stretch>
                    </p:blipFill>
                    <p:spPr>
                      <a:xfrm>
                        <a:off x="0" y="0"/>
                        <a:ext cx="215979" cy="16197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13A703-F189-4854-97A2-C10D7EE5C491}"/>
              </a:ext>
            </a:extLst>
          </p:cNvPr>
          <p:cNvSpPr/>
          <p:nvPr userDrawn="1">
            <p:custDataLst>
              <p:tags r:id="rId8"/>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1036" name="Rectangle 286"/>
          <p:cNvSpPr>
            <a:spLocks noGrp="1" noChangeArrowheads="1"/>
          </p:cNvSpPr>
          <p:nvPr>
            <p:ph type="body" idx="1"/>
          </p:nvPr>
        </p:nvSpPr>
        <p:spPr bwMode="gray">
          <a:xfrm>
            <a:off x="233259" y="2698440"/>
            <a:ext cx="1172548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noProof="0" dirty="0"/>
              <a:t>Edit Master text styles</a:t>
            </a:r>
          </a:p>
          <a:p>
            <a:pPr lvl="1"/>
            <a:r>
              <a:rPr lang="nl-NL" noProof="0" dirty="0"/>
              <a:t>Second level</a:t>
            </a:r>
          </a:p>
          <a:p>
            <a:pPr lvl="2"/>
            <a:r>
              <a:rPr lang="nl-NL" noProof="0" dirty="0"/>
              <a:t>Third level</a:t>
            </a:r>
          </a:p>
          <a:p>
            <a:pPr lvl="3"/>
            <a:r>
              <a:rPr lang="nl-NL" noProof="0" dirty="0"/>
              <a:t>Fourth level</a:t>
            </a:r>
          </a:p>
          <a:p>
            <a:pPr lvl="4"/>
            <a:r>
              <a:rPr lang="nl-NL" noProof="0" dirty="0"/>
              <a:t>Fifth level</a:t>
            </a:r>
          </a:p>
        </p:txBody>
      </p:sp>
      <p:sp>
        <p:nvSpPr>
          <p:cNvPr id="19" name="Title Placeholder 2"/>
          <p:cNvSpPr>
            <a:spLocks noGrp="1" noChangeArrowheads="1"/>
          </p:cNvSpPr>
          <p:nvPr>
            <p:ph type="title"/>
          </p:nvPr>
        </p:nvSpPr>
        <p:spPr bwMode="gray">
          <a:xfrm>
            <a:off x="839041" y="283037"/>
            <a:ext cx="1111970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dirty="0"/>
              <a:t>Click to edit Master title style</a:t>
            </a:r>
          </a:p>
        </p:txBody>
      </p:sp>
      <p:sp>
        <p:nvSpPr>
          <p:cNvPr id="13" name="4. Footnote" hidden="1"/>
          <p:cNvSpPr txBox="1">
            <a:spLocks noChangeArrowheads="1"/>
          </p:cNvSpPr>
          <p:nvPr/>
        </p:nvSpPr>
        <p:spPr bwMode="gray">
          <a:xfrm>
            <a:off x="233259" y="6193144"/>
            <a:ext cx="117254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846" indent="-85846">
              <a:defRPr/>
            </a:pPr>
            <a:r>
              <a:rPr lang="nl-NL" sz="1020" baseline="0" noProof="0" dirty="0">
                <a:latin typeface="+mn-lt"/>
              </a:rPr>
              <a:t>1 Voetnoot </a:t>
            </a:r>
          </a:p>
        </p:txBody>
      </p:sp>
      <p:sp>
        <p:nvSpPr>
          <p:cNvPr id="14" name="5. Source" hidden="1"/>
          <p:cNvSpPr>
            <a:spLocks noChangeArrowheads="1"/>
          </p:cNvSpPr>
          <p:nvPr/>
        </p:nvSpPr>
        <p:spPr bwMode="gray">
          <a:xfrm>
            <a:off x="233259" y="6408862"/>
            <a:ext cx="11254650"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marL="319087" indent="-319087" defTabSz="913526">
              <a:tabLst/>
            </a:pPr>
            <a:r>
              <a:rPr lang="nl-NL" sz="1020" baseline="0" noProof="0" dirty="0">
                <a:solidFill>
                  <a:srgbClr val="000000"/>
                </a:solidFill>
                <a:latin typeface="+mn-lt"/>
              </a:rPr>
              <a:t>Bron: Bron</a:t>
            </a:r>
          </a:p>
        </p:txBody>
      </p:sp>
      <p:grpSp>
        <p:nvGrpSpPr>
          <p:cNvPr id="15" name="ACET" hidden="1"/>
          <p:cNvGrpSpPr>
            <a:grpSpLocks/>
          </p:cNvGrpSpPr>
          <p:nvPr/>
        </p:nvGrpSpPr>
        <p:grpSpPr bwMode="gray">
          <a:xfrm>
            <a:off x="233258" y="1895475"/>
            <a:ext cx="2317942" cy="531276"/>
            <a:chOff x="915" y="702"/>
            <a:chExt cx="2686" cy="328"/>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nl-NL" sz="1632" b="1" baseline="0" noProof="0" dirty="0">
                  <a:latin typeface="+mn-lt"/>
                  <a:ea typeface="+mn-ea"/>
                </a:rPr>
                <a:t>Titel</a:t>
              </a:r>
            </a:p>
            <a:p>
              <a:r>
                <a:rPr lang="nl-NL" sz="1632" baseline="0" noProof="0" dirty="0">
                  <a:solidFill>
                    <a:schemeClr val="tx1"/>
                  </a:solidFill>
                  <a:latin typeface="+mn-lt"/>
                  <a:ea typeface="+mn-ea"/>
                </a:rPr>
                <a:t>Meeteenheid</a:t>
              </a:r>
            </a:p>
          </p:txBody>
        </p:sp>
      </p:grpSp>
      <p:sp>
        <p:nvSpPr>
          <p:cNvPr id="3" name="pg number"/>
          <p:cNvSpPr>
            <a:spLocks/>
          </p:cNvSpPr>
          <p:nvPr/>
        </p:nvSpPr>
        <p:spPr bwMode="gray">
          <a:xfrm>
            <a:off x="11729760" y="6407190"/>
            <a:ext cx="228982" cy="160154"/>
          </a:xfrm>
          <a:prstGeom prst="rect">
            <a:avLst/>
          </a:prstGeom>
        </p:spPr>
        <p:txBody>
          <a:bodyPr vert="horz" wrap="none" lIns="0" tIns="0" rIns="0" bIns="0" rtlCol="0" anchor="ctr">
            <a:spAutoFit/>
          </a:bodyPr>
          <a:lstStyle/>
          <a:p>
            <a:pPr lvl="0" algn="r"/>
            <a:fld id="{42C328C1-A84F-4A39-A664-DBA00541A8C6}" type="slidenum">
              <a:rPr lang="nl-NL" sz="1020" noProof="0" smtClean="0">
                <a:latin typeface="+mn-lt"/>
              </a:rPr>
              <a:pPr lvl="0" algn="r"/>
              <a:t>‹nr.›</a:t>
            </a:fld>
            <a:endParaRPr lang="nl-NL" sz="1020" baseline="0" noProof="0" dirty="0">
              <a:solidFill>
                <a:schemeClr val="tx1"/>
              </a:solidFill>
              <a:latin typeface="+mn-lt"/>
            </a:endParaRPr>
          </a:p>
        </p:txBody>
      </p:sp>
      <p:sp>
        <p:nvSpPr>
          <p:cNvPr id="11" name="3. Unit of measure" hidden="1"/>
          <p:cNvSpPr txBox="1">
            <a:spLocks noChangeArrowheads="1"/>
          </p:cNvSpPr>
          <p:nvPr/>
        </p:nvSpPr>
        <p:spPr bwMode="gray">
          <a:xfrm>
            <a:off x="839041" y="721487"/>
            <a:ext cx="1111970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549088" algn="l"/>
              </a:tabLst>
              <a:defRPr/>
            </a:pPr>
            <a:r>
              <a:rPr lang="nl-NL" sz="1632" baseline="0" noProof="0" dirty="0">
                <a:solidFill>
                  <a:schemeClr val="tx1"/>
                </a:solidFill>
                <a:latin typeface="+mn-lt"/>
              </a:rPr>
              <a:t>Meeteenheid</a:t>
            </a:r>
          </a:p>
        </p:txBody>
      </p:sp>
      <p:sp>
        <p:nvSpPr>
          <p:cNvPr id="77" name="1. On-page tracker" hidden="1"/>
          <p:cNvSpPr>
            <a:spLocks noChangeArrowheads="1"/>
          </p:cNvSpPr>
          <p:nvPr/>
        </p:nvSpPr>
        <p:spPr bwMode="gray">
          <a:xfrm>
            <a:off x="839040" y="45940"/>
            <a:ext cx="768531"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549088" algn="l"/>
              </a:tabLst>
            </a:pPr>
            <a:r>
              <a:rPr lang="nl-NL" sz="1428" cap="all" baseline="0" dirty="0">
                <a:latin typeface="+mn-lt"/>
                <a:ea typeface="+mj-ea"/>
              </a:rPr>
              <a:t>TRACKER</a:t>
            </a:r>
          </a:p>
        </p:txBody>
      </p:sp>
      <p:sp>
        <p:nvSpPr>
          <p:cNvPr id="93" name="Oval" hidden="1"/>
          <p:cNvSpPr txBox="1">
            <a:spLocks/>
          </p:cNvSpPr>
          <p:nvPr>
            <p:custDataLst>
              <p:tags r:id="rId9"/>
            </p:custDataLst>
          </p:nvPr>
        </p:nvSpPr>
        <p:spPr bwMode="gray">
          <a:xfrm>
            <a:off x="6878923" y="1451179"/>
            <a:ext cx="1554978" cy="1554955"/>
          </a:xfrm>
          <a:prstGeom prst="ellipse">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731" tIns="36731" rIns="36731" bIns="36731"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a:r>
              <a:rPr lang="nl-NL" sz="1632" dirty="0">
                <a:latin typeface="+mn-lt"/>
              </a:rPr>
              <a:t>Text</a:t>
            </a:r>
          </a:p>
        </p:txBody>
      </p:sp>
      <p:sp>
        <p:nvSpPr>
          <p:cNvPr id="94" name="Body3" hidden="1"/>
          <p:cNvSpPr txBox="1">
            <a:spLocks/>
          </p:cNvSpPr>
          <p:nvPr>
            <p:custDataLst>
              <p:tags r:id="rId10"/>
            </p:custDataLst>
          </p:nvPr>
        </p:nvSpPr>
        <p:spPr bwMode="gray">
          <a:xfrm>
            <a:off x="3492958" y="1451179"/>
            <a:ext cx="1554978" cy="1554955"/>
          </a:xfrm>
          <a:prstGeom prst="rect">
            <a:avLst/>
          </a:prstGeom>
          <a:solidFill>
            <a:schemeClr val="accent1"/>
          </a:solidFill>
          <a:ln w="9525">
            <a:no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5" name="RoundedRectangle" hidden="1"/>
          <p:cNvSpPr txBox="1">
            <a:spLocks/>
          </p:cNvSpPr>
          <p:nvPr>
            <p:custDataLst>
              <p:tags r:id="rId11"/>
            </p:custDataLst>
          </p:nvPr>
        </p:nvSpPr>
        <p:spPr bwMode="gray">
          <a:xfrm>
            <a:off x="5185940" y="1451179"/>
            <a:ext cx="1554978" cy="1554955"/>
          </a:xfrm>
          <a:prstGeom prst="roundRect">
            <a:avLst/>
          </a:prstGeom>
          <a:solidFill>
            <a:schemeClr val="accent1"/>
          </a:solidFill>
          <a:ln w="9525">
            <a:no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6" name="Arrow" hidden="1"/>
          <p:cNvSpPr txBox="1"/>
          <p:nvPr>
            <p:custDataLst>
              <p:tags r:id="rId12"/>
            </p:custDataLst>
          </p:nvPr>
        </p:nvSpPr>
        <p:spPr bwMode="gray">
          <a:xfrm>
            <a:off x="3490717" y="4223444"/>
            <a:ext cx="1865974" cy="932973"/>
          </a:xfrm>
          <a:prstGeom prst="rightArrow">
            <a:avLst>
              <a:gd name="adj1" fmla="val 54000"/>
              <a:gd name="adj2" fmla="val 37676"/>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3462"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7" name="DirArrow" hidden="1"/>
          <p:cNvSpPr>
            <a:spLocks noChangeArrowheads="1"/>
          </p:cNvSpPr>
          <p:nvPr>
            <p:custDataLst>
              <p:tags r:id="rId13"/>
            </p:custDataLst>
          </p:nvPr>
        </p:nvSpPr>
        <p:spPr bwMode="gray">
          <a:xfrm rot="5400000">
            <a:off x="7170376" y="2852710"/>
            <a:ext cx="3153449" cy="350388"/>
          </a:xfrm>
          <a:prstGeom prst="triangle">
            <a:avLst>
              <a:gd name="adj" fmla="val 50000"/>
            </a:avLst>
          </a:prstGeom>
          <a:solidFill>
            <a:schemeClr val="accent1"/>
          </a:solidFill>
          <a:ln w="9525">
            <a:noFill/>
            <a:miter lim="800000"/>
            <a:headEnd/>
            <a:tailEnd/>
          </a:ln>
          <a:effectLst/>
        </p:spPr>
        <p:txBody>
          <a:bodyPr wrap="none" anchor="ctr"/>
          <a:lstStyle/>
          <a:p>
            <a:endParaRPr lang="nl-NL" sz="1632" dirty="0">
              <a:latin typeface="+mn-lt"/>
            </a:endParaRPr>
          </a:p>
        </p:txBody>
      </p:sp>
      <p:sp>
        <p:nvSpPr>
          <p:cNvPr id="98" name="Bracket" hidden="1"/>
          <p:cNvSpPr>
            <a:spLocks noChangeAspect="1"/>
          </p:cNvSpPr>
          <p:nvPr>
            <p:custDataLst>
              <p:tags r:id="rId14"/>
            </p:custDataLst>
          </p:nvPr>
        </p:nvSpPr>
        <p:spPr bwMode="gray">
          <a:xfrm>
            <a:off x="8179251" y="3148303"/>
            <a:ext cx="193510" cy="1865946"/>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2524"/>
              <a:gd name="connsiteY0" fmla="*/ 0 h 3096"/>
              <a:gd name="connsiteX1" fmla="*/ 2474 w 2524"/>
              <a:gd name="connsiteY1" fmla="*/ 1944 h 3096"/>
              <a:gd name="connsiteX2" fmla="*/ 2474 w 2524"/>
              <a:gd name="connsiteY2" fmla="*/ 2472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524"/>
              <a:gd name="connsiteY0" fmla="*/ 0 h 3096"/>
              <a:gd name="connsiteX1" fmla="*/ 38 w 2524"/>
              <a:gd name="connsiteY1" fmla="*/ 0 h 3096"/>
              <a:gd name="connsiteX2" fmla="*/ 2474 w 2524"/>
              <a:gd name="connsiteY2" fmla="*/ 2472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524"/>
              <a:gd name="connsiteY0" fmla="*/ 0 h 3096"/>
              <a:gd name="connsiteX1" fmla="*/ 38 w 2524"/>
              <a:gd name="connsiteY1" fmla="*/ 0 h 3096"/>
              <a:gd name="connsiteX2" fmla="*/ 38 w 2524"/>
              <a:gd name="connsiteY2" fmla="*/ 536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474"/>
              <a:gd name="connsiteY0" fmla="*/ 0 h 3096"/>
              <a:gd name="connsiteX1" fmla="*/ 38 w 2474"/>
              <a:gd name="connsiteY1" fmla="*/ 0 h 3096"/>
              <a:gd name="connsiteX2" fmla="*/ 38 w 2474"/>
              <a:gd name="connsiteY2" fmla="*/ 536 h 3096"/>
              <a:gd name="connsiteX3" fmla="*/ 57 w 2474"/>
              <a:gd name="connsiteY3" fmla="*/ 576 h 3096"/>
              <a:gd name="connsiteX4" fmla="*/ 2474 w 2474"/>
              <a:gd name="connsiteY4" fmla="*/ 2568 h 3096"/>
              <a:gd name="connsiteX5" fmla="*/ 2474 w 2474"/>
              <a:gd name="connsiteY5" fmla="*/ 3096 h 3096"/>
              <a:gd name="connsiteX6" fmla="*/ 2409 w 2474"/>
              <a:gd name="connsiteY6" fmla="*/ 3096 h 3096"/>
              <a:gd name="connsiteX0" fmla="*/ 0 w 2474"/>
              <a:gd name="connsiteY0" fmla="*/ 0 h 3096"/>
              <a:gd name="connsiteX1" fmla="*/ 38 w 2474"/>
              <a:gd name="connsiteY1" fmla="*/ 0 h 3096"/>
              <a:gd name="connsiteX2" fmla="*/ 38 w 2474"/>
              <a:gd name="connsiteY2" fmla="*/ 536 h 3096"/>
              <a:gd name="connsiteX3" fmla="*/ 57 w 2474"/>
              <a:gd name="connsiteY3" fmla="*/ 576 h 3096"/>
              <a:gd name="connsiteX4" fmla="*/ 38 w 2474"/>
              <a:gd name="connsiteY4" fmla="*/ 616 h 3096"/>
              <a:gd name="connsiteX5" fmla="*/ 2474 w 2474"/>
              <a:gd name="connsiteY5" fmla="*/ 3096 h 3096"/>
              <a:gd name="connsiteX6" fmla="*/ 2409 w 2474"/>
              <a:gd name="connsiteY6" fmla="*/ 3096 h 3096"/>
              <a:gd name="connsiteX0" fmla="*/ 0 w 2409"/>
              <a:gd name="connsiteY0" fmla="*/ 0 h 3096"/>
              <a:gd name="connsiteX1" fmla="*/ 38 w 2409"/>
              <a:gd name="connsiteY1" fmla="*/ 0 h 3096"/>
              <a:gd name="connsiteX2" fmla="*/ 38 w 2409"/>
              <a:gd name="connsiteY2" fmla="*/ 536 h 3096"/>
              <a:gd name="connsiteX3" fmla="*/ 57 w 2409"/>
              <a:gd name="connsiteY3" fmla="*/ 576 h 3096"/>
              <a:gd name="connsiteX4" fmla="*/ 38 w 2409"/>
              <a:gd name="connsiteY4" fmla="*/ 616 h 3096"/>
              <a:gd name="connsiteX5" fmla="*/ 38 w 2409"/>
              <a:gd name="connsiteY5" fmla="*/ 1152 h 3096"/>
              <a:gd name="connsiteX6" fmla="*/ 2409 w 2409"/>
              <a:gd name="connsiteY6" fmla="*/ 3096 h 3096"/>
              <a:gd name="connsiteX0" fmla="*/ 0 w 57"/>
              <a:gd name="connsiteY0" fmla="*/ 0 h 1152"/>
              <a:gd name="connsiteX1" fmla="*/ 38 w 57"/>
              <a:gd name="connsiteY1" fmla="*/ 0 h 1152"/>
              <a:gd name="connsiteX2" fmla="*/ 38 w 57"/>
              <a:gd name="connsiteY2" fmla="*/ 536 h 1152"/>
              <a:gd name="connsiteX3" fmla="*/ 57 w 57"/>
              <a:gd name="connsiteY3" fmla="*/ 576 h 1152"/>
              <a:gd name="connsiteX4" fmla="*/ 38 w 57"/>
              <a:gd name="connsiteY4" fmla="*/ 616 h 1152"/>
              <a:gd name="connsiteX5" fmla="*/ 38 w 57"/>
              <a:gd name="connsiteY5" fmla="*/ 1152 h 1152"/>
              <a:gd name="connsiteX6" fmla="*/ 0 w 57"/>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 h="1152">
                <a:moveTo>
                  <a:pt x="0" y="0"/>
                </a:moveTo>
                <a:lnTo>
                  <a:pt x="38" y="0"/>
                </a:lnTo>
                <a:lnTo>
                  <a:pt x="38" y="536"/>
                </a:lnTo>
                <a:lnTo>
                  <a:pt x="57" y="576"/>
                </a:lnTo>
                <a:lnTo>
                  <a:pt x="38" y="616"/>
                </a:lnTo>
                <a:lnTo>
                  <a:pt x="38"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632" dirty="0">
              <a:latin typeface="+mn-lt"/>
            </a:endParaRPr>
          </a:p>
        </p:txBody>
      </p:sp>
      <p:grpSp>
        <p:nvGrpSpPr>
          <p:cNvPr id="99" name="Flow" hidden="1"/>
          <p:cNvGrpSpPr/>
          <p:nvPr>
            <p:custDataLst>
              <p:tags r:id="rId15"/>
            </p:custDataLst>
          </p:nvPr>
        </p:nvGrpSpPr>
        <p:grpSpPr bwMode="gray">
          <a:xfrm>
            <a:off x="3492958" y="3148303"/>
            <a:ext cx="1865974" cy="932973"/>
            <a:chOff x="5905500" y="3124200"/>
            <a:chExt cx="1828800" cy="914400"/>
          </a:xfrm>
        </p:grpSpPr>
        <p:sp>
          <p:nvSpPr>
            <p:cNvPr id="100" name="Freeform 99"/>
            <p:cNvSpPr/>
            <p:nvPr>
              <p:custDataLst>
                <p:tags r:id="rId39"/>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1" name="TextBox 100"/>
            <p:cNvSpPr txBox="1"/>
            <p:nvPr>
              <p:custDataLst>
                <p:tags r:id="rId40"/>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grpSp>
      <p:grpSp>
        <p:nvGrpSpPr>
          <p:cNvPr id="102" name="SplitFlow" hidden="1"/>
          <p:cNvGrpSpPr/>
          <p:nvPr>
            <p:custDataLst>
              <p:tags r:id="rId16"/>
            </p:custDataLst>
          </p:nvPr>
        </p:nvGrpSpPr>
        <p:grpSpPr bwMode="gray">
          <a:xfrm>
            <a:off x="5538529" y="3148303"/>
            <a:ext cx="1865974" cy="932973"/>
            <a:chOff x="114300" y="1270000"/>
            <a:chExt cx="1828800" cy="914400"/>
          </a:xfrm>
        </p:grpSpPr>
        <p:sp>
          <p:nvSpPr>
            <p:cNvPr id="103" name="Freeform 102"/>
            <p:cNvSpPr/>
            <p:nvPr>
              <p:custDataLst>
                <p:tags r:id="rId35"/>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4" name="TextBox 103"/>
            <p:cNvSpPr txBox="1"/>
            <p:nvPr>
              <p:custDataLst>
                <p:tags r:id="rId36"/>
              </p:custDataLst>
            </p:nvPr>
          </p:nvSpPr>
          <p:spPr bwMode="gray">
            <a:xfrm>
              <a:off x="177800" y="13271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sp>
          <p:nvSpPr>
            <p:cNvPr id="105" name="Freeform 104"/>
            <p:cNvSpPr/>
            <p:nvPr>
              <p:custDataLst>
                <p:tags r:id="rId37"/>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6" name="TextBox 105"/>
            <p:cNvSpPr txBox="1"/>
            <p:nvPr>
              <p:custDataLst>
                <p:tags r:id="rId38"/>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grpSp>
      <p:grpSp>
        <p:nvGrpSpPr>
          <p:cNvPr id="107" name="LegendBoxes" hidden="1"/>
          <p:cNvGrpSpPr>
            <a:grpSpLocks/>
          </p:cNvGrpSpPr>
          <p:nvPr/>
        </p:nvGrpSpPr>
        <p:grpSpPr bwMode="gray">
          <a:xfrm>
            <a:off x="11134285" y="721486"/>
            <a:ext cx="835802" cy="1022061"/>
            <a:chOff x="4936" y="176"/>
            <a:chExt cx="516" cy="631"/>
          </a:xfrm>
        </p:grpSpPr>
        <p:sp>
          <p:nvSpPr>
            <p:cNvPr id="108" name="Legend1"/>
            <p:cNvSpPr>
              <a:spLocks noChangeArrowheads="1"/>
            </p:cNvSpPr>
            <p:nvPr/>
          </p:nvSpPr>
          <p:spPr bwMode="gray">
            <a:xfrm>
              <a:off x="5096" y="176"/>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09" name="LegendRectangle1"/>
            <p:cNvSpPr>
              <a:spLocks noChangeArrowheads="1"/>
            </p:cNvSpPr>
            <p:nvPr/>
          </p:nvSpPr>
          <p:spPr bwMode="gray">
            <a:xfrm>
              <a:off x="4936" y="182"/>
              <a:ext cx="104" cy="104"/>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0" name="Legend2"/>
            <p:cNvSpPr>
              <a:spLocks noChangeArrowheads="1"/>
            </p:cNvSpPr>
            <p:nvPr/>
          </p:nvSpPr>
          <p:spPr bwMode="gray">
            <a:xfrm>
              <a:off x="5096" y="347"/>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1" name="LegendRectangle2"/>
            <p:cNvSpPr>
              <a:spLocks noChangeArrowheads="1"/>
            </p:cNvSpPr>
            <p:nvPr/>
          </p:nvSpPr>
          <p:spPr bwMode="gray">
            <a:xfrm>
              <a:off x="4936" y="353"/>
              <a:ext cx="104" cy="104"/>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2" name="Legend3"/>
            <p:cNvSpPr>
              <a:spLocks noChangeArrowheads="1"/>
            </p:cNvSpPr>
            <p:nvPr/>
          </p:nvSpPr>
          <p:spPr bwMode="gray">
            <a:xfrm>
              <a:off x="5096" y="517"/>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3" name="LegendRectangle3"/>
            <p:cNvSpPr>
              <a:spLocks noChangeArrowheads="1"/>
            </p:cNvSpPr>
            <p:nvPr/>
          </p:nvSpPr>
          <p:spPr bwMode="gray">
            <a:xfrm>
              <a:off x="4936" y="523"/>
              <a:ext cx="104" cy="104"/>
            </a:xfrm>
            <a:prstGeom prst="rect">
              <a:avLst/>
            </a:prstGeom>
            <a:solidFill>
              <a:schemeClr val="accent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4" name="Legend4"/>
            <p:cNvSpPr>
              <a:spLocks noChangeArrowheads="1"/>
            </p:cNvSpPr>
            <p:nvPr/>
          </p:nvSpPr>
          <p:spPr bwMode="gray">
            <a:xfrm>
              <a:off x="5096" y="688"/>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5" name="LegendRectangle4"/>
            <p:cNvSpPr>
              <a:spLocks noChangeArrowheads="1"/>
            </p:cNvSpPr>
            <p:nvPr/>
          </p:nvSpPr>
          <p:spPr bwMode="gray">
            <a:xfrm>
              <a:off x="4936" y="694"/>
              <a:ext cx="104" cy="104"/>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16" name="LegendLines" hidden="1"/>
          <p:cNvGrpSpPr>
            <a:grpSpLocks/>
          </p:cNvGrpSpPr>
          <p:nvPr/>
        </p:nvGrpSpPr>
        <p:grpSpPr bwMode="gray">
          <a:xfrm>
            <a:off x="10820047" y="721486"/>
            <a:ext cx="1150037" cy="749943"/>
            <a:chOff x="4750" y="176"/>
            <a:chExt cx="710" cy="463"/>
          </a:xfrm>
        </p:grpSpPr>
        <p:sp>
          <p:nvSpPr>
            <p:cNvPr id="117" name="LineLegend1"/>
            <p:cNvSpPr>
              <a:spLocks noChangeShapeType="1"/>
            </p:cNvSpPr>
            <p:nvPr/>
          </p:nvSpPr>
          <p:spPr bwMode="gray">
            <a:xfrm>
              <a:off x="4750" y="234"/>
              <a:ext cx="288" cy="0"/>
            </a:xfrm>
            <a:prstGeom prst="line">
              <a:avLst/>
            </a:prstGeom>
            <a:noFill/>
            <a:ln w="2857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18" name="LineLegend2"/>
            <p:cNvSpPr>
              <a:spLocks noChangeShapeType="1"/>
            </p:cNvSpPr>
            <p:nvPr/>
          </p:nvSpPr>
          <p:spPr bwMode="gray">
            <a:xfrm>
              <a:off x="4750" y="406"/>
              <a:ext cx="288" cy="0"/>
            </a:xfrm>
            <a:prstGeom prst="line">
              <a:avLst/>
            </a:prstGeom>
            <a:noFill/>
            <a:ln w="28575">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19" name="LineLegend3"/>
            <p:cNvSpPr>
              <a:spLocks noChangeShapeType="1"/>
            </p:cNvSpPr>
            <p:nvPr/>
          </p:nvSpPr>
          <p:spPr bwMode="gray">
            <a:xfrm>
              <a:off x="4750" y="578"/>
              <a:ext cx="288" cy="0"/>
            </a:xfrm>
            <a:prstGeom prst="line">
              <a:avLst/>
            </a:prstGeom>
            <a:noFill/>
            <a:ln w="28575">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20" name="Legend1"/>
            <p:cNvSpPr>
              <a:spLocks noChangeArrowheads="1"/>
            </p:cNvSpPr>
            <p:nvPr/>
          </p:nvSpPr>
          <p:spPr bwMode="gray">
            <a:xfrm>
              <a:off x="5104" y="176"/>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21" name="Legend2"/>
            <p:cNvSpPr>
              <a:spLocks noChangeArrowheads="1"/>
            </p:cNvSpPr>
            <p:nvPr/>
          </p:nvSpPr>
          <p:spPr bwMode="gray">
            <a:xfrm>
              <a:off x="5104" y="348"/>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22" name="Legend3"/>
            <p:cNvSpPr>
              <a:spLocks noChangeArrowheads="1"/>
            </p:cNvSpPr>
            <p:nvPr/>
          </p:nvSpPr>
          <p:spPr bwMode="gray">
            <a:xfrm>
              <a:off x="5104" y="520"/>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grpSp>
      <p:grpSp>
        <p:nvGrpSpPr>
          <p:cNvPr id="123" name="Sticker" hidden="1"/>
          <p:cNvGrpSpPr/>
          <p:nvPr/>
        </p:nvGrpSpPr>
        <p:grpSpPr bwMode="gray">
          <a:xfrm>
            <a:off x="11368295" y="719589"/>
            <a:ext cx="590448" cy="250146"/>
            <a:chOff x="8162090" y="283891"/>
            <a:chExt cx="578685" cy="245166"/>
          </a:xfrm>
        </p:grpSpPr>
        <p:sp>
          <p:nvSpPr>
            <p:cNvPr id="124" name="StickerRectangle"/>
            <p:cNvSpPr>
              <a:spLocks noChangeArrowheads="1"/>
            </p:cNvSpPr>
            <p:nvPr/>
          </p:nvSpPr>
          <p:spPr bwMode="gray">
            <a:xfrm>
              <a:off x="8162090" y="283891"/>
              <a:ext cx="578685" cy="2451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913526">
                <a:buClr>
                  <a:schemeClr val="tx2"/>
                </a:buClr>
              </a:pPr>
              <a:r>
                <a:rPr lang="nl-NL" sz="1224" noProof="0" dirty="0">
                  <a:solidFill>
                    <a:schemeClr val="tx1"/>
                  </a:solidFill>
                  <a:latin typeface="+mn-lt"/>
                </a:rPr>
                <a:t>STICKER</a:t>
              </a:r>
            </a:p>
          </p:txBody>
        </p:sp>
        <p:cxnSp>
          <p:nvCxnSpPr>
            <p:cNvPr id="125" name="AutoShape 32"/>
            <p:cNvCxnSpPr>
              <a:cxnSpLocks noChangeShapeType="1"/>
              <a:stCxn id="124" idx="4"/>
              <a:endCxn id="124" idx="6"/>
            </p:cNvCxnSpPr>
            <p:nvPr/>
          </p:nvCxnSpPr>
          <p:spPr bwMode="gray">
            <a:xfrm>
              <a:off x="8162090" y="529057"/>
              <a:ext cx="57868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2"/>
              <a:endCxn id="124" idx="0"/>
            </p:cNvCxnSpPr>
            <p:nvPr userDrawn="1"/>
          </p:nvCxnSpPr>
          <p:spPr bwMode="gray">
            <a:xfrm>
              <a:off x="8162090" y="283891"/>
              <a:ext cx="57868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8" name="LegendMoons" hidden="1">
            <a:extLst>
              <a:ext uri="{FF2B5EF4-FFF2-40B4-BE49-F238E27FC236}">
                <a16:creationId xmlns:a16="http://schemas.microsoft.com/office/drawing/2014/main" id="{9D74EF3F-2EAF-4D4B-8FF9-DE4300E7A04F}"/>
              </a:ext>
            </a:extLst>
          </p:cNvPr>
          <p:cNvGrpSpPr/>
          <p:nvPr userDrawn="1"/>
        </p:nvGrpSpPr>
        <p:grpSpPr bwMode="gray">
          <a:xfrm>
            <a:off x="11065636" y="721486"/>
            <a:ext cx="904556" cy="1333317"/>
            <a:chOff x="9205424" y="664256"/>
            <a:chExt cx="886536" cy="1306774"/>
          </a:xfrm>
        </p:grpSpPr>
        <p:grpSp>
          <p:nvGrpSpPr>
            <p:cNvPr id="128" name="MoonLegend1"/>
            <p:cNvGrpSpPr>
              <a:grpSpLocks noChangeAspect="1"/>
            </p:cNvGrpSpPr>
            <p:nvPr>
              <p:custDataLst>
                <p:tags r:id="rId20"/>
              </p:custDataLst>
            </p:nvPr>
          </p:nvGrpSpPr>
          <p:grpSpPr bwMode="gray">
            <a:xfrm>
              <a:off x="9205424" y="664256"/>
              <a:ext cx="209550" cy="209551"/>
              <a:chOff x="4533" y="183"/>
              <a:chExt cx="144" cy="144"/>
            </a:xfrm>
          </p:grpSpPr>
          <p:sp>
            <p:nvSpPr>
              <p:cNvPr id="146" name="Oval 38"/>
              <p:cNvSpPr>
                <a:spLocks noChangeAspect="1" noChangeArrowheads="1"/>
              </p:cNvSpPr>
              <p:nvPr>
                <p:custDataLst>
                  <p:tags r:id="rId33"/>
                </p:custDataLst>
              </p:nvPr>
            </p:nvSpPr>
            <p:spPr bwMode="gray">
              <a:xfrm>
                <a:off x="4533" y="183"/>
                <a:ext cx="144" cy="144"/>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7" name="Arc 39"/>
              <p:cNvSpPr>
                <a:spLocks noChangeAspect="1"/>
              </p:cNvSpPr>
              <p:nvPr>
                <p:custDataLst>
                  <p:tags r:id="rId34"/>
                </p:custDataLst>
              </p:nvPr>
            </p:nvSpPr>
            <p:spPr bwMode="gray">
              <a:xfrm>
                <a:off x="4533" y="183"/>
                <a:ext cx="144" cy="144"/>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29" name="MoonLegend2"/>
            <p:cNvGrpSpPr>
              <a:grpSpLocks noChangeAspect="1"/>
            </p:cNvGrpSpPr>
            <p:nvPr>
              <p:custDataLst>
                <p:tags r:id="rId21"/>
              </p:custDataLst>
            </p:nvPr>
          </p:nvGrpSpPr>
          <p:grpSpPr bwMode="gray">
            <a:xfrm>
              <a:off x="9205424" y="938562"/>
              <a:ext cx="209550" cy="209551"/>
              <a:chOff x="1694" y="2044"/>
              <a:chExt cx="160" cy="160"/>
            </a:xfrm>
          </p:grpSpPr>
          <p:sp>
            <p:nvSpPr>
              <p:cNvPr id="144" name="Oval 41"/>
              <p:cNvSpPr>
                <a:spLocks noChangeAspect="1" noChangeArrowheads="1"/>
              </p:cNvSpPr>
              <p:nvPr>
                <p:custDataLst>
                  <p:tags r:id="rId31"/>
                </p:custDataLst>
              </p:nvPr>
            </p:nvSpPr>
            <p:spPr bwMode="gray">
              <a:xfrm>
                <a:off x="1694" y="2044"/>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5" name="Arc 42"/>
              <p:cNvSpPr>
                <a:spLocks noChangeAspect="1"/>
              </p:cNvSpPr>
              <p:nvPr>
                <p:custDataLst>
                  <p:tags r:id="rId32"/>
                </p:custDataLst>
              </p:nvPr>
            </p:nvSpPr>
            <p:spPr bwMode="gray">
              <a:xfrm>
                <a:off x="1694" y="2044"/>
                <a:ext cx="160" cy="160"/>
              </a:xfrm>
              <a:prstGeom prst="arc">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30" name="MoonLegend4"/>
            <p:cNvGrpSpPr>
              <a:grpSpLocks noChangeAspect="1"/>
            </p:cNvGrpSpPr>
            <p:nvPr>
              <p:custDataLst>
                <p:tags r:id="rId22"/>
              </p:custDataLst>
            </p:nvPr>
          </p:nvGrpSpPr>
          <p:grpSpPr bwMode="gray">
            <a:xfrm>
              <a:off x="9205424" y="1487174"/>
              <a:ext cx="209550" cy="209551"/>
              <a:chOff x="4495" y="1198"/>
              <a:chExt cx="160" cy="160"/>
            </a:xfrm>
          </p:grpSpPr>
          <p:sp>
            <p:nvSpPr>
              <p:cNvPr id="142" name="Oval 47"/>
              <p:cNvSpPr>
                <a:spLocks noChangeAspect="1" noChangeArrowheads="1"/>
              </p:cNvSpPr>
              <p:nvPr>
                <p:custDataLst>
                  <p:tags r:id="rId29"/>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3" name="Arc 48"/>
              <p:cNvSpPr>
                <a:spLocks noChangeAspect="1"/>
              </p:cNvSpPr>
              <p:nvPr>
                <p:custDataLst>
                  <p:tags r:id="rId30"/>
                </p:custDataLst>
              </p:nvPr>
            </p:nvSpPr>
            <p:spPr bwMode="gray">
              <a:xfrm>
                <a:off x="4495" y="1198"/>
                <a:ext cx="160" cy="160"/>
              </a:xfrm>
              <a:prstGeom prst="arc">
                <a:avLst>
                  <a:gd name="adj1" fmla="val 16200000"/>
                  <a:gd name="adj2" fmla="val 108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31" name="MoonLegend5"/>
            <p:cNvGrpSpPr>
              <a:grpSpLocks noChangeAspect="1"/>
            </p:cNvGrpSpPr>
            <p:nvPr>
              <p:custDataLst>
                <p:tags r:id="rId23"/>
              </p:custDataLst>
            </p:nvPr>
          </p:nvGrpSpPr>
          <p:grpSpPr bwMode="gray">
            <a:xfrm>
              <a:off x="9205424" y="1761479"/>
              <a:ext cx="209550" cy="209551"/>
              <a:chOff x="4495" y="1440"/>
              <a:chExt cx="160" cy="160"/>
            </a:xfrm>
          </p:grpSpPr>
          <p:sp>
            <p:nvSpPr>
              <p:cNvPr id="140" name="Oval 50"/>
              <p:cNvSpPr>
                <a:spLocks noChangeAspect="1" noChangeArrowheads="1"/>
              </p:cNvSpPr>
              <p:nvPr>
                <p:custDataLst>
                  <p:tags r:id="rId27"/>
                </p:custDataLst>
              </p:nvPr>
            </p:nvSpPr>
            <p:spPr bwMode="gray">
              <a:xfrm>
                <a:off x="4495" y="1440"/>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1" name="Oval 51"/>
              <p:cNvSpPr>
                <a:spLocks noChangeAspect="1" noChangeArrowheads="1"/>
              </p:cNvSpPr>
              <p:nvPr>
                <p:custDataLst>
                  <p:tags r:id="rId28"/>
                </p:custDataLst>
              </p:nvPr>
            </p:nvSpPr>
            <p:spPr bwMode="gray">
              <a:xfrm>
                <a:off x="4495" y="1440"/>
                <a:ext cx="160" cy="160"/>
              </a:xfrm>
              <a:prstGeom prst="arc">
                <a:avLst>
                  <a:gd name="adj1" fmla="val 16200000"/>
                  <a:gd name="adj2" fmla="val 162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sp>
          <p:nvSpPr>
            <p:cNvPr id="132" name="Legend1"/>
            <p:cNvSpPr>
              <a:spLocks noChangeArrowheads="1"/>
            </p:cNvSpPr>
            <p:nvPr/>
          </p:nvSpPr>
          <p:spPr bwMode="gray">
            <a:xfrm>
              <a:off x="9526099" y="676699"/>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3" name="Legend2"/>
            <p:cNvSpPr>
              <a:spLocks noChangeArrowheads="1"/>
            </p:cNvSpPr>
            <p:nvPr/>
          </p:nvSpPr>
          <p:spPr bwMode="gray">
            <a:xfrm>
              <a:off x="9526099" y="951005"/>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4" name="Legend3"/>
            <p:cNvSpPr>
              <a:spLocks noChangeArrowheads="1"/>
            </p:cNvSpPr>
            <p:nvPr/>
          </p:nvSpPr>
          <p:spPr bwMode="gray">
            <a:xfrm>
              <a:off x="9526099" y="1225311"/>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5" name="Legend4"/>
            <p:cNvSpPr>
              <a:spLocks noChangeArrowheads="1"/>
            </p:cNvSpPr>
            <p:nvPr/>
          </p:nvSpPr>
          <p:spPr bwMode="gray">
            <a:xfrm>
              <a:off x="9526099" y="1499617"/>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6" name="Legend5"/>
            <p:cNvSpPr>
              <a:spLocks noChangeArrowheads="1"/>
            </p:cNvSpPr>
            <p:nvPr/>
          </p:nvSpPr>
          <p:spPr bwMode="gray">
            <a:xfrm>
              <a:off x="9526099" y="1773922"/>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grpSp>
          <p:nvGrpSpPr>
            <p:cNvPr id="137" name="MoonLegend3"/>
            <p:cNvGrpSpPr>
              <a:grpSpLocks noChangeAspect="1"/>
            </p:cNvGrpSpPr>
            <p:nvPr>
              <p:custDataLst>
                <p:tags r:id="rId24"/>
              </p:custDataLst>
            </p:nvPr>
          </p:nvGrpSpPr>
          <p:grpSpPr bwMode="gray">
            <a:xfrm>
              <a:off x="9205424" y="1212868"/>
              <a:ext cx="209550" cy="209551"/>
              <a:chOff x="4495" y="1198"/>
              <a:chExt cx="160" cy="160"/>
            </a:xfrm>
          </p:grpSpPr>
          <p:sp>
            <p:nvSpPr>
              <p:cNvPr id="138" name="Oval 47"/>
              <p:cNvSpPr>
                <a:spLocks noChangeAspect="1" noChangeArrowheads="1"/>
              </p:cNvSpPr>
              <p:nvPr>
                <p:custDataLst>
                  <p:tags r:id="rId25"/>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39" name="Arc 48"/>
              <p:cNvSpPr>
                <a:spLocks noChangeAspect="1"/>
              </p:cNvSpPr>
              <p:nvPr>
                <p:custDataLst>
                  <p:tags r:id="rId26"/>
                </p:custDataLst>
              </p:nvPr>
            </p:nvSpPr>
            <p:spPr bwMode="gray">
              <a:xfrm>
                <a:off x="4495" y="1198"/>
                <a:ext cx="160" cy="160"/>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grpSp>
        <p:nvGrpSpPr>
          <p:cNvPr id="148" name="Moon" hidden="1"/>
          <p:cNvGrpSpPr/>
          <p:nvPr>
            <p:custDataLst>
              <p:tags r:id="rId17"/>
            </p:custDataLst>
          </p:nvPr>
        </p:nvGrpSpPr>
        <p:grpSpPr bwMode="gray">
          <a:xfrm>
            <a:off x="11699579" y="2698440"/>
            <a:ext cx="259163" cy="259159"/>
            <a:chOff x="762000" y="1270000"/>
            <a:chExt cx="254000" cy="254000"/>
          </a:xfrm>
        </p:grpSpPr>
        <p:sp>
          <p:nvSpPr>
            <p:cNvPr id="149" name="Oval 148"/>
            <p:cNvSpPr/>
            <p:nvPr/>
          </p:nvSpPr>
          <p:spPr bwMode="gray">
            <a:xfrm>
              <a:off x="762000" y="1270000"/>
              <a:ext cx="254000" cy="254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37" dirty="0">
                <a:solidFill>
                  <a:schemeClr val="tx1"/>
                </a:solidFill>
              </a:endParaRPr>
            </a:p>
          </p:txBody>
        </p:sp>
        <p:sp>
          <p:nvSpPr>
            <p:cNvPr id="150" name="Arc 149"/>
            <p:cNvSpPr/>
            <p:nvPr/>
          </p:nvSpPr>
          <p:spPr bwMode="gray">
            <a:xfrm>
              <a:off x="762000" y="1270000"/>
              <a:ext cx="254000" cy="254000"/>
            </a:xfrm>
            <a:prstGeom prst="arc">
              <a:avLst/>
            </a:prstGeom>
            <a:solidFill>
              <a:schemeClr val="accent4"/>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837" dirty="0"/>
            </a:p>
          </p:txBody>
        </p:sp>
      </p:grpSp>
      <p:sp>
        <p:nvSpPr>
          <p:cNvPr id="72" name="SingleChevron" hidden="1">
            <a:extLst>
              <a:ext uri="{FF2B5EF4-FFF2-40B4-BE49-F238E27FC236}">
                <a16:creationId xmlns:a16="http://schemas.microsoft.com/office/drawing/2014/main" id="{F76CFF7D-6557-4985-9AC8-0BA5374E926A}"/>
              </a:ext>
            </a:extLst>
          </p:cNvPr>
          <p:cNvSpPr>
            <a:spLocks noChangeAspect="1"/>
          </p:cNvSpPr>
          <p:nvPr/>
        </p:nvSpPr>
        <p:spPr bwMode="gray">
          <a:xfrm>
            <a:off x="5558038" y="4431545"/>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nvGrpSpPr>
          <p:cNvPr id="73" name="DoubleChevron2" hidden="1">
            <a:extLst>
              <a:ext uri="{FF2B5EF4-FFF2-40B4-BE49-F238E27FC236}">
                <a16:creationId xmlns:a16="http://schemas.microsoft.com/office/drawing/2014/main" id="{03430B6D-F4A8-4F59-B66C-8C207F43DAF7}"/>
              </a:ext>
            </a:extLst>
          </p:cNvPr>
          <p:cNvGrpSpPr>
            <a:grpSpLocks noChangeAspect="1"/>
          </p:cNvGrpSpPr>
          <p:nvPr/>
        </p:nvGrpSpPr>
        <p:grpSpPr bwMode="gray">
          <a:xfrm>
            <a:off x="6852326" y="4431545"/>
            <a:ext cx="1268194" cy="1554955"/>
            <a:chOff x="1270000" y="1270000"/>
            <a:chExt cx="2951957" cy="3619500"/>
          </a:xfrm>
          <a:solidFill>
            <a:schemeClr val="accent1"/>
          </a:solidFill>
        </p:grpSpPr>
        <p:sp>
          <p:nvSpPr>
            <p:cNvPr id="78" name="Chevron1">
              <a:extLst>
                <a:ext uri="{FF2B5EF4-FFF2-40B4-BE49-F238E27FC236}">
                  <a16:creationId xmlns:a16="http://schemas.microsoft.com/office/drawing/2014/main" id="{BEF86B13-F0F9-44E8-BC82-D3B1F01A2E04}"/>
                </a:ext>
              </a:extLst>
            </p:cNvPr>
            <p:cNvSpPr>
              <a:spLocks noChangeAspect="1"/>
            </p:cNvSpPr>
            <p:nvPr userDrawn="1"/>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sp>
          <p:nvSpPr>
            <p:cNvPr id="79" name="Chevron2">
              <a:extLst>
                <a:ext uri="{FF2B5EF4-FFF2-40B4-BE49-F238E27FC236}">
                  <a16:creationId xmlns:a16="http://schemas.microsoft.com/office/drawing/2014/main" id="{8DE836DF-98B4-4DEB-AD7B-399DB9FCD487}"/>
                </a:ext>
              </a:extLst>
            </p:cNvPr>
            <p:cNvSpPr>
              <a:spLocks noChangeAspect="1"/>
            </p:cNvSpPr>
            <p:nvPr userDrawn="1"/>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grpSp>
        <p:nvGrpSpPr>
          <p:cNvPr id="74" name="DoubleChevron" hidden="1">
            <a:extLst>
              <a:ext uri="{FF2B5EF4-FFF2-40B4-BE49-F238E27FC236}">
                <a16:creationId xmlns:a16="http://schemas.microsoft.com/office/drawing/2014/main" id="{DD1F7A8A-45A7-4E8C-8541-B4A77C4549C2}"/>
              </a:ext>
            </a:extLst>
          </p:cNvPr>
          <p:cNvGrpSpPr>
            <a:grpSpLocks noChangeAspect="1"/>
          </p:cNvGrpSpPr>
          <p:nvPr/>
        </p:nvGrpSpPr>
        <p:grpSpPr bwMode="gray">
          <a:xfrm>
            <a:off x="6027861" y="4431545"/>
            <a:ext cx="1034947" cy="1554955"/>
            <a:chOff x="1270000" y="1270000"/>
            <a:chExt cx="2409032" cy="3619500"/>
          </a:xfrm>
          <a:solidFill>
            <a:schemeClr val="accent1"/>
          </a:solidFill>
        </p:grpSpPr>
        <p:sp>
          <p:nvSpPr>
            <p:cNvPr id="75" name="Chevron1">
              <a:extLst>
                <a:ext uri="{FF2B5EF4-FFF2-40B4-BE49-F238E27FC236}">
                  <a16:creationId xmlns:a16="http://schemas.microsoft.com/office/drawing/2014/main" id="{FE91783C-386A-49DF-98E2-044BFF2D9715}"/>
                </a:ext>
              </a:extLst>
            </p:cNvPr>
            <p:cNvSpPr>
              <a:spLocks noChangeAspect="1"/>
            </p:cNvSpPr>
            <p:nvPr userDrawn="1"/>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sp>
          <p:nvSpPr>
            <p:cNvPr id="76" name="Chevron2">
              <a:extLst>
                <a:ext uri="{FF2B5EF4-FFF2-40B4-BE49-F238E27FC236}">
                  <a16:creationId xmlns:a16="http://schemas.microsoft.com/office/drawing/2014/main" id="{23EED61E-5E5B-4DC3-AA5C-EF1657A66CE6}"/>
                </a:ext>
              </a:extLst>
            </p:cNvPr>
            <p:cNvSpPr>
              <a:spLocks noChangeAspect="1"/>
            </p:cNvSpPr>
            <p:nvPr userDrawn="1"/>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sp>
        <p:nvSpPr>
          <p:cNvPr id="80" name="TitleTrackerAlpha" hidden="1">
            <a:extLst>
              <a:ext uri="{FF2B5EF4-FFF2-40B4-BE49-F238E27FC236}">
                <a16:creationId xmlns:a16="http://schemas.microsoft.com/office/drawing/2014/main" id="{DBBF5B7D-AEA7-4B32-86DF-D97974B2332B}"/>
              </a:ext>
            </a:extLst>
          </p:cNvPr>
          <p:cNvSpPr/>
          <p:nvPr>
            <p:custDataLst>
              <p:tags r:id="rId18"/>
            </p:custDataLst>
          </p:nvPr>
        </p:nvSpPr>
        <p:spPr bwMode="gray">
          <a:xfrm>
            <a:off x="839040" y="225253"/>
            <a:ext cx="492410" cy="492402"/>
          </a:xfrm>
          <a:prstGeom prst="ellipse">
            <a:avLst/>
          </a:prstGeom>
          <a:solidFill>
            <a:schemeClr val="bg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nl-NL" sz="2449" b="1" dirty="0">
                <a:solidFill>
                  <a:schemeClr val="tx2"/>
                </a:solidFill>
                <a:latin typeface="+mj-lt"/>
              </a:rPr>
              <a:t>A</a:t>
            </a:r>
          </a:p>
        </p:txBody>
      </p:sp>
      <p:sp>
        <p:nvSpPr>
          <p:cNvPr id="81" name="TitleTrackerNum" hidden="1">
            <a:extLst>
              <a:ext uri="{FF2B5EF4-FFF2-40B4-BE49-F238E27FC236}">
                <a16:creationId xmlns:a16="http://schemas.microsoft.com/office/drawing/2014/main" id="{794CED1F-6725-4459-8907-48C740430B0C}"/>
              </a:ext>
            </a:extLst>
          </p:cNvPr>
          <p:cNvSpPr/>
          <p:nvPr>
            <p:custDataLst>
              <p:tags r:id="rId19"/>
            </p:custDataLst>
          </p:nvPr>
        </p:nvSpPr>
        <p:spPr bwMode="gray">
          <a:xfrm>
            <a:off x="839040" y="225253"/>
            <a:ext cx="492410" cy="492402"/>
          </a:xfrm>
          <a:prstGeom prst="ellipse">
            <a:avLst/>
          </a:prstGeom>
          <a:solidFill>
            <a:schemeClr val="bg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nl-NL" sz="2449" b="1" dirty="0">
                <a:solidFill>
                  <a:schemeClr val="tx2"/>
                </a:solidFill>
                <a:latin typeface="+mj-lt"/>
              </a:rPr>
              <a:t>1</a:t>
            </a:r>
          </a:p>
        </p:txBody>
      </p:sp>
      <p:grpSp>
        <p:nvGrpSpPr>
          <p:cNvPr id="155" name="Group 154">
            <a:extLst>
              <a:ext uri="{FF2B5EF4-FFF2-40B4-BE49-F238E27FC236}">
                <a16:creationId xmlns:a16="http://schemas.microsoft.com/office/drawing/2014/main" id="{D5277C95-E1E2-4256-90CF-0E3D9E82775F}"/>
              </a:ext>
            </a:extLst>
          </p:cNvPr>
          <p:cNvGrpSpPr/>
          <p:nvPr userDrawn="1"/>
        </p:nvGrpSpPr>
        <p:grpSpPr bwMode="ltGray">
          <a:xfrm>
            <a:off x="233258" y="106904"/>
            <a:ext cx="426000" cy="1448052"/>
            <a:chOff x="177800" y="104775"/>
            <a:chExt cx="417513" cy="1419225"/>
          </a:xfrm>
          <a:solidFill>
            <a:schemeClr val="tx2"/>
          </a:solidFill>
        </p:grpSpPr>
        <p:sp>
          <p:nvSpPr>
            <p:cNvPr id="156" name="Freeform 42">
              <a:extLst>
                <a:ext uri="{FF2B5EF4-FFF2-40B4-BE49-F238E27FC236}">
                  <a16:creationId xmlns:a16="http://schemas.microsoft.com/office/drawing/2014/main" id="{2632F7AF-F5FB-4620-AF44-CD765C50CB67}"/>
                </a:ext>
              </a:extLst>
            </p:cNvPr>
            <p:cNvSpPr>
              <a:spLocks/>
            </p:cNvSpPr>
            <p:nvPr userDrawn="1"/>
          </p:nvSpPr>
          <p:spPr bwMode="ltGray">
            <a:xfrm>
              <a:off x="177800" y="1108075"/>
              <a:ext cx="417513" cy="415925"/>
            </a:xfrm>
            <a:custGeom>
              <a:avLst/>
              <a:gdLst>
                <a:gd name="T0" fmla="*/ 0 w 263"/>
                <a:gd name="T1" fmla="*/ 209 h 262"/>
                <a:gd name="T2" fmla="*/ 80 w 263"/>
                <a:gd name="T3" fmla="*/ 131 h 262"/>
                <a:gd name="T4" fmla="*/ 0 w 263"/>
                <a:gd name="T5" fmla="*/ 52 h 262"/>
                <a:gd name="T6" fmla="*/ 53 w 263"/>
                <a:gd name="T7" fmla="*/ 0 h 262"/>
                <a:gd name="T8" fmla="*/ 132 w 263"/>
                <a:gd name="T9" fmla="*/ 78 h 262"/>
                <a:gd name="T10" fmla="*/ 210 w 263"/>
                <a:gd name="T11" fmla="*/ 0 h 262"/>
                <a:gd name="T12" fmla="*/ 263 w 263"/>
                <a:gd name="T13" fmla="*/ 52 h 262"/>
                <a:gd name="T14" fmla="*/ 185 w 263"/>
                <a:gd name="T15" fmla="*/ 131 h 262"/>
                <a:gd name="T16" fmla="*/ 263 w 263"/>
                <a:gd name="T17" fmla="*/ 209 h 262"/>
                <a:gd name="T18" fmla="*/ 210 w 263"/>
                <a:gd name="T19" fmla="*/ 262 h 262"/>
                <a:gd name="T20" fmla="*/ 132 w 263"/>
                <a:gd name="T21" fmla="*/ 183 h 262"/>
                <a:gd name="T22" fmla="*/ 53 w 263"/>
                <a:gd name="T23" fmla="*/ 262 h 262"/>
                <a:gd name="T24" fmla="*/ 0 w 263"/>
                <a:gd name="T25" fmla="*/ 20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2">
                  <a:moveTo>
                    <a:pt x="0" y="209"/>
                  </a:moveTo>
                  <a:lnTo>
                    <a:pt x="80" y="131"/>
                  </a:lnTo>
                  <a:lnTo>
                    <a:pt x="0" y="52"/>
                  </a:lnTo>
                  <a:lnTo>
                    <a:pt x="53" y="0"/>
                  </a:lnTo>
                  <a:lnTo>
                    <a:pt x="132" y="78"/>
                  </a:lnTo>
                  <a:lnTo>
                    <a:pt x="210" y="0"/>
                  </a:lnTo>
                  <a:lnTo>
                    <a:pt x="263" y="52"/>
                  </a:lnTo>
                  <a:lnTo>
                    <a:pt x="185" y="131"/>
                  </a:lnTo>
                  <a:lnTo>
                    <a:pt x="263" y="209"/>
                  </a:lnTo>
                  <a:lnTo>
                    <a:pt x="210" y="262"/>
                  </a:lnTo>
                  <a:lnTo>
                    <a:pt x="132" y="183"/>
                  </a:lnTo>
                  <a:lnTo>
                    <a:pt x="53" y="262"/>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157" name="Freeform 43">
              <a:extLst>
                <a:ext uri="{FF2B5EF4-FFF2-40B4-BE49-F238E27FC236}">
                  <a16:creationId xmlns:a16="http://schemas.microsoft.com/office/drawing/2014/main" id="{EAEBA356-DF50-406B-A0F8-71773E1B6C83}"/>
                </a:ext>
              </a:extLst>
            </p:cNvPr>
            <p:cNvSpPr>
              <a:spLocks/>
            </p:cNvSpPr>
            <p:nvPr userDrawn="1"/>
          </p:nvSpPr>
          <p:spPr bwMode="ltGray">
            <a:xfrm>
              <a:off x="177800" y="104775"/>
              <a:ext cx="417513" cy="417513"/>
            </a:xfrm>
            <a:custGeom>
              <a:avLst/>
              <a:gdLst>
                <a:gd name="T0" fmla="*/ 0 w 263"/>
                <a:gd name="T1" fmla="*/ 211 h 263"/>
                <a:gd name="T2" fmla="*/ 80 w 263"/>
                <a:gd name="T3" fmla="*/ 132 h 263"/>
                <a:gd name="T4" fmla="*/ 0 w 263"/>
                <a:gd name="T5" fmla="*/ 53 h 263"/>
                <a:gd name="T6" fmla="*/ 53 w 263"/>
                <a:gd name="T7" fmla="*/ 0 h 263"/>
                <a:gd name="T8" fmla="*/ 132 w 263"/>
                <a:gd name="T9" fmla="*/ 80 h 263"/>
                <a:gd name="T10" fmla="*/ 210 w 263"/>
                <a:gd name="T11" fmla="*/ 0 h 263"/>
                <a:gd name="T12" fmla="*/ 263 w 263"/>
                <a:gd name="T13" fmla="*/ 53 h 263"/>
                <a:gd name="T14" fmla="*/ 185 w 263"/>
                <a:gd name="T15" fmla="*/ 132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2"/>
                  </a:lnTo>
                  <a:lnTo>
                    <a:pt x="0" y="53"/>
                  </a:lnTo>
                  <a:lnTo>
                    <a:pt x="53" y="0"/>
                  </a:lnTo>
                  <a:lnTo>
                    <a:pt x="132" y="80"/>
                  </a:lnTo>
                  <a:lnTo>
                    <a:pt x="210" y="0"/>
                  </a:lnTo>
                  <a:lnTo>
                    <a:pt x="263" y="53"/>
                  </a:lnTo>
                  <a:lnTo>
                    <a:pt x="185" y="132"/>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158" name="Freeform 44">
              <a:extLst>
                <a:ext uri="{FF2B5EF4-FFF2-40B4-BE49-F238E27FC236}">
                  <a16:creationId xmlns:a16="http://schemas.microsoft.com/office/drawing/2014/main" id="{4BC8CEA6-C57E-4F7B-A57F-2A3E140774AF}"/>
                </a:ext>
              </a:extLst>
            </p:cNvPr>
            <p:cNvSpPr>
              <a:spLocks/>
            </p:cNvSpPr>
            <p:nvPr userDrawn="1"/>
          </p:nvSpPr>
          <p:spPr bwMode="ltGray">
            <a:xfrm>
              <a:off x="177800" y="606425"/>
              <a:ext cx="417513" cy="417513"/>
            </a:xfrm>
            <a:custGeom>
              <a:avLst/>
              <a:gdLst>
                <a:gd name="T0" fmla="*/ 0 w 263"/>
                <a:gd name="T1" fmla="*/ 211 h 263"/>
                <a:gd name="T2" fmla="*/ 80 w 263"/>
                <a:gd name="T3" fmla="*/ 131 h 263"/>
                <a:gd name="T4" fmla="*/ 0 w 263"/>
                <a:gd name="T5" fmla="*/ 53 h 263"/>
                <a:gd name="T6" fmla="*/ 53 w 263"/>
                <a:gd name="T7" fmla="*/ 0 h 263"/>
                <a:gd name="T8" fmla="*/ 132 w 263"/>
                <a:gd name="T9" fmla="*/ 79 h 263"/>
                <a:gd name="T10" fmla="*/ 210 w 263"/>
                <a:gd name="T11" fmla="*/ 0 h 263"/>
                <a:gd name="T12" fmla="*/ 263 w 263"/>
                <a:gd name="T13" fmla="*/ 53 h 263"/>
                <a:gd name="T14" fmla="*/ 185 w 263"/>
                <a:gd name="T15" fmla="*/ 131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1"/>
                  </a:lnTo>
                  <a:lnTo>
                    <a:pt x="0" y="53"/>
                  </a:lnTo>
                  <a:lnTo>
                    <a:pt x="53" y="0"/>
                  </a:lnTo>
                  <a:lnTo>
                    <a:pt x="132" y="79"/>
                  </a:lnTo>
                  <a:lnTo>
                    <a:pt x="210" y="0"/>
                  </a:lnTo>
                  <a:lnTo>
                    <a:pt x="263" y="53"/>
                  </a:lnTo>
                  <a:lnTo>
                    <a:pt x="185" y="131"/>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grpSp>
      <p:pic>
        <p:nvPicPr>
          <p:cNvPr id="85" name="Picture 84">
            <a:extLst>
              <a:ext uri="{FF2B5EF4-FFF2-40B4-BE49-F238E27FC236}">
                <a16:creationId xmlns:a16="http://schemas.microsoft.com/office/drawing/2014/main" id="{26EF00A0-5632-4E05-86CC-1BCC461D3DFE}"/>
              </a:ext>
            </a:extLst>
          </p:cNvPr>
          <p:cNvPicPr>
            <a:picLocks noChangeAspect="1"/>
          </p:cNvPicPr>
          <p:nvPr userDrawn="1"/>
        </p:nvPicPr>
        <p:blipFill>
          <a:blip r:embed="rId43"/>
          <a:stretch>
            <a:fillRect/>
          </a:stretch>
        </p:blipFill>
        <p:spPr>
          <a:xfrm>
            <a:off x="10441494" y="5761433"/>
            <a:ext cx="1718920" cy="966877"/>
          </a:xfrm>
          <a:prstGeom prst="rect">
            <a:avLst/>
          </a:prstGeom>
        </p:spPr>
      </p:pic>
    </p:spTree>
    <p:extLst>
      <p:ext uri="{BB962C8B-B14F-4D97-AF65-F5344CB8AC3E}">
        <p14:creationId xmlns:p14="http://schemas.microsoft.com/office/powerpoint/2010/main" val="931429780"/>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4000" r:id="rId5"/>
  </p:sldLayoutIdLst>
  <p:hf hdr="0" dt="0"/>
  <p:txStyles>
    <p:titleStyle>
      <a:lvl1pPr algn="l" defTabSz="913526" rtl="0" eaLnBrk="1" fontAlgn="base" hangingPunct="1">
        <a:spcBef>
          <a:spcPct val="0"/>
        </a:spcBef>
        <a:spcAft>
          <a:spcPct val="0"/>
        </a:spcAft>
        <a:tabLst>
          <a:tab pos="549088" algn="l"/>
        </a:tabLst>
        <a:defRPr sz="244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83654" indent="-183654" algn="l" defTabSz="913526" rtl="0" eaLnBrk="1" fontAlgn="base" hangingPunct="1">
        <a:spcBef>
          <a:spcPct val="0"/>
        </a:spcBef>
        <a:spcAft>
          <a:spcPct val="0"/>
        </a:spcAft>
        <a:buClr>
          <a:schemeClr val="tx2"/>
        </a:buClr>
        <a:buSzPct val="125000"/>
        <a:buFont typeface="Arial" pitchFamily="34" charset="0"/>
        <a:buChar char="•"/>
        <a:defRPr sz="1632" baseline="0">
          <a:solidFill>
            <a:schemeClr val="tx1"/>
          </a:solidFill>
          <a:latin typeface="+mn-lt"/>
        </a:defRPr>
      </a:lvl2pPr>
      <a:lvl3pPr marL="367308" indent="-183654"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550962" indent="-183654" algn="l" defTabSz="913526" rtl="0" eaLnBrk="1" fontAlgn="base" hangingPunct="1">
        <a:spcBef>
          <a:spcPct val="0"/>
        </a:spcBef>
        <a:spcAft>
          <a:spcPct val="0"/>
        </a:spcAft>
        <a:buClr>
          <a:schemeClr val="tx2"/>
        </a:buClr>
        <a:buSzPct val="120000"/>
        <a:buFont typeface="Arial" pitchFamily="34" charset="0"/>
        <a:buChar char="◦"/>
        <a:defRPr sz="1632" baseline="0">
          <a:solidFill>
            <a:schemeClr val="tx1"/>
          </a:solidFill>
          <a:latin typeface="+mn-lt"/>
        </a:defRPr>
      </a:lvl4pPr>
      <a:lvl5pPr marL="734616" indent="-183654"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3441344776"/>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9" imgW="270" imgH="270" progId="TCLayout.ActiveDocument.1">
                  <p:embed/>
                </p:oleObj>
              </mc:Choice>
              <mc:Fallback>
                <p:oleObj name="think-cell Slide" r:id="rId39" imgW="270" imgH="270" progId="TCLayout.ActiveDocument.1">
                  <p:embed/>
                  <p:pic>
                    <p:nvPicPr>
                      <p:cNvPr id="2" name="Object 1" hidden="1"/>
                      <p:cNvPicPr/>
                      <p:nvPr/>
                    </p:nvPicPr>
                    <p:blipFill>
                      <a:blip r:embed="rId40"/>
                      <a:stretch>
                        <a:fillRect/>
                      </a:stretch>
                    </p:blipFill>
                    <p:spPr>
                      <a:xfrm>
                        <a:off x="0" y="0"/>
                        <a:ext cx="215979" cy="16197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13A703-F189-4854-97A2-C10D7EE5C491}"/>
              </a:ext>
            </a:extLst>
          </p:cNvPr>
          <p:cNvSpPr/>
          <p:nvPr userDrawn="1">
            <p:custDataLst>
              <p:tags r:id="rId6"/>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1036" name="Rectangle 286"/>
          <p:cNvSpPr>
            <a:spLocks noGrp="1" noChangeArrowheads="1"/>
          </p:cNvSpPr>
          <p:nvPr>
            <p:ph type="body" idx="1"/>
          </p:nvPr>
        </p:nvSpPr>
        <p:spPr bwMode="gray">
          <a:xfrm>
            <a:off x="839041" y="2698440"/>
            <a:ext cx="1111970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noProof="0" dirty="0"/>
              <a:t>Edit Master text styles</a:t>
            </a:r>
          </a:p>
          <a:p>
            <a:pPr lvl="1"/>
            <a:r>
              <a:rPr lang="nl-NL" noProof="0" dirty="0"/>
              <a:t>Second level</a:t>
            </a:r>
          </a:p>
          <a:p>
            <a:pPr lvl="2"/>
            <a:r>
              <a:rPr lang="nl-NL" noProof="0" dirty="0"/>
              <a:t>Third level</a:t>
            </a:r>
          </a:p>
          <a:p>
            <a:pPr lvl="3"/>
            <a:r>
              <a:rPr lang="nl-NL" noProof="0" dirty="0"/>
              <a:t>Fourth level</a:t>
            </a:r>
          </a:p>
          <a:p>
            <a:pPr lvl="4"/>
            <a:r>
              <a:rPr lang="nl-NL" noProof="0" dirty="0"/>
              <a:t>Fifth level</a:t>
            </a:r>
          </a:p>
        </p:txBody>
      </p:sp>
      <p:sp>
        <p:nvSpPr>
          <p:cNvPr id="19" name="Title Placeholder 2"/>
          <p:cNvSpPr>
            <a:spLocks noGrp="1" noChangeArrowheads="1"/>
          </p:cNvSpPr>
          <p:nvPr>
            <p:ph type="title"/>
          </p:nvPr>
        </p:nvSpPr>
        <p:spPr bwMode="gray">
          <a:xfrm>
            <a:off x="839041" y="283037"/>
            <a:ext cx="1111970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dirty="0"/>
              <a:t>Click to edit Master title style</a:t>
            </a:r>
          </a:p>
        </p:txBody>
      </p:sp>
      <p:sp>
        <p:nvSpPr>
          <p:cNvPr id="13" name="4. Footnote" hidden="1"/>
          <p:cNvSpPr txBox="1">
            <a:spLocks noChangeArrowheads="1"/>
          </p:cNvSpPr>
          <p:nvPr/>
        </p:nvSpPr>
        <p:spPr bwMode="gray">
          <a:xfrm>
            <a:off x="233259" y="6193144"/>
            <a:ext cx="117254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846" indent="-85846">
              <a:defRPr/>
            </a:pPr>
            <a:r>
              <a:rPr lang="nl-NL" sz="1020" baseline="0" noProof="0" dirty="0">
                <a:latin typeface="+mn-lt"/>
              </a:rPr>
              <a:t>1 Voetnoot </a:t>
            </a:r>
          </a:p>
        </p:txBody>
      </p:sp>
      <p:sp>
        <p:nvSpPr>
          <p:cNvPr id="14" name="5. Source" hidden="1"/>
          <p:cNvSpPr>
            <a:spLocks noChangeArrowheads="1"/>
          </p:cNvSpPr>
          <p:nvPr/>
        </p:nvSpPr>
        <p:spPr bwMode="gray">
          <a:xfrm>
            <a:off x="233259" y="6408862"/>
            <a:ext cx="11254650"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marL="319087" indent="-319087" defTabSz="913526">
              <a:tabLst/>
            </a:pPr>
            <a:r>
              <a:rPr lang="nl-NL" sz="1020" baseline="0" noProof="0" dirty="0">
                <a:solidFill>
                  <a:srgbClr val="000000"/>
                </a:solidFill>
                <a:latin typeface="+mn-lt"/>
              </a:rPr>
              <a:t>Bron: Bron</a:t>
            </a:r>
          </a:p>
        </p:txBody>
      </p:sp>
      <p:grpSp>
        <p:nvGrpSpPr>
          <p:cNvPr id="15" name="ACET" hidden="1"/>
          <p:cNvGrpSpPr>
            <a:grpSpLocks/>
          </p:cNvGrpSpPr>
          <p:nvPr/>
        </p:nvGrpSpPr>
        <p:grpSpPr bwMode="gray">
          <a:xfrm>
            <a:off x="233258" y="1895475"/>
            <a:ext cx="2317942" cy="531276"/>
            <a:chOff x="915" y="702"/>
            <a:chExt cx="2686" cy="328"/>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nl-NL" sz="1632" b="1" baseline="0" noProof="0" dirty="0">
                  <a:latin typeface="+mn-lt"/>
                  <a:ea typeface="+mn-ea"/>
                </a:rPr>
                <a:t>Titel</a:t>
              </a:r>
            </a:p>
            <a:p>
              <a:r>
                <a:rPr lang="nl-NL" sz="1632" baseline="0" noProof="0" dirty="0">
                  <a:solidFill>
                    <a:schemeClr val="tx1"/>
                  </a:solidFill>
                  <a:latin typeface="+mn-lt"/>
                  <a:ea typeface="+mn-ea"/>
                </a:rPr>
                <a:t>Meeteenheid</a:t>
              </a:r>
            </a:p>
          </p:txBody>
        </p:sp>
      </p:grpSp>
      <p:sp>
        <p:nvSpPr>
          <p:cNvPr id="3" name="pg number"/>
          <p:cNvSpPr>
            <a:spLocks/>
          </p:cNvSpPr>
          <p:nvPr/>
        </p:nvSpPr>
        <p:spPr bwMode="gray">
          <a:xfrm>
            <a:off x="11729760" y="6407190"/>
            <a:ext cx="228982" cy="160154"/>
          </a:xfrm>
          <a:prstGeom prst="rect">
            <a:avLst/>
          </a:prstGeom>
        </p:spPr>
        <p:txBody>
          <a:bodyPr vert="horz" wrap="none" lIns="0" tIns="0" rIns="0" bIns="0" rtlCol="0" anchor="ctr">
            <a:spAutoFit/>
          </a:bodyPr>
          <a:lstStyle/>
          <a:p>
            <a:pPr lvl="0" algn="r"/>
            <a:fld id="{42C328C1-A84F-4A39-A664-DBA00541A8C6}" type="slidenum">
              <a:rPr lang="nl-NL" sz="1020" noProof="0" smtClean="0">
                <a:latin typeface="+mn-lt"/>
              </a:rPr>
              <a:pPr lvl="0" algn="r"/>
              <a:t>‹nr.›</a:t>
            </a:fld>
            <a:endParaRPr lang="nl-NL" sz="1020" baseline="0" noProof="0" dirty="0">
              <a:solidFill>
                <a:schemeClr val="tx1"/>
              </a:solidFill>
              <a:latin typeface="+mn-lt"/>
            </a:endParaRPr>
          </a:p>
        </p:txBody>
      </p:sp>
      <p:sp>
        <p:nvSpPr>
          <p:cNvPr id="11" name="3. Unit of measure" hidden="1"/>
          <p:cNvSpPr txBox="1">
            <a:spLocks noChangeArrowheads="1"/>
          </p:cNvSpPr>
          <p:nvPr/>
        </p:nvSpPr>
        <p:spPr bwMode="gray">
          <a:xfrm>
            <a:off x="839041" y="721487"/>
            <a:ext cx="1111970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549088" algn="l"/>
              </a:tabLst>
              <a:defRPr/>
            </a:pPr>
            <a:r>
              <a:rPr lang="nl-NL" sz="1632" baseline="0" noProof="0" dirty="0">
                <a:solidFill>
                  <a:schemeClr val="tx1"/>
                </a:solidFill>
                <a:latin typeface="+mn-lt"/>
              </a:rPr>
              <a:t>Meeteenheid</a:t>
            </a:r>
          </a:p>
        </p:txBody>
      </p:sp>
      <p:sp>
        <p:nvSpPr>
          <p:cNvPr id="77" name="1. On-page tracker" hidden="1"/>
          <p:cNvSpPr>
            <a:spLocks noChangeArrowheads="1"/>
          </p:cNvSpPr>
          <p:nvPr/>
        </p:nvSpPr>
        <p:spPr bwMode="gray">
          <a:xfrm>
            <a:off x="839040" y="45940"/>
            <a:ext cx="768531"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549088" algn="l"/>
              </a:tabLst>
            </a:pPr>
            <a:r>
              <a:rPr lang="nl-NL" sz="1428" cap="all" baseline="0" dirty="0">
                <a:latin typeface="+mn-lt"/>
                <a:ea typeface="+mj-ea"/>
              </a:rPr>
              <a:t>TRACKER</a:t>
            </a:r>
          </a:p>
        </p:txBody>
      </p:sp>
      <p:sp>
        <p:nvSpPr>
          <p:cNvPr id="93" name="Oval" hidden="1"/>
          <p:cNvSpPr txBox="1">
            <a:spLocks/>
          </p:cNvSpPr>
          <p:nvPr>
            <p:custDataLst>
              <p:tags r:id="rId7"/>
            </p:custDataLst>
          </p:nvPr>
        </p:nvSpPr>
        <p:spPr bwMode="gray">
          <a:xfrm>
            <a:off x="6878923" y="1451179"/>
            <a:ext cx="1554978" cy="1554955"/>
          </a:xfrm>
          <a:prstGeom prst="ellipse">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731" tIns="36731" rIns="36731" bIns="36731"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a:r>
              <a:rPr lang="nl-NL" sz="1632" dirty="0">
                <a:latin typeface="+mn-lt"/>
              </a:rPr>
              <a:t>Text</a:t>
            </a:r>
          </a:p>
        </p:txBody>
      </p:sp>
      <p:sp>
        <p:nvSpPr>
          <p:cNvPr id="94" name="Body3" hidden="1"/>
          <p:cNvSpPr txBox="1">
            <a:spLocks/>
          </p:cNvSpPr>
          <p:nvPr>
            <p:custDataLst>
              <p:tags r:id="rId8"/>
            </p:custDataLst>
          </p:nvPr>
        </p:nvSpPr>
        <p:spPr bwMode="gray">
          <a:xfrm>
            <a:off x="3492958" y="1451179"/>
            <a:ext cx="1554978" cy="1554955"/>
          </a:xfrm>
          <a:prstGeom prst="rect">
            <a:avLst/>
          </a:prstGeom>
          <a:solidFill>
            <a:schemeClr val="accent1"/>
          </a:solidFill>
          <a:ln w="9525">
            <a:no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5" name="RoundedRectangle" hidden="1"/>
          <p:cNvSpPr txBox="1">
            <a:spLocks/>
          </p:cNvSpPr>
          <p:nvPr>
            <p:custDataLst>
              <p:tags r:id="rId9"/>
            </p:custDataLst>
          </p:nvPr>
        </p:nvSpPr>
        <p:spPr bwMode="gray">
          <a:xfrm>
            <a:off x="5185940" y="1451179"/>
            <a:ext cx="1554978" cy="1554955"/>
          </a:xfrm>
          <a:prstGeom prst="roundRect">
            <a:avLst/>
          </a:prstGeom>
          <a:solidFill>
            <a:schemeClr val="accent1"/>
          </a:solidFill>
          <a:ln w="9525">
            <a:no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6" name="Arrow" hidden="1"/>
          <p:cNvSpPr txBox="1"/>
          <p:nvPr>
            <p:custDataLst>
              <p:tags r:id="rId10"/>
            </p:custDataLst>
          </p:nvPr>
        </p:nvSpPr>
        <p:spPr bwMode="gray">
          <a:xfrm>
            <a:off x="3490717" y="4223444"/>
            <a:ext cx="1865974" cy="932973"/>
          </a:xfrm>
          <a:prstGeom prst="rightArrow">
            <a:avLst>
              <a:gd name="adj1" fmla="val 54000"/>
              <a:gd name="adj2" fmla="val 37676"/>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3462"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7" name="DirArrow" hidden="1"/>
          <p:cNvSpPr>
            <a:spLocks noChangeArrowheads="1"/>
          </p:cNvSpPr>
          <p:nvPr>
            <p:custDataLst>
              <p:tags r:id="rId11"/>
            </p:custDataLst>
          </p:nvPr>
        </p:nvSpPr>
        <p:spPr bwMode="gray">
          <a:xfrm rot="5400000">
            <a:off x="7170376" y="2852710"/>
            <a:ext cx="3153449" cy="350388"/>
          </a:xfrm>
          <a:prstGeom prst="triangle">
            <a:avLst>
              <a:gd name="adj" fmla="val 50000"/>
            </a:avLst>
          </a:prstGeom>
          <a:solidFill>
            <a:schemeClr val="accent1"/>
          </a:solidFill>
          <a:ln w="9525">
            <a:noFill/>
            <a:miter lim="800000"/>
            <a:headEnd/>
            <a:tailEnd/>
          </a:ln>
          <a:effectLst/>
        </p:spPr>
        <p:txBody>
          <a:bodyPr wrap="none" anchor="ctr"/>
          <a:lstStyle/>
          <a:p>
            <a:endParaRPr lang="nl-NL" sz="1632" dirty="0">
              <a:latin typeface="+mn-lt"/>
            </a:endParaRPr>
          </a:p>
        </p:txBody>
      </p:sp>
      <p:sp>
        <p:nvSpPr>
          <p:cNvPr id="98" name="Bracket" hidden="1"/>
          <p:cNvSpPr>
            <a:spLocks noChangeAspect="1"/>
          </p:cNvSpPr>
          <p:nvPr>
            <p:custDataLst>
              <p:tags r:id="rId12"/>
            </p:custDataLst>
          </p:nvPr>
        </p:nvSpPr>
        <p:spPr bwMode="gray">
          <a:xfrm>
            <a:off x="8179251" y="3148303"/>
            <a:ext cx="193510" cy="1865946"/>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2524"/>
              <a:gd name="connsiteY0" fmla="*/ 0 h 3096"/>
              <a:gd name="connsiteX1" fmla="*/ 2474 w 2524"/>
              <a:gd name="connsiteY1" fmla="*/ 1944 h 3096"/>
              <a:gd name="connsiteX2" fmla="*/ 2474 w 2524"/>
              <a:gd name="connsiteY2" fmla="*/ 2472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524"/>
              <a:gd name="connsiteY0" fmla="*/ 0 h 3096"/>
              <a:gd name="connsiteX1" fmla="*/ 38 w 2524"/>
              <a:gd name="connsiteY1" fmla="*/ 0 h 3096"/>
              <a:gd name="connsiteX2" fmla="*/ 2474 w 2524"/>
              <a:gd name="connsiteY2" fmla="*/ 2472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524"/>
              <a:gd name="connsiteY0" fmla="*/ 0 h 3096"/>
              <a:gd name="connsiteX1" fmla="*/ 38 w 2524"/>
              <a:gd name="connsiteY1" fmla="*/ 0 h 3096"/>
              <a:gd name="connsiteX2" fmla="*/ 38 w 2524"/>
              <a:gd name="connsiteY2" fmla="*/ 536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474"/>
              <a:gd name="connsiteY0" fmla="*/ 0 h 3096"/>
              <a:gd name="connsiteX1" fmla="*/ 38 w 2474"/>
              <a:gd name="connsiteY1" fmla="*/ 0 h 3096"/>
              <a:gd name="connsiteX2" fmla="*/ 38 w 2474"/>
              <a:gd name="connsiteY2" fmla="*/ 536 h 3096"/>
              <a:gd name="connsiteX3" fmla="*/ 57 w 2474"/>
              <a:gd name="connsiteY3" fmla="*/ 576 h 3096"/>
              <a:gd name="connsiteX4" fmla="*/ 2474 w 2474"/>
              <a:gd name="connsiteY4" fmla="*/ 2568 h 3096"/>
              <a:gd name="connsiteX5" fmla="*/ 2474 w 2474"/>
              <a:gd name="connsiteY5" fmla="*/ 3096 h 3096"/>
              <a:gd name="connsiteX6" fmla="*/ 2409 w 2474"/>
              <a:gd name="connsiteY6" fmla="*/ 3096 h 3096"/>
              <a:gd name="connsiteX0" fmla="*/ 0 w 2474"/>
              <a:gd name="connsiteY0" fmla="*/ 0 h 3096"/>
              <a:gd name="connsiteX1" fmla="*/ 38 w 2474"/>
              <a:gd name="connsiteY1" fmla="*/ 0 h 3096"/>
              <a:gd name="connsiteX2" fmla="*/ 38 w 2474"/>
              <a:gd name="connsiteY2" fmla="*/ 536 h 3096"/>
              <a:gd name="connsiteX3" fmla="*/ 57 w 2474"/>
              <a:gd name="connsiteY3" fmla="*/ 576 h 3096"/>
              <a:gd name="connsiteX4" fmla="*/ 38 w 2474"/>
              <a:gd name="connsiteY4" fmla="*/ 616 h 3096"/>
              <a:gd name="connsiteX5" fmla="*/ 2474 w 2474"/>
              <a:gd name="connsiteY5" fmla="*/ 3096 h 3096"/>
              <a:gd name="connsiteX6" fmla="*/ 2409 w 2474"/>
              <a:gd name="connsiteY6" fmla="*/ 3096 h 3096"/>
              <a:gd name="connsiteX0" fmla="*/ 0 w 2409"/>
              <a:gd name="connsiteY0" fmla="*/ 0 h 3096"/>
              <a:gd name="connsiteX1" fmla="*/ 38 w 2409"/>
              <a:gd name="connsiteY1" fmla="*/ 0 h 3096"/>
              <a:gd name="connsiteX2" fmla="*/ 38 w 2409"/>
              <a:gd name="connsiteY2" fmla="*/ 536 h 3096"/>
              <a:gd name="connsiteX3" fmla="*/ 57 w 2409"/>
              <a:gd name="connsiteY3" fmla="*/ 576 h 3096"/>
              <a:gd name="connsiteX4" fmla="*/ 38 w 2409"/>
              <a:gd name="connsiteY4" fmla="*/ 616 h 3096"/>
              <a:gd name="connsiteX5" fmla="*/ 38 w 2409"/>
              <a:gd name="connsiteY5" fmla="*/ 1152 h 3096"/>
              <a:gd name="connsiteX6" fmla="*/ 2409 w 2409"/>
              <a:gd name="connsiteY6" fmla="*/ 3096 h 3096"/>
              <a:gd name="connsiteX0" fmla="*/ 0 w 57"/>
              <a:gd name="connsiteY0" fmla="*/ 0 h 1152"/>
              <a:gd name="connsiteX1" fmla="*/ 38 w 57"/>
              <a:gd name="connsiteY1" fmla="*/ 0 h 1152"/>
              <a:gd name="connsiteX2" fmla="*/ 38 w 57"/>
              <a:gd name="connsiteY2" fmla="*/ 536 h 1152"/>
              <a:gd name="connsiteX3" fmla="*/ 57 w 57"/>
              <a:gd name="connsiteY3" fmla="*/ 576 h 1152"/>
              <a:gd name="connsiteX4" fmla="*/ 38 w 57"/>
              <a:gd name="connsiteY4" fmla="*/ 616 h 1152"/>
              <a:gd name="connsiteX5" fmla="*/ 38 w 57"/>
              <a:gd name="connsiteY5" fmla="*/ 1152 h 1152"/>
              <a:gd name="connsiteX6" fmla="*/ 0 w 57"/>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 h="1152">
                <a:moveTo>
                  <a:pt x="0" y="0"/>
                </a:moveTo>
                <a:lnTo>
                  <a:pt x="38" y="0"/>
                </a:lnTo>
                <a:lnTo>
                  <a:pt x="38" y="536"/>
                </a:lnTo>
                <a:lnTo>
                  <a:pt x="57" y="576"/>
                </a:lnTo>
                <a:lnTo>
                  <a:pt x="38" y="616"/>
                </a:lnTo>
                <a:lnTo>
                  <a:pt x="38"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632" dirty="0">
              <a:latin typeface="+mn-lt"/>
            </a:endParaRPr>
          </a:p>
        </p:txBody>
      </p:sp>
      <p:grpSp>
        <p:nvGrpSpPr>
          <p:cNvPr id="99" name="Flow" hidden="1"/>
          <p:cNvGrpSpPr/>
          <p:nvPr>
            <p:custDataLst>
              <p:tags r:id="rId13"/>
            </p:custDataLst>
          </p:nvPr>
        </p:nvGrpSpPr>
        <p:grpSpPr bwMode="gray">
          <a:xfrm>
            <a:off x="3492958" y="3148303"/>
            <a:ext cx="1865974" cy="932973"/>
            <a:chOff x="5905500" y="3124200"/>
            <a:chExt cx="1828800" cy="914400"/>
          </a:xfrm>
        </p:grpSpPr>
        <p:sp>
          <p:nvSpPr>
            <p:cNvPr id="100" name="Freeform 99"/>
            <p:cNvSpPr/>
            <p:nvPr>
              <p:custDataLst>
                <p:tags r:id="rId37"/>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1" name="TextBox 100"/>
            <p:cNvSpPr txBox="1"/>
            <p:nvPr>
              <p:custDataLst>
                <p:tags r:id="rId38"/>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grpSp>
      <p:grpSp>
        <p:nvGrpSpPr>
          <p:cNvPr id="102" name="SplitFlow" hidden="1"/>
          <p:cNvGrpSpPr/>
          <p:nvPr>
            <p:custDataLst>
              <p:tags r:id="rId14"/>
            </p:custDataLst>
          </p:nvPr>
        </p:nvGrpSpPr>
        <p:grpSpPr bwMode="gray">
          <a:xfrm>
            <a:off x="5538529" y="3148303"/>
            <a:ext cx="1865974" cy="932973"/>
            <a:chOff x="114300" y="1270000"/>
            <a:chExt cx="1828800" cy="914400"/>
          </a:xfrm>
        </p:grpSpPr>
        <p:sp>
          <p:nvSpPr>
            <p:cNvPr id="103" name="Freeform 102"/>
            <p:cNvSpPr/>
            <p:nvPr>
              <p:custDataLst>
                <p:tags r:id="rId33"/>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4" name="TextBox 103"/>
            <p:cNvSpPr txBox="1"/>
            <p:nvPr>
              <p:custDataLst>
                <p:tags r:id="rId34"/>
              </p:custDataLst>
            </p:nvPr>
          </p:nvSpPr>
          <p:spPr bwMode="gray">
            <a:xfrm>
              <a:off x="177800" y="13271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sp>
          <p:nvSpPr>
            <p:cNvPr id="105" name="Freeform 104"/>
            <p:cNvSpPr/>
            <p:nvPr>
              <p:custDataLst>
                <p:tags r:id="rId35"/>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6" name="TextBox 105"/>
            <p:cNvSpPr txBox="1"/>
            <p:nvPr>
              <p:custDataLst>
                <p:tags r:id="rId36"/>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grpSp>
      <p:grpSp>
        <p:nvGrpSpPr>
          <p:cNvPr id="107" name="LegendBoxes" hidden="1"/>
          <p:cNvGrpSpPr>
            <a:grpSpLocks/>
          </p:cNvGrpSpPr>
          <p:nvPr/>
        </p:nvGrpSpPr>
        <p:grpSpPr bwMode="gray">
          <a:xfrm>
            <a:off x="11134285" y="721486"/>
            <a:ext cx="835802" cy="1022061"/>
            <a:chOff x="4936" y="176"/>
            <a:chExt cx="516" cy="631"/>
          </a:xfrm>
        </p:grpSpPr>
        <p:sp>
          <p:nvSpPr>
            <p:cNvPr id="108" name="Legend1"/>
            <p:cNvSpPr>
              <a:spLocks noChangeArrowheads="1"/>
            </p:cNvSpPr>
            <p:nvPr/>
          </p:nvSpPr>
          <p:spPr bwMode="gray">
            <a:xfrm>
              <a:off x="5096" y="176"/>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09" name="LegendRectangle1"/>
            <p:cNvSpPr>
              <a:spLocks noChangeArrowheads="1"/>
            </p:cNvSpPr>
            <p:nvPr/>
          </p:nvSpPr>
          <p:spPr bwMode="gray">
            <a:xfrm>
              <a:off x="4936" y="182"/>
              <a:ext cx="104" cy="104"/>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0" name="Legend2"/>
            <p:cNvSpPr>
              <a:spLocks noChangeArrowheads="1"/>
            </p:cNvSpPr>
            <p:nvPr/>
          </p:nvSpPr>
          <p:spPr bwMode="gray">
            <a:xfrm>
              <a:off x="5096" y="347"/>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1" name="LegendRectangle2"/>
            <p:cNvSpPr>
              <a:spLocks noChangeArrowheads="1"/>
            </p:cNvSpPr>
            <p:nvPr/>
          </p:nvSpPr>
          <p:spPr bwMode="gray">
            <a:xfrm>
              <a:off x="4936" y="353"/>
              <a:ext cx="104" cy="104"/>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2" name="Legend3"/>
            <p:cNvSpPr>
              <a:spLocks noChangeArrowheads="1"/>
            </p:cNvSpPr>
            <p:nvPr/>
          </p:nvSpPr>
          <p:spPr bwMode="gray">
            <a:xfrm>
              <a:off x="5096" y="517"/>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3" name="LegendRectangle3"/>
            <p:cNvSpPr>
              <a:spLocks noChangeArrowheads="1"/>
            </p:cNvSpPr>
            <p:nvPr/>
          </p:nvSpPr>
          <p:spPr bwMode="gray">
            <a:xfrm>
              <a:off x="4936" y="523"/>
              <a:ext cx="104" cy="104"/>
            </a:xfrm>
            <a:prstGeom prst="rect">
              <a:avLst/>
            </a:prstGeom>
            <a:solidFill>
              <a:schemeClr val="accent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4" name="Legend4"/>
            <p:cNvSpPr>
              <a:spLocks noChangeArrowheads="1"/>
            </p:cNvSpPr>
            <p:nvPr/>
          </p:nvSpPr>
          <p:spPr bwMode="gray">
            <a:xfrm>
              <a:off x="5096" y="688"/>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5" name="LegendRectangle4"/>
            <p:cNvSpPr>
              <a:spLocks noChangeArrowheads="1"/>
            </p:cNvSpPr>
            <p:nvPr/>
          </p:nvSpPr>
          <p:spPr bwMode="gray">
            <a:xfrm>
              <a:off x="4936" y="694"/>
              <a:ext cx="104" cy="104"/>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16" name="LegendLines" hidden="1"/>
          <p:cNvGrpSpPr>
            <a:grpSpLocks/>
          </p:cNvGrpSpPr>
          <p:nvPr/>
        </p:nvGrpSpPr>
        <p:grpSpPr bwMode="gray">
          <a:xfrm>
            <a:off x="10820047" y="721486"/>
            <a:ext cx="1150037" cy="749943"/>
            <a:chOff x="4750" y="176"/>
            <a:chExt cx="710" cy="463"/>
          </a:xfrm>
        </p:grpSpPr>
        <p:sp>
          <p:nvSpPr>
            <p:cNvPr id="117" name="LineLegend1"/>
            <p:cNvSpPr>
              <a:spLocks noChangeShapeType="1"/>
            </p:cNvSpPr>
            <p:nvPr/>
          </p:nvSpPr>
          <p:spPr bwMode="gray">
            <a:xfrm>
              <a:off x="4750" y="234"/>
              <a:ext cx="288" cy="0"/>
            </a:xfrm>
            <a:prstGeom prst="line">
              <a:avLst/>
            </a:prstGeom>
            <a:noFill/>
            <a:ln w="2857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18" name="LineLegend2"/>
            <p:cNvSpPr>
              <a:spLocks noChangeShapeType="1"/>
            </p:cNvSpPr>
            <p:nvPr/>
          </p:nvSpPr>
          <p:spPr bwMode="gray">
            <a:xfrm>
              <a:off x="4750" y="406"/>
              <a:ext cx="288" cy="0"/>
            </a:xfrm>
            <a:prstGeom prst="line">
              <a:avLst/>
            </a:prstGeom>
            <a:noFill/>
            <a:ln w="28575">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19" name="LineLegend3"/>
            <p:cNvSpPr>
              <a:spLocks noChangeShapeType="1"/>
            </p:cNvSpPr>
            <p:nvPr/>
          </p:nvSpPr>
          <p:spPr bwMode="gray">
            <a:xfrm>
              <a:off x="4750" y="578"/>
              <a:ext cx="288" cy="0"/>
            </a:xfrm>
            <a:prstGeom prst="line">
              <a:avLst/>
            </a:prstGeom>
            <a:noFill/>
            <a:ln w="28575">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20" name="Legend1"/>
            <p:cNvSpPr>
              <a:spLocks noChangeArrowheads="1"/>
            </p:cNvSpPr>
            <p:nvPr/>
          </p:nvSpPr>
          <p:spPr bwMode="gray">
            <a:xfrm>
              <a:off x="5104" y="176"/>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21" name="Legend2"/>
            <p:cNvSpPr>
              <a:spLocks noChangeArrowheads="1"/>
            </p:cNvSpPr>
            <p:nvPr/>
          </p:nvSpPr>
          <p:spPr bwMode="gray">
            <a:xfrm>
              <a:off x="5104" y="348"/>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22" name="Legend3"/>
            <p:cNvSpPr>
              <a:spLocks noChangeArrowheads="1"/>
            </p:cNvSpPr>
            <p:nvPr/>
          </p:nvSpPr>
          <p:spPr bwMode="gray">
            <a:xfrm>
              <a:off x="5104" y="520"/>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grpSp>
      <p:grpSp>
        <p:nvGrpSpPr>
          <p:cNvPr id="123" name="Sticker" hidden="1"/>
          <p:cNvGrpSpPr/>
          <p:nvPr/>
        </p:nvGrpSpPr>
        <p:grpSpPr bwMode="gray">
          <a:xfrm>
            <a:off x="11368295" y="719589"/>
            <a:ext cx="590448" cy="250146"/>
            <a:chOff x="8162090" y="283891"/>
            <a:chExt cx="578685" cy="245166"/>
          </a:xfrm>
        </p:grpSpPr>
        <p:sp>
          <p:nvSpPr>
            <p:cNvPr id="124" name="StickerRectangle"/>
            <p:cNvSpPr>
              <a:spLocks noChangeArrowheads="1"/>
            </p:cNvSpPr>
            <p:nvPr/>
          </p:nvSpPr>
          <p:spPr bwMode="gray">
            <a:xfrm>
              <a:off x="8162090" y="283891"/>
              <a:ext cx="578685" cy="2451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913526">
                <a:buClr>
                  <a:schemeClr val="tx2"/>
                </a:buClr>
              </a:pPr>
              <a:r>
                <a:rPr lang="nl-NL" sz="1224" noProof="0" dirty="0">
                  <a:solidFill>
                    <a:schemeClr val="tx1"/>
                  </a:solidFill>
                  <a:latin typeface="+mn-lt"/>
                </a:rPr>
                <a:t>STICKER</a:t>
              </a:r>
            </a:p>
          </p:txBody>
        </p:sp>
        <p:cxnSp>
          <p:nvCxnSpPr>
            <p:cNvPr id="125" name="AutoShape 32"/>
            <p:cNvCxnSpPr>
              <a:cxnSpLocks noChangeShapeType="1"/>
              <a:stCxn id="124" idx="4"/>
              <a:endCxn id="124" idx="6"/>
            </p:cNvCxnSpPr>
            <p:nvPr/>
          </p:nvCxnSpPr>
          <p:spPr bwMode="gray">
            <a:xfrm>
              <a:off x="8162090" y="529057"/>
              <a:ext cx="57868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2"/>
              <a:endCxn id="124" idx="0"/>
            </p:cNvCxnSpPr>
            <p:nvPr userDrawn="1"/>
          </p:nvCxnSpPr>
          <p:spPr bwMode="gray">
            <a:xfrm>
              <a:off x="8162090" y="283891"/>
              <a:ext cx="57868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8" name="LegendMoons" hidden="1">
            <a:extLst>
              <a:ext uri="{FF2B5EF4-FFF2-40B4-BE49-F238E27FC236}">
                <a16:creationId xmlns:a16="http://schemas.microsoft.com/office/drawing/2014/main" id="{9D74EF3F-2EAF-4D4B-8FF9-DE4300E7A04F}"/>
              </a:ext>
            </a:extLst>
          </p:cNvPr>
          <p:cNvGrpSpPr/>
          <p:nvPr userDrawn="1"/>
        </p:nvGrpSpPr>
        <p:grpSpPr bwMode="gray">
          <a:xfrm>
            <a:off x="11065636" y="721486"/>
            <a:ext cx="904556" cy="1333317"/>
            <a:chOff x="9205424" y="664256"/>
            <a:chExt cx="886536" cy="1306774"/>
          </a:xfrm>
        </p:grpSpPr>
        <p:grpSp>
          <p:nvGrpSpPr>
            <p:cNvPr id="128" name="MoonLegend1"/>
            <p:cNvGrpSpPr>
              <a:grpSpLocks noChangeAspect="1"/>
            </p:cNvGrpSpPr>
            <p:nvPr>
              <p:custDataLst>
                <p:tags r:id="rId18"/>
              </p:custDataLst>
            </p:nvPr>
          </p:nvGrpSpPr>
          <p:grpSpPr bwMode="gray">
            <a:xfrm>
              <a:off x="9205424" y="664256"/>
              <a:ext cx="209550" cy="209551"/>
              <a:chOff x="4533" y="183"/>
              <a:chExt cx="144" cy="144"/>
            </a:xfrm>
          </p:grpSpPr>
          <p:sp>
            <p:nvSpPr>
              <p:cNvPr id="146" name="Oval 38"/>
              <p:cNvSpPr>
                <a:spLocks noChangeAspect="1" noChangeArrowheads="1"/>
              </p:cNvSpPr>
              <p:nvPr>
                <p:custDataLst>
                  <p:tags r:id="rId31"/>
                </p:custDataLst>
              </p:nvPr>
            </p:nvSpPr>
            <p:spPr bwMode="gray">
              <a:xfrm>
                <a:off x="4533" y="183"/>
                <a:ext cx="144" cy="144"/>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7" name="Arc 39"/>
              <p:cNvSpPr>
                <a:spLocks noChangeAspect="1"/>
              </p:cNvSpPr>
              <p:nvPr>
                <p:custDataLst>
                  <p:tags r:id="rId32"/>
                </p:custDataLst>
              </p:nvPr>
            </p:nvSpPr>
            <p:spPr bwMode="gray">
              <a:xfrm>
                <a:off x="4533" y="183"/>
                <a:ext cx="144" cy="144"/>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29" name="MoonLegend2"/>
            <p:cNvGrpSpPr>
              <a:grpSpLocks noChangeAspect="1"/>
            </p:cNvGrpSpPr>
            <p:nvPr>
              <p:custDataLst>
                <p:tags r:id="rId19"/>
              </p:custDataLst>
            </p:nvPr>
          </p:nvGrpSpPr>
          <p:grpSpPr bwMode="gray">
            <a:xfrm>
              <a:off x="9205424" y="938562"/>
              <a:ext cx="209550" cy="209551"/>
              <a:chOff x="1694" y="2044"/>
              <a:chExt cx="160" cy="160"/>
            </a:xfrm>
          </p:grpSpPr>
          <p:sp>
            <p:nvSpPr>
              <p:cNvPr id="144" name="Oval 41"/>
              <p:cNvSpPr>
                <a:spLocks noChangeAspect="1" noChangeArrowheads="1"/>
              </p:cNvSpPr>
              <p:nvPr>
                <p:custDataLst>
                  <p:tags r:id="rId29"/>
                </p:custDataLst>
              </p:nvPr>
            </p:nvSpPr>
            <p:spPr bwMode="gray">
              <a:xfrm>
                <a:off x="1694" y="2044"/>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5" name="Arc 42"/>
              <p:cNvSpPr>
                <a:spLocks noChangeAspect="1"/>
              </p:cNvSpPr>
              <p:nvPr>
                <p:custDataLst>
                  <p:tags r:id="rId30"/>
                </p:custDataLst>
              </p:nvPr>
            </p:nvSpPr>
            <p:spPr bwMode="gray">
              <a:xfrm>
                <a:off x="1694" y="2044"/>
                <a:ext cx="160" cy="160"/>
              </a:xfrm>
              <a:prstGeom prst="arc">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30" name="MoonLegend4"/>
            <p:cNvGrpSpPr>
              <a:grpSpLocks noChangeAspect="1"/>
            </p:cNvGrpSpPr>
            <p:nvPr>
              <p:custDataLst>
                <p:tags r:id="rId20"/>
              </p:custDataLst>
            </p:nvPr>
          </p:nvGrpSpPr>
          <p:grpSpPr bwMode="gray">
            <a:xfrm>
              <a:off x="9205424" y="1487174"/>
              <a:ext cx="209550" cy="209551"/>
              <a:chOff x="4495" y="1198"/>
              <a:chExt cx="160" cy="160"/>
            </a:xfrm>
          </p:grpSpPr>
          <p:sp>
            <p:nvSpPr>
              <p:cNvPr id="142" name="Oval 47"/>
              <p:cNvSpPr>
                <a:spLocks noChangeAspect="1" noChangeArrowheads="1"/>
              </p:cNvSpPr>
              <p:nvPr>
                <p:custDataLst>
                  <p:tags r:id="rId27"/>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3" name="Arc 48"/>
              <p:cNvSpPr>
                <a:spLocks noChangeAspect="1"/>
              </p:cNvSpPr>
              <p:nvPr>
                <p:custDataLst>
                  <p:tags r:id="rId28"/>
                </p:custDataLst>
              </p:nvPr>
            </p:nvSpPr>
            <p:spPr bwMode="gray">
              <a:xfrm>
                <a:off x="4495" y="1198"/>
                <a:ext cx="160" cy="160"/>
              </a:xfrm>
              <a:prstGeom prst="arc">
                <a:avLst>
                  <a:gd name="adj1" fmla="val 16200000"/>
                  <a:gd name="adj2" fmla="val 108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31" name="MoonLegend5"/>
            <p:cNvGrpSpPr>
              <a:grpSpLocks noChangeAspect="1"/>
            </p:cNvGrpSpPr>
            <p:nvPr>
              <p:custDataLst>
                <p:tags r:id="rId21"/>
              </p:custDataLst>
            </p:nvPr>
          </p:nvGrpSpPr>
          <p:grpSpPr bwMode="gray">
            <a:xfrm>
              <a:off x="9205424" y="1761479"/>
              <a:ext cx="209550" cy="209551"/>
              <a:chOff x="4495" y="1440"/>
              <a:chExt cx="160" cy="160"/>
            </a:xfrm>
          </p:grpSpPr>
          <p:sp>
            <p:nvSpPr>
              <p:cNvPr id="140" name="Oval 50"/>
              <p:cNvSpPr>
                <a:spLocks noChangeAspect="1" noChangeArrowheads="1"/>
              </p:cNvSpPr>
              <p:nvPr>
                <p:custDataLst>
                  <p:tags r:id="rId25"/>
                </p:custDataLst>
              </p:nvPr>
            </p:nvSpPr>
            <p:spPr bwMode="gray">
              <a:xfrm>
                <a:off x="4495" y="1440"/>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1" name="Oval 51"/>
              <p:cNvSpPr>
                <a:spLocks noChangeAspect="1" noChangeArrowheads="1"/>
              </p:cNvSpPr>
              <p:nvPr>
                <p:custDataLst>
                  <p:tags r:id="rId26"/>
                </p:custDataLst>
              </p:nvPr>
            </p:nvSpPr>
            <p:spPr bwMode="gray">
              <a:xfrm>
                <a:off x="4495" y="1440"/>
                <a:ext cx="160" cy="160"/>
              </a:xfrm>
              <a:prstGeom prst="arc">
                <a:avLst>
                  <a:gd name="adj1" fmla="val 16200000"/>
                  <a:gd name="adj2" fmla="val 162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sp>
          <p:nvSpPr>
            <p:cNvPr id="132" name="Legend1"/>
            <p:cNvSpPr>
              <a:spLocks noChangeArrowheads="1"/>
            </p:cNvSpPr>
            <p:nvPr/>
          </p:nvSpPr>
          <p:spPr bwMode="gray">
            <a:xfrm>
              <a:off x="9526099" y="676699"/>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3" name="Legend2"/>
            <p:cNvSpPr>
              <a:spLocks noChangeArrowheads="1"/>
            </p:cNvSpPr>
            <p:nvPr/>
          </p:nvSpPr>
          <p:spPr bwMode="gray">
            <a:xfrm>
              <a:off x="9526099" y="951005"/>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4" name="Legend3"/>
            <p:cNvSpPr>
              <a:spLocks noChangeArrowheads="1"/>
            </p:cNvSpPr>
            <p:nvPr/>
          </p:nvSpPr>
          <p:spPr bwMode="gray">
            <a:xfrm>
              <a:off x="9526099" y="1225311"/>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5" name="Legend4"/>
            <p:cNvSpPr>
              <a:spLocks noChangeArrowheads="1"/>
            </p:cNvSpPr>
            <p:nvPr/>
          </p:nvSpPr>
          <p:spPr bwMode="gray">
            <a:xfrm>
              <a:off x="9526099" y="1499617"/>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6" name="Legend5"/>
            <p:cNvSpPr>
              <a:spLocks noChangeArrowheads="1"/>
            </p:cNvSpPr>
            <p:nvPr/>
          </p:nvSpPr>
          <p:spPr bwMode="gray">
            <a:xfrm>
              <a:off x="9526099" y="1773922"/>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grpSp>
          <p:nvGrpSpPr>
            <p:cNvPr id="137" name="MoonLegend3"/>
            <p:cNvGrpSpPr>
              <a:grpSpLocks noChangeAspect="1"/>
            </p:cNvGrpSpPr>
            <p:nvPr>
              <p:custDataLst>
                <p:tags r:id="rId22"/>
              </p:custDataLst>
            </p:nvPr>
          </p:nvGrpSpPr>
          <p:grpSpPr bwMode="gray">
            <a:xfrm>
              <a:off x="9205424" y="1212868"/>
              <a:ext cx="209550" cy="209551"/>
              <a:chOff x="4495" y="1198"/>
              <a:chExt cx="160" cy="160"/>
            </a:xfrm>
          </p:grpSpPr>
          <p:sp>
            <p:nvSpPr>
              <p:cNvPr id="138" name="Oval 47"/>
              <p:cNvSpPr>
                <a:spLocks noChangeAspect="1" noChangeArrowheads="1"/>
              </p:cNvSpPr>
              <p:nvPr>
                <p:custDataLst>
                  <p:tags r:id="rId23"/>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39" name="Arc 48"/>
              <p:cNvSpPr>
                <a:spLocks noChangeAspect="1"/>
              </p:cNvSpPr>
              <p:nvPr>
                <p:custDataLst>
                  <p:tags r:id="rId24"/>
                </p:custDataLst>
              </p:nvPr>
            </p:nvSpPr>
            <p:spPr bwMode="gray">
              <a:xfrm>
                <a:off x="4495" y="1198"/>
                <a:ext cx="160" cy="160"/>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grpSp>
        <p:nvGrpSpPr>
          <p:cNvPr id="148" name="Moon" hidden="1"/>
          <p:cNvGrpSpPr/>
          <p:nvPr>
            <p:custDataLst>
              <p:tags r:id="rId15"/>
            </p:custDataLst>
          </p:nvPr>
        </p:nvGrpSpPr>
        <p:grpSpPr bwMode="gray">
          <a:xfrm>
            <a:off x="11699579" y="2698440"/>
            <a:ext cx="259163" cy="259159"/>
            <a:chOff x="762000" y="1270000"/>
            <a:chExt cx="254000" cy="254000"/>
          </a:xfrm>
        </p:grpSpPr>
        <p:sp>
          <p:nvSpPr>
            <p:cNvPr id="149" name="Oval 148"/>
            <p:cNvSpPr/>
            <p:nvPr/>
          </p:nvSpPr>
          <p:spPr bwMode="gray">
            <a:xfrm>
              <a:off x="762000" y="1270000"/>
              <a:ext cx="254000" cy="254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37" dirty="0">
                <a:solidFill>
                  <a:schemeClr val="tx1"/>
                </a:solidFill>
              </a:endParaRPr>
            </a:p>
          </p:txBody>
        </p:sp>
        <p:sp>
          <p:nvSpPr>
            <p:cNvPr id="150" name="Arc 149"/>
            <p:cNvSpPr/>
            <p:nvPr/>
          </p:nvSpPr>
          <p:spPr bwMode="gray">
            <a:xfrm>
              <a:off x="762000" y="1270000"/>
              <a:ext cx="254000" cy="254000"/>
            </a:xfrm>
            <a:prstGeom prst="arc">
              <a:avLst/>
            </a:prstGeom>
            <a:solidFill>
              <a:schemeClr val="accent4"/>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837" dirty="0"/>
            </a:p>
          </p:txBody>
        </p:sp>
      </p:grpSp>
      <p:sp>
        <p:nvSpPr>
          <p:cNvPr id="72" name="SingleChevron" hidden="1">
            <a:extLst>
              <a:ext uri="{FF2B5EF4-FFF2-40B4-BE49-F238E27FC236}">
                <a16:creationId xmlns:a16="http://schemas.microsoft.com/office/drawing/2014/main" id="{F76CFF7D-6557-4985-9AC8-0BA5374E926A}"/>
              </a:ext>
            </a:extLst>
          </p:cNvPr>
          <p:cNvSpPr>
            <a:spLocks noChangeAspect="1"/>
          </p:cNvSpPr>
          <p:nvPr/>
        </p:nvSpPr>
        <p:spPr bwMode="gray">
          <a:xfrm>
            <a:off x="5558038" y="4431545"/>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nvGrpSpPr>
          <p:cNvPr id="73" name="DoubleChevron2" hidden="1">
            <a:extLst>
              <a:ext uri="{FF2B5EF4-FFF2-40B4-BE49-F238E27FC236}">
                <a16:creationId xmlns:a16="http://schemas.microsoft.com/office/drawing/2014/main" id="{03430B6D-F4A8-4F59-B66C-8C207F43DAF7}"/>
              </a:ext>
            </a:extLst>
          </p:cNvPr>
          <p:cNvGrpSpPr>
            <a:grpSpLocks noChangeAspect="1"/>
          </p:cNvGrpSpPr>
          <p:nvPr/>
        </p:nvGrpSpPr>
        <p:grpSpPr bwMode="gray">
          <a:xfrm>
            <a:off x="6852326" y="4431545"/>
            <a:ext cx="1268194" cy="1554955"/>
            <a:chOff x="1270000" y="1270000"/>
            <a:chExt cx="2951957" cy="3619500"/>
          </a:xfrm>
          <a:solidFill>
            <a:schemeClr val="accent1"/>
          </a:solidFill>
        </p:grpSpPr>
        <p:sp>
          <p:nvSpPr>
            <p:cNvPr id="78" name="Chevron1">
              <a:extLst>
                <a:ext uri="{FF2B5EF4-FFF2-40B4-BE49-F238E27FC236}">
                  <a16:creationId xmlns:a16="http://schemas.microsoft.com/office/drawing/2014/main" id="{BEF86B13-F0F9-44E8-BC82-D3B1F01A2E04}"/>
                </a:ext>
              </a:extLst>
            </p:cNvPr>
            <p:cNvSpPr>
              <a:spLocks noChangeAspect="1"/>
            </p:cNvSpPr>
            <p:nvPr userDrawn="1"/>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sp>
          <p:nvSpPr>
            <p:cNvPr id="79" name="Chevron2">
              <a:extLst>
                <a:ext uri="{FF2B5EF4-FFF2-40B4-BE49-F238E27FC236}">
                  <a16:creationId xmlns:a16="http://schemas.microsoft.com/office/drawing/2014/main" id="{8DE836DF-98B4-4DEB-AD7B-399DB9FCD487}"/>
                </a:ext>
              </a:extLst>
            </p:cNvPr>
            <p:cNvSpPr>
              <a:spLocks noChangeAspect="1"/>
            </p:cNvSpPr>
            <p:nvPr userDrawn="1"/>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grpSp>
        <p:nvGrpSpPr>
          <p:cNvPr id="74" name="DoubleChevron" hidden="1">
            <a:extLst>
              <a:ext uri="{FF2B5EF4-FFF2-40B4-BE49-F238E27FC236}">
                <a16:creationId xmlns:a16="http://schemas.microsoft.com/office/drawing/2014/main" id="{DD1F7A8A-45A7-4E8C-8541-B4A77C4549C2}"/>
              </a:ext>
            </a:extLst>
          </p:cNvPr>
          <p:cNvGrpSpPr>
            <a:grpSpLocks noChangeAspect="1"/>
          </p:cNvGrpSpPr>
          <p:nvPr/>
        </p:nvGrpSpPr>
        <p:grpSpPr bwMode="gray">
          <a:xfrm>
            <a:off x="6027861" y="4431545"/>
            <a:ext cx="1034947" cy="1554955"/>
            <a:chOff x="1270000" y="1270000"/>
            <a:chExt cx="2409032" cy="3619500"/>
          </a:xfrm>
          <a:solidFill>
            <a:schemeClr val="accent1"/>
          </a:solidFill>
        </p:grpSpPr>
        <p:sp>
          <p:nvSpPr>
            <p:cNvPr id="75" name="Chevron1">
              <a:extLst>
                <a:ext uri="{FF2B5EF4-FFF2-40B4-BE49-F238E27FC236}">
                  <a16:creationId xmlns:a16="http://schemas.microsoft.com/office/drawing/2014/main" id="{FE91783C-386A-49DF-98E2-044BFF2D9715}"/>
                </a:ext>
              </a:extLst>
            </p:cNvPr>
            <p:cNvSpPr>
              <a:spLocks noChangeAspect="1"/>
            </p:cNvSpPr>
            <p:nvPr userDrawn="1"/>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sp>
          <p:nvSpPr>
            <p:cNvPr id="76" name="Chevron2">
              <a:extLst>
                <a:ext uri="{FF2B5EF4-FFF2-40B4-BE49-F238E27FC236}">
                  <a16:creationId xmlns:a16="http://schemas.microsoft.com/office/drawing/2014/main" id="{23EED61E-5E5B-4DC3-AA5C-EF1657A66CE6}"/>
                </a:ext>
              </a:extLst>
            </p:cNvPr>
            <p:cNvSpPr>
              <a:spLocks noChangeAspect="1"/>
            </p:cNvSpPr>
            <p:nvPr userDrawn="1"/>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sp>
        <p:nvSpPr>
          <p:cNvPr id="80" name="TitleTrackerAlpha" hidden="1">
            <a:extLst>
              <a:ext uri="{FF2B5EF4-FFF2-40B4-BE49-F238E27FC236}">
                <a16:creationId xmlns:a16="http://schemas.microsoft.com/office/drawing/2014/main" id="{DBBF5B7D-AEA7-4B32-86DF-D97974B2332B}"/>
              </a:ext>
            </a:extLst>
          </p:cNvPr>
          <p:cNvSpPr/>
          <p:nvPr>
            <p:custDataLst>
              <p:tags r:id="rId16"/>
            </p:custDataLst>
          </p:nvPr>
        </p:nvSpPr>
        <p:spPr bwMode="gray">
          <a:xfrm>
            <a:off x="839040" y="225253"/>
            <a:ext cx="492410" cy="492402"/>
          </a:xfrm>
          <a:prstGeom prst="ellipse">
            <a:avLst/>
          </a:prstGeom>
          <a:solidFill>
            <a:schemeClr val="bg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nl-NL" sz="2449" b="1" dirty="0">
                <a:solidFill>
                  <a:schemeClr val="tx2"/>
                </a:solidFill>
                <a:latin typeface="+mj-lt"/>
              </a:rPr>
              <a:t>A</a:t>
            </a:r>
          </a:p>
        </p:txBody>
      </p:sp>
      <p:sp>
        <p:nvSpPr>
          <p:cNvPr id="81" name="TitleTrackerNum" hidden="1">
            <a:extLst>
              <a:ext uri="{FF2B5EF4-FFF2-40B4-BE49-F238E27FC236}">
                <a16:creationId xmlns:a16="http://schemas.microsoft.com/office/drawing/2014/main" id="{794CED1F-6725-4459-8907-48C740430B0C}"/>
              </a:ext>
            </a:extLst>
          </p:cNvPr>
          <p:cNvSpPr/>
          <p:nvPr>
            <p:custDataLst>
              <p:tags r:id="rId17"/>
            </p:custDataLst>
          </p:nvPr>
        </p:nvSpPr>
        <p:spPr bwMode="gray">
          <a:xfrm>
            <a:off x="839040" y="225253"/>
            <a:ext cx="492410" cy="492402"/>
          </a:xfrm>
          <a:prstGeom prst="ellipse">
            <a:avLst/>
          </a:prstGeom>
          <a:solidFill>
            <a:schemeClr val="bg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nl-NL" sz="2449" b="1" dirty="0">
                <a:solidFill>
                  <a:schemeClr val="tx2"/>
                </a:solidFill>
                <a:latin typeface="+mj-lt"/>
              </a:rPr>
              <a:t>1</a:t>
            </a:r>
          </a:p>
        </p:txBody>
      </p:sp>
      <p:grpSp>
        <p:nvGrpSpPr>
          <p:cNvPr id="155" name="Group 154">
            <a:extLst>
              <a:ext uri="{FF2B5EF4-FFF2-40B4-BE49-F238E27FC236}">
                <a16:creationId xmlns:a16="http://schemas.microsoft.com/office/drawing/2014/main" id="{D5277C95-E1E2-4256-90CF-0E3D9E82775F}"/>
              </a:ext>
            </a:extLst>
          </p:cNvPr>
          <p:cNvGrpSpPr/>
          <p:nvPr userDrawn="1"/>
        </p:nvGrpSpPr>
        <p:grpSpPr bwMode="ltGray">
          <a:xfrm>
            <a:off x="233258" y="106904"/>
            <a:ext cx="426000" cy="1448052"/>
            <a:chOff x="177800" y="104775"/>
            <a:chExt cx="417513" cy="1419225"/>
          </a:xfrm>
          <a:solidFill>
            <a:schemeClr val="tx2"/>
          </a:solidFill>
        </p:grpSpPr>
        <p:sp>
          <p:nvSpPr>
            <p:cNvPr id="156" name="Freeform 42">
              <a:extLst>
                <a:ext uri="{FF2B5EF4-FFF2-40B4-BE49-F238E27FC236}">
                  <a16:creationId xmlns:a16="http://schemas.microsoft.com/office/drawing/2014/main" id="{2632F7AF-F5FB-4620-AF44-CD765C50CB67}"/>
                </a:ext>
              </a:extLst>
            </p:cNvPr>
            <p:cNvSpPr>
              <a:spLocks/>
            </p:cNvSpPr>
            <p:nvPr userDrawn="1"/>
          </p:nvSpPr>
          <p:spPr bwMode="ltGray">
            <a:xfrm>
              <a:off x="177800" y="1108075"/>
              <a:ext cx="417513" cy="415925"/>
            </a:xfrm>
            <a:custGeom>
              <a:avLst/>
              <a:gdLst>
                <a:gd name="T0" fmla="*/ 0 w 263"/>
                <a:gd name="T1" fmla="*/ 209 h 262"/>
                <a:gd name="T2" fmla="*/ 80 w 263"/>
                <a:gd name="T3" fmla="*/ 131 h 262"/>
                <a:gd name="T4" fmla="*/ 0 w 263"/>
                <a:gd name="T5" fmla="*/ 52 h 262"/>
                <a:gd name="T6" fmla="*/ 53 w 263"/>
                <a:gd name="T7" fmla="*/ 0 h 262"/>
                <a:gd name="T8" fmla="*/ 132 w 263"/>
                <a:gd name="T9" fmla="*/ 78 h 262"/>
                <a:gd name="T10" fmla="*/ 210 w 263"/>
                <a:gd name="T11" fmla="*/ 0 h 262"/>
                <a:gd name="T12" fmla="*/ 263 w 263"/>
                <a:gd name="T13" fmla="*/ 52 h 262"/>
                <a:gd name="T14" fmla="*/ 185 w 263"/>
                <a:gd name="T15" fmla="*/ 131 h 262"/>
                <a:gd name="T16" fmla="*/ 263 w 263"/>
                <a:gd name="T17" fmla="*/ 209 h 262"/>
                <a:gd name="T18" fmla="*/ 210 w 263"/>
                <a:gd name="T19" fmla="*/ 262 h 262"/>
                <a:gd name="T20" fmla="*/ 132 w 263"/>
                <a:gd name="T21" fmla="*/ 183 h 262"/>
                <a:gd name="T22" fmla="*/ 53 w 263"/>
                <a:gd name="T23" fmla="*/ 262 h 262"/>
                <a:gd name="T24" fmla="*/ 0 w 263"/>
                <a:gd name="T25" fmla="*/ 20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2">
                  <a:moveTo>
                    <a:pt x="0" y="209"/>
                  </a:moveTo>
                  <a:lnTo>
                    <a:pt x="80" y="131"/>
                  </a:lnTo>
                  <a:lnTo>
                    <a:pt x="0" y="52"/>
                  </a:lnTo>
                  <a:lnTo>
                    <a:pt x="53" y="0"/>
                  </a:lnTo>
                  <a:lnTo>
                    <a:pt x="132" y="78"/>
                  </a:lnTo>
                  <a:lnTo>
                    <a:pt x="210" y="0"/>
                  </a:lnTo>
                  <a:lnTo>
                    <a:pt x="263" y="52"/>
                  </a:lnTo>
                  <a:lnTo>
                    <a:pt x="185" y="131"/>
                  </a:lnTo>
                  <a:lnTo>
                    <a:pt x="263" y="209"/>
                  </a:lnTo>
                  <a:lnTo>
                    <a:pt x="210" y="262"/>
                  </a:lnTo>
                  <a:lnTo>
                    <a:pt x="132" y="183"/>
                  </a:lnTo>
                  <a:lnTo>
                    <a:pt x="53" y="262"/>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157" name="Freeform 43">
              <a:extLst>
                <a:ext uri="{FF2B5EF4-FFF2-40B4-BE49-F238E27FC236}">
                  <a16:creationId xmlns:a16="http://schemas.microsoft.com/office/drawing/2014/main" id="{EAEBA356-DF50-406B-A0F8-71773E1B6C83}"/>
                </a:ext>
              </a:extLst>
            </p:cNvPr>
            <p:cNvSpPr>
              <a:spLocks/>
            </p:cNvSpPr>
            <p:nvPr userDrawn="1"/>
          </p:nvSpPr>
          <p:spPr bwMode="ltGray">
            <a:xfrm>
              <a:off x="177800" y="104775"/>
              <a:ext cx="417513" cy="417513"/>
            </a:xfrm>
            <a:custGeom>
              <a:avLst/>
              <a:gdLst>
                <a:gd name="T0" fmla="*/ 0 w 263"/>
                <a:gd name="T1" fmla="*/ 211 h 263"/>
                <a:gd name="T2" fmla="*/ 80 w 263"/>
                <a:gd name="T3" fmla="*/ 132 h 263"/>
                <a:gd name="T4" fmla="*/ 0 w 263"/>
                <a:gd name="T5" fmla="*/ 53 h 263"/>
                <a:gd name="T6" fmla="*/ 53 w 263"/>
                <a:gd name="T7" fmla="*/ 0 h 263"/>
                <a:gd name="T8" fmla="*/ 132 w 263"/>
                <a:gd name="T9" fmla="*/ 80 h 263"/>
                <a:gd name="T10" fmla="*/ 210 w 263"/>
                <a:gd name="T11" fmla="*/ 0 h 263"/>
                <a:gd name="T12" fmla="*/ 263 w 263"/>
                <a:gd name="T13" fmla="*/ 53 h 263"/>
                <a:gd name="T14" fmla="*/ 185 w 263"/>
                <a:gd name="T15" fmla="*/ 132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2"/>
                  </a:lnTo>
                  <a:lnTo>
                    <a:pt x="0" y="53"/>
                  </a:lnTo>
                  <a:lnTo>
                    <a:pt x="53" y="0"/>
                  </a:lnTo>
                  <a:lnTo>
                    <a:pt x="132" y="80"/>
                  </a:lnTo>
                  <a:lnTo>
                    <a:pt x="210" y="0"/>
                  </a:lnTo>
                  <a:lnTo>
                    <a:pt x="263" y="53"/>
                  </a:lnTo>
                  <a:lnTo>
                    <a:pt x="185" y="132"/>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158" name="Freeform 44">
              <a:extLst>
                <a:ext uri="{FF2B5EF4-FFF2-40B4-BE49-F238E27FC236}">
                  <a16:creationId xmlns:a16="http://schemas.microsoft.com/office/drawing/2014/main" id="{4BC8CEA6-C57E-4F7B-A57F-2A3E140774AF}"/>
                </a:ext>
              </a:extLst>
            </p:cNvPr>
            <p:cNvSpPr>
              <a:spLocks/>
            </p:cNvSpPr>
            <p:nvPr userDrawn="1"/>
          </p:nvSpPr>
          <p:spPr bwMode="ltGray">
            <a:xfrm>
              <a:off x="177800" y="606425"/>
              <a:ext cx="417513" cy="417513"/>
            </a:xfrm>
            <a:custGeom>
              <a:avLst/>
              <a:gdLst>
                <a:gd name="T0" fmla="*/ 0 w 263"/>
                <a:gd name="T1" fmla="*/ 211 h 263"/>
                <a:gd name="T2" fmla="*/ 80 w 263"/>
                <a:gd name="T3" fmla="*/ 131 h 263"/>
                <a:gd name="T4" fmla="*/ 0 w 263"/>
                <a:gd name="T5" fmla="*/ 53 h 263"/>
                <a:gd name="T6" fmla="*/ 53 w 263"/>
                <a:gd name="T7" fmla="*/ 0 h 263"/>
                <a:gd name="T8" fmla="*/ 132 w 263"/>
                <a:gd name="T9" fmla="*/ 79 h 263"/>
                <a:gd name="T10" fmla="*/ 210 w 263"/>
                <a:gd name="T11" fmla="*/ 0 h 263"/>
                <a:gd name="T12" fmla="*/ 263 w 263"/>
                <a:gd name="T13" fmla="*/ 53 h 263"/>
                <a:gd name="T14" fmla="*/ 185 w 263"/>
                <a:gd name="T15" fmla="*/ 131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1"/>
                  </a:lnTo>
                  <a:lnTo>
                    <a:pt x="0" y="53"/>
                  </a:lnTo>
                  <a:lnTo>
                    <a:pt x="53" y="0"/>
                  </a:lnTo>
                  <a:lnTo>
                    <a:pt x="132" y="79"/>
                  </a:lnTo>
                  <a:lnTo>
                    <a:pt x="210" y="0"/>
                  </a:lnTo>
                  <a:lnTo>
                    <a:pt x="263" y="53"/>
                  </a:lnTo>
                  <a:lnTo>
                    <a:pt x="185" y="131"/>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grpSp>
      <p:sp>
        <p:nvSpPr>
          <p:cNvPr id="86" name="Tijdelijke aanduiding voor voettekst 7">
            <a:extLst>
              <a:ext uri="{FF2B5EF4-FFF2-40B4-BE49-F238E27FC236}">
                <a16:creationId xmlns:a16="http://schemas.microsoft.com/office/drawing/2014/main" id="{1FB5788A-B4CE-D542-A205-ADE62A87448E}"/>
              </a:ext>
            </a:extLst>
          </p:cNvPr>
          <p:cNvSpPr>
            <a:spLocks noGrp="1"/>
          </p:cNvSpPr>
          <p:nvPr>
            <p:ph type="ftr" sz="quarter" idx="3"/>
          </p:nvPr>
        </p:nvSpPr>
        <p:spPr>
          <a:xfrm>
            <a:off x="839039" y="6485465"/>
            <a:ext cx="3090959" cy="372541"/>
          </a:xfrm>
          <a:prstGeom prst="rect">
            <a:avLst/>
          </a:prstGeom>
        </p:spPr>
        <p:txBody>
          <a:bodyPr vert="horz" lIns="91440" tIns="45720" rIns="91440" bIns="45720" rtlCol="0" anchor="ctr"/>
          <a:lstStyle>
            <a:lvl1pPr algn="l">
              <a:defRPr sz="1224" b="1">
                <a:solidFill>
                  <a:schemeClr val="tx1"/>
                </a:solidFill>
                <a:latin typeface="Arial" panose="020B0604020202020204" pitchFamily="34" charset="0"/>
                <a:cs typeface="Arial" panose="020B0604020202020204" pitchFamily="34" charset="0"/>
              </a:defRPr>
            </a:lvl1pPr>
          </a:lstStyle>
          <a:p>
            <a:r>
              <a:rPr lang="nl-NL">
                <a:solidFill>
                  <a:srgbClr val="FF0000"/>
                </a:solidFill>
              </a:rPr>
              <a:t>Informatiebijeenkomst 26 juli 2021 Europese Aanbesteding SVWI</a:t>
            </a:r>
            <a:endParaRPr lang="nl-NL" dirty="0"/>
          </a:p>
        </p:txBody>
      </p:sp>
      <p:pic>
        <p:nvPicPr>
          <p:cNvPr id="88" name="Picture 31" descr="Chart&#10;&#10;Description automatically generated with low confidence">
            <a:extLst>
              <a:ext uri="{FF2B5EF4-FFF2-40B4-BE49-F238E27FC236}">
                <a16:creationId xmlns:a16="http://schemas.microsoft.com/office/drawing/2014/main" id="{31265D61-C67D-FA48-BF35-A82FC8B8EF23}"/>
              </a:ext>
            </a:extLst>
          </p:cNvPr>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a:off x="10534566" y="5347203"/>
            <a:ext cx="1062139" cy="861450"/>
          </a:xfrm>
          <a:prstGeom prst="rect">
            <a:avLst/>
          </a:prstGeom>
        </p:spPr>
      </p:pic>
      <p:sp>
        <p:nvSpPr>
          <p:cNvPr id="89" name="object 9">
            <a:extLst>
              <a:ext uri="{FF2B5EF4-FFF2-40B4-BE49-F238E27FC236}">
                <a16:creationId xmlns:a16="http://schemas.microsoft.com/office/drawing/2014/main" id="{5644F11A-3BE0-F74C-BD1F-19BBD49E06B7}"/>
              </a:ext>
            </a:extLst>
          </p:cNvPr>
          <p:cNvSpPr/>
          <p:nvPr userDrawn="1"/>
        </p:nvSpPr>
        <p:spPr>
          <a:xfrm flipV="1">
            <a:off x="0" y="6181271"/>
            <a:ext cx="12176318" cy="46648"/>
          </a:xfrm>
          <a:custGeom>
            <a:avLst/>
            <a:gdLst/>
            <a:ahLst/>
            <a:cxnLst/>
            <a:rect l="l" t="t" r="r" b="b"/>
            <a:pathLst>
              <a:path w="9107805">
                <a:moveTo>
                  <a:pt x="0" y="0"/>
                </a:moveTo>
                <a:lnTo>
                  <a:pt x="9107639" y="0"/>
                </a:lnTo>
              </a:path>
            </a:pathLst>
          </a:custGeom>
          <a:ln w="38100">
            <a:solidFill>
              <a:srgbClr val="1D1D1B"/>
            </a:solidFill>
          </a:ln>
        </p:spPr>
        <p:txBody>
          <a:bodyPr wrap="square" lIns="0" tIns="0" rIns="0" bIns="0" rtlCol="0"/>
          <a:lstStyle/>
          <a:p>
            <a:endParaRPr sz="1837"/>
          </a:p>
        </p:txBody>
      </p:sp>
    </p:spTree>
    <p:extLst>
      <p:ext uri="{BB962C8B-B14F-4D97-AF65-F5344CB8AC3E}">
        <p14:creationId xmlns:p14="http://schemas.microsoft.com/office/powerpoint/2010/main" val="653446484"/>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Lst>
  <p:hf hdr="0" dt="0"/>
  <p:txStyles>
    <p:titleStyle>
      <a:lvl1pPr algn="l" defTabSz="913526" rtl="0" eaLnBrk="1" fontAlgn="base" hangingPunct="1">
        <a:spcBef>
          <a:spcPct val="0"/>
        </a:spcBef>
        <a:spcAft>
          <a:spcPct val="0"/>
        </a:spcAft>
        <a:tabLst>
          <a:tab pos="549088" algn="l"/>
        </a:tabLst>
        <a:defRPr sz="244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83654" indent="-183654" algn="l" defTabSz="913526" rtl="0" eaLnBrk="1" fontAlgn="base" hangingPunct="1">
        <a:spcBef>
          <a:spcPct val="0"/>
        </a:spcBef>
        <a:spcAft>
          <a:spcPct val="0"/>
        </a:spcAft>
        <a:buClr>
          <a:schemeClr val="tx2"/>
        </a:buClr>
        <a:buSzPct val="125000"/>
        <a:buFont typeface="Arial" pitchFamily="34" charset="0"/>
        <a:buChar char="•"/>
        <a:defRPr sz="1632" baseline="0">
          <a:solidFill>
            <a:schemeClr val="tx1"/>
          </a:solidFill>
          <a:latin typeface="+mn-lt"/>
        </a:defRPr>
      </a:lvl2pPr>
      <a:lvl3pPr marL="367308" indent="-183654"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550962" indent="-183654" algn="l" defTabSz="913526" rtl="0" eaLnBrk="1" fontAlgn="base" hangingPunct="1">
        <a:spcBef>
          <a:spcPct val="0"/>
        </a:spcBef>
        <a:spcAft>
          <a:spcPct val="0"/>
        </a:spcAft>
        <a:buClr>
          <a:schemeClr val="tx2"/>
        </a:buClr>
        <a:buSzPct val="120000"/>
        <a:buFont typeface="Arial" pitchFamily="34" charset="0"/>
        <a:buChar char="◦"/>
        <a:defRPr sz="1632" baseline="0">
          <a:solidFill>
            <a:schemeClr val="tx1"/>
          </a:solidFill>
          <a:latin typeface="+mn-lt"/>
        </a:defRPr>
      </a:lvl4pPr>
      <a:lvl5pPr marL="734616" indent="-183654"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ext uri="{D42A27DB-BD31-4B8C-83A1-F6EECF244321}">
                <p14:modId xmlns:p14="http://schemas.microsoft.com/office/powerpoint/2010/main" val="1712766622"/>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9" y="1589"/>
                        <a:ext cx="2116" cy="1587"/>
                      </a:xfrm>
                      <a:prstGeom prst="rect">
                        <a:avLst/>
                      </a:prstGeom>
                    </p:spPr>
                  </p:pic>
                </p:oleObj>
              </mc:Fallback>
            </mc:AlternateContent>
          </a:graphicData>
        </a:graphic>
      </p:graphicFrame>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p>
            <a:r>
              <a:rPr lang="en-US"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9"/>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1" y="6630742"/>
            <a:ext cx="579727"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dirty="0"/>
          </a:p>
        </p:txBody>
      </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9" y="6619877"/>
            <a:ext cx="1023140" cy="163513"/>
          </a:xfrm>
          <a:prstGeom prst="rect">
            <a:avLst/>
          </a:prstGeom>
        </p:spPr>
        <p:txBody>
          <a:bodyPr lIns="0" tIns="0" rIns="72000" bIns="0"/>
          <a:lstStyle>
            <a:lvl1pPr algn="r">
              <a:defRPr sz="1000">
                <a:latin typeface="+mj-lt"/>
              </a:defRPr>
            </a:lvl1pPr>
          </a:lstStyle>
          <a:p>
            <a:fld id="{992CD0B2-8AB2-4C6C-8876-E15753662C9B}" type="slidenum">
              <a:rPr lang="nl-NL" smtClean="0"/>
              <a:pPr/>
              <a:t>‹nr.›</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5" y="6619875"/>
            <a:ext cx="9799639" cy="163512"/>
          </a:xfrm>
          <a:prstGeom prst="rect">
            <a:avLst/>
          </a:prstGeom>
        </p:spPr>
        <p:txBody>
          <a:bodyPr vert="horz" lIns="91440" tIns="45720" rIns="91440" bIns="45720" rtlCol="0" anchor="ctr"/>
          <a:lstStyle>
            <a:lvl1pPr algn="l">
              <a:defRPr sz="800">
                <a:solidFill>
                  <a:srgbClr val="000000"/>
                </a:solidFill>
                <a:latin typeface="+mn-lt"/>
              </a:defRPr>
            </a:lvl1pPr>
          </a:lstStyle>
          <a:p>
            <a:r>
              <a:rPr lang="nl-NL"/>
              <a:t>Informatiebijeenkomst 26 juli 2021 Europese Aanbesteding SVWI</a:t>
            </a:r>
            <a:endParaRPr lang="nl-NL" dirty="0"/>
          </a:p>
        </p:txBody>
      </p:sp>
      <p:grpSp>
        <p:nvGrpSpPr>
          <p:cNvPr id="24" name="Group 11">
            <a:extLst>
              <a:ext uri="{FF2B5EF4-FFF2-40B4-BE49-F238E27FC236}">
                <a16:creationId xmlns:a16="http://schemas.microsoft.com/office/drawing/2014/main" id="{46E26165-3158-4C95-9819-D892D1C62CD9}"/>
              </a:ext>
            </a:extLst>
          </p:cNvPr>
          <p:cNvGrpSpPr>
            <a:grpSpLocks/>
          </p:cNvGrpSpPr>
          <p:nvPr userDrawn="1"/>
        </p:nvGrpSpPr>
        <p:grpSpPr bwMode="auto">
          <a:xfrm>
            <a:off x="223713" y="302733"/>
            <a:ext cx="233075" cy="793147"/>
            <a:chOff x="115" y="102"/>
            <a:chExt cx="268" cy="912"/>
          </a:xfrm>
        </p:grpSpPr>
        <p:sp>
          <p:nvSpPr>
            <p:cNvPr id="25" name="Freeform 7">
              <a:extLst>
                <a:ext uri="{FF2B5EF4-FFF2-40B4-BE49-F238E27FC236}">
                  <a16:creationId xmlns:a16="http://schemas.microsoft.com/office/drawing/2014/main" id="{ABB2F9DF-4E29-4EB1-9EB9-ADBFA7E49559}"/>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sz="1800" noProof="0"/>
            </a:p>
          </p:txBody>
        </p:sp>
        <p:sp>
          <p:nvSpPr>
            <p:cNvPr id="27" name="Freeform 8">
              <a:extLst>
                <a:ext uri="{FF2B5EF4-FFF2-40B4-BE49-F238E27FC236}">
                  <a16:creationId xmlns:a16="http://schemas.microsoft.com/office/drawing/2014/main" id="{CE91C077-81F9-4645-9B4F-5F9D5B75CDC6}"/>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sz="1800" noProof="0"/>
            </a:p>
          </p:txBody>
        </p:sp>
        <p:sp>
          <p:nvSpPr>
            <p:cNvPr id="28" name="Freeform 9">
              <a:extLst>
                <a:ext uri="{FF2B5EF4-FFF2-40B4-BE49-F238E27FC236}">
                  <a16:creationId xmlns:a16="http://schemas.microsoft.com/office/drawing/2014/main" id="{96B96A56-52F8-496C-A447-E60CB4B87C92}"/>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sz="1800" noProof="0"/>
            </a:p>
          </p:txBody>
        </p:sp>
      </p:grpSp>
    </p:spTree>
    <p:extLst>
      <p:ext uri="{BB962C8B-B14F-4D97-AF65-F5344CB8AC3E}">
        <p14:creationId xmlns:p14="http://schemas.microsoft.com/office/powerpoint/2010/main" val="3521944223"/>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 id="2147484018" r:id="rId13"/>
    <p:sldLayoutId id="2147484019" r:id="rId14"/>
    <p:sldLayoutId id="2147484020" r:id="rId15"/>
    <p:sldLayoutId id="2147484021" r:id="rId16"/>
    <p:sldLayoutId id="2147484022" r:id="rId17"/>
    <p:sldLayoutId id="2147484023" r:id="rId18"/>
    <p:sldLayoutId id="2147484024" r:id="rId19"/>
    <p:sldLayoutId id="2147484025" r:id="rId20"/>
    <p:sldLayoutId id="2147484026" r:id="rId21"/>
    <p:sldLayoutId id="2147484027" r:id="rId22"/>
    <p:sldLayoutId id="2147484028" r:id="rId23"/>
    <p:sldLayoutId id="2147484029" r:id="rId24"/>
    <p:sldLayoutId id="2147484030" r:id="rId25"/>
    <p:sldLayoutId id="2147484031" r:id="rId26"/>
    <p:sldLayoutId id="2147484032" r:id="rId27"/>
    <p:sldLayoutId id="2147484033" r:id="rId28"/>
    <p:sldLayoutId id="2147484034" r:id="rId29"/>
    <p:sldLayoutId id="2147484035" r:id="rId30"/>
    <p:sldLayoutId id="2147484036" r:id="rId31"/>
    <p:sldLayoutId id="2147484037" r:id="rId32"/>
    <p:sldLayoutId id="2147484038" r:id="rId33"/>
    <p:sldLayoutId id="2147484039" r:id="rId34"/>
    <p:sldLayoutId id="2147484041" r:id="rId35"/>
    <p:sldLayoutId id="2147484042" r:id="rId36"/>
  </p:sldLayoutIdLst>
  <p:hf hdr="0" dt="0"/>
  <p:txStyles>
    <p:titleStyle>
      <a:lvl1pPr algn="l" defTabSz="685783" rtl="0" eaLnBrk="1" latinLnBrk="0" hangingPunct="1">
        <a:lnSpc>
          <a:spcPct val="90000"/>
        </a:lnSpc>
        <a:spcBef>
          <a:spcPct val="0"/>
        </a:spcBef>
        <a:buNone/>
        <a:defRPr sz="2800" b="1" kern="1200">
          <a:solidFill>
            <a:schemeClr val="tx2"/>
          </a:solidFill>
          <a:latin typeface="Corbel" panose="020B0503020204020204" pitchFamily="34" charset="0"/>
          <a:ea typeface="+mj-ea"/>
          <a:cs typeface="+mj-cs"/>
        </a:defRPr>
      </a:lvl1pPr>
    </p:titleStyle>
    <p:bodyStyle>
      <a:lvl1pPr marL="0" indent="0" algn="l" defTabSz="685783" rtl="0" eaLnBrk="1" latinLnBrk="0" hangingPunct="1">
        <a:lnSpc>
          <a:spcPct val="90000"/>
        </a:lnSpc>
        <a:spcBef>
          <a:spcPts val="751"/>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4" indent="-185734" algn="l" defTabSz="685783"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79" indent="-176209" algn="l" defTabSz="685783"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12" indent="-180970" algn="l" defTabSz="685783"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57" indent="-171446" algn="l" defTabSz="685783"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28" indent="-180970" algn="l" defTabSz="685783"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298" indent="-180970" algn="l" defTabSz="685783"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269" indent="-180970" algn="l" defTabSz="685783"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39" indent="-180970" algn="l" defTabSz="685783"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2B1F71-09CB-4422-B7FF-6FA823070B75}"/>
              </a:ext>
            </a:extLst>
          </p:cNvPr>
          <p:cNvGraphicFramePr>
            <a:graphicFrameLocks noChangeAspect="1"/>
          </p:cNvGraphicFramePr>
          <p:nvPr userDrawn="1">
            <p:custDataLst>
              <p:tags r:id="rId17"/>
            </p:custDataLst>
            <p:extLst>
              <p:ext uri="{D42A27DB-BD31-4B8C-83A1-F6EECF244321}">
                <p14:modId xmlns:p14="http://schemas.microsoft.com/office/powerpoint/2010/main" val="318475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3" imgH="403" progId="TCLayout.ActiveDocument.1">
                  <p:embed/>
                </p:oleObj>
              </mc:Choice>
              <mc:Fallback>
                <p:oleObj name="think-cell Slide" r:id="rId18" imgW="393" imgH="403" progId="TCLayout.ActiveDocument.1">
                  <p:embed/>
                  <p:pic>
                    <p:nvPicPr>
                      <p:cNvPr id="7" name="Object 6" hidden="1">
                        <a:extLst>
                          <a:ext uri="{FF2B5EF4-FFF2-40B4-BE49-F238E27FC236}">
                            <a16:creationId xmlns:a16="http://schemas.microsoft.com/office/drawing/2014/main" id="{492B1F71-09CB-4422-B7FF-6FA823070B75}"/>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grpSp>
        <p:nvGrpSpPr>
          <p:cNvPr id="12" name="Groep 11"/>
          <p:cNvGrpSpPr>
            <a:grpSpLocks noSelect="1"/>
          </p:cNvGrpSpPr>
          <p:nvPr userDrawn="1"/>
        </p:nvGrpSpPr>
        <p:grpSpPr bwMode="black">
          <a:xfrm>
            <a:off x="243417" y="163513"/>
            <a:ext cx="567267" cy="1447800"/>
            <a:chOff x="182563" y="163513"/>
            <a:chExt cx="425450" cy="1447800"/>
          </a:xfrm>
          <a:solidFill>
            <a:srgbClr val="FF0000"/>
          </a:solidFill>
        </p:grpSpPr>
        <p:sp>
          <p:nvSpPr>
            <p:cNvPr id="13" name="Freeform 7"/>
            <p:cNvSpPr>
              <a:spLocks noSelect="1"/>
            </p:cNvSpPr>
            <p:nvPr/>
          </p:nvSpPr>
          <p:spPr bwMode="black">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4" name="Freeform 8"/>
            <p:cNvSpPr>
              <a:spLocks noSelect="1"/>
            </p:cNvSpPr>
            <p:nvPr/>
          </p:nvSpPr>
          <p:spPr bwMode="black">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sp>
          <p:nvSpPr>
            <p:cNvPr id="15" name="Freeform 9"/>
            <p:cNvSpPr>
              <a:spLocks noSelect="1"/>
            </p:cNvSpPr>
            <p:nvPr/>
          </p:nvSpPr>
          <p:spPr bwMode="black">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dirty="0"/>
            </a:p>
          </p:txBody>
        </p:sp>
      </p:grpSp>
      <p:sp>
        <p:nvSpPr>
          <p:cNvPr id="2" name="Tijdelijke aanduiding voor titel 1"/>
          <p:cNvSpPr>
            <a:spLocks noGrp="1" noSelect="1"/>
          </p:cNvSpPr>
          <p:nvPr>
            <p:ph type="title"/>
          </p:nvPr>
        </p:nvSpPr>
        <p:spPr bwMode="gray">
          <a:xfrm>
            <a:off x="1042628" y="1998333"/>
            <a:ext cx="10680000" cy="1143000"/>
          </a:xfrm>
          <a:prstGeom prst="rect">
            <a:avLst/>
          </a:prstGeom>
        </p:spPr>
        <p:txBody>
          <a:bodyPr vert="horz" lIns="0" tIns="0" rIns="0" bIns="0" rtlCol="0" anchor="t">
            <a:noAutofit/>
          </a:bodyPr>
          <a:lstStyle/>
          <a:p>
            <a:r>
              <a:rPr lang="nl-NL" noProof="1"/>
              <a:t>Klik om de stijl te bewerken</a:t>
            </a:r>
          </a:p>
        </p:txBody>
      </p:sp>
      <p:sp>
        <p:nvSpPr>
          <p:cNvPr id="3" name="Tijdelijke aanduiding voor tekst 2"/>
          <p:cNvSpPr>
            <a:spLocks noGrp="1" noSelect="1"/>
          </p:cNvSpPr>
          <p:nvPr>
            <p:ph type="body" idx="1"/>
          </p:nvPr>
        </p:nvSpPr>
        <p:spPr bwMode="gray">
          <a:xfrm>
            <a:off x="1042084" y="3367564"/>
            <a:ext cx="10680000" cy="2787175"/>
          </a:xfrm>
          <a:prstGeom prst="rect">
            <a:avLst/>
          </a:prstGeom>
        </p:spPr>
        <p:txBody>
          <a:bodyPr vert="horz" lIns="0" tIns="0" rIns="0" bIns="0" rtlCol="0">
            <a:noAutofit/>
          </a:bodyPr>
          <a:lstStyle/>
          <a:p>
            <a:pPr lvl="0"/>
            <a:r>
              <a:rPr lang="nl-NL" noProof="1"/>
              <a:t>Klik om de modelstijlen te bewerken</a:t>
            </a:r>
          </a:p>
          <a:p>
            <a:pPr lvl="1"/>
            <a:r>
              <a:rPr lang="nl-NL" noProof="1"/>
              <a:t>Tweede niveau</a:t>
            </a:r>
          </a:p>
          <a:p>
            <a:pPr lvl="2"/>
            <a:r>
              <a:rPr lang="nl-NL" noProof="1"/>
              <a:t>Derde niveau</a:t>
            </a:r>
          </a:p>
          <a:p>
            <a:pPr lvl="3"/>
            <a:r>
              <a:rPr lang="nl-NL" noProof="1"/>
              <a:t>Vierde niveau</a:t>
            </a:r>
          </a:p>
          <a:p>
            <a:pPr lvl="4"/>
            <a:r>
              <a:rPr lang="nl-NL" noProof="1"/>
              <a:t>Vijfde niveau</a:t>
            </a:r>
          </a:p>
          <a:p>
            <a:pPr lvl="5"/>
            <a:r>
              <a:rPr lang="nl-NL" noProof="1"/>
              <a:t>Zesde niveau</a:t>
            </a:r>
          </a:p>
          <a:p>
            <a:pPr lvl="6"/>
            <a:r>
              <a:rPr lang="nl-NL" noProof="1"/>
              <a:t>Zevende niveau</a:t>
            </a:r>
          </a:p>
          <a:p>
            <a:pPr lvl="7"/>
            <a:r>
              <a:rPr lang="nl-NL" noProof="1"/>
              <a:t>Achtste niveau</a:t>
            </a:r>
          </a:p>
          <a:p>
            <a:pPr lvl="8"/>
            <a:r>
              <a:rPr lang="nl-NL" noProof="1"/>
              <a:t>Negende niveau</a:t>
            </a:r>
          </a:p>
        </p:txBody>
      </p:sp>
      <p:grpSp>
        <p:nvGrpSpPr>
          <p:cNvPr id="20" name="Groep 19"/>
          <p:cNvGrpSpPr>
            <a:grpSpLocks noSelect="1"/>
          </p:cNvGrpSpPr>
          <p:nvPr userDrawn="1"/>
        </p:nvGrpSpPr>
        <p:grpSpPr bwMode="gray">
          <a:xfrm>
            <a:off x="12336832" y="-47626"/>
            <a:ext cx="2146029" cy="6948000"/>
            <a:chOff x="9252624" y="-47626"/>
            <a:chExt cx="1609522" cy="6948000"/>
          </a:xfrm>
        </p:grpSpPr>
        <p:sp>
          <p:nvSpPr>
            <p:cNvPr id="16" name="Afgeronde rechthoek 15"/>
            <p:cNvSpPr>
              <a:spLocks noSelect="1"/>
            </p:cNvSpPr>
            <p:nvPr userDrawn="1"/>
          </p:nvSpPr>
          <p:spPr bwMode="gray">
            <a:xfrm>
              <a:off x="9252624" y="-47626"/>
              <a:ext cx="1609522" cy="6948000"/>
            </a:xfrm>
            <a:prstGeom prst="roundRect">
              <a:avLst>
                <a:gd name="adj" fmla="val 970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r>
                <a:rPr lang="nl-NL" sz="900" noProof="1">
                  <a:solidFill>
                    <a:schemeClr val="tx1"/>
                  </a:solidFill>
                </a:rPr>
                <a:t>Klik op het pijltje naast Nieuwe dia om een nieuwe dia aan te maken. Kies een van de indelingen.</a:t>
              </a:r>
            </a:p>
            <a:p>
              <a:pPr algn="l"/>
              <a:endParaRPr lang="nl-NL" sz="900" noProof="1">
                <a:solidFill>
                  <a:schemeClr val="tx1"/>
                </a:solidFill>
              </a:endParaRPr>
            </a:p>
            <a:p>
              <a:pPr algn="l"/>
              <a:r>
                <a:rPr lang="nl-NL" sz="900" noProof="1">
                  <a:solidFill>
                    <a:schemeClr val="tx1"/>
                  </a:solidFill>
                </a:rPr>
                <a:t>Klik op Indeling als de dia opnieuw moet worden aangepast aan de huidige indeling, of om een andere indeling toe te passen.</a:t>
              </a:r>
            </a:p>
            <a:p>
              <a:pPr algn="l"/>
              <a:endParaRPr lang="nl-NL" sz="900" noProof="1">
                <a:solidFill>
                  <a:schemeClr val="tx1"/>
                </a:solidFill>
              </a:endParaRPr>
            </a:p>
            <a:p>
              <a:pPr algn="l"/>
              <a:r>
                <a:rPr lang="nl-NL" sz="900" noProof="1">
                  <a:solidFill>
                    <a:schemeClr val="tx1"/>
                  </a:solidFill>
                </a:rPr>
                <a:t>De tekstvakken van de dia’s hebben allen 9 niveaus.</a:t>
              </a:r>
            </a:p>
            <a:p>
              <a:pPr algn="l"/>
              <a:r>
                <a:rPr lang="nl-NL" sz="900" noProof="1">
                  <a:solidFill>
                    <a:schemeClr val="tx1"/>
                  </a:solidFill>
                </a:rPr>
                <a:t>Eerste, tweede en derde niveau hebben</a:t>
              </a:r>
              <a:r>
                <a:rPr lang="nl-NL" sz="900" baseline="0" noProof="1">
                  <a:solidFill>
                    <a:schemeClr val="tx1"/>
                  </a:solidFill>
                </a:rPr>
                <a:t> een opsomming. Het vierde niveau is bold en geschikt voor een kopje.</a:t>
              </a:r>
            </a:p>
            <a:p>
              <a:pPr algn="l"/>
              <a:r>
                <a:rPr lang="nl-NL" sz="900" baseline="0" noProof="1">
                  <a:solidFill>
                    <a:schemeClr val="tx1"/>
                  </a:solidFill>
                </a:rPr>
                <a:t>Het vijfde niveau is voor de basistekst. Zowel niveau  vier als vijf lijnen automatisch uit aan de linkerkantlijn.</a:t>
              </a:r>
            </a:p>
            <a:p>
              <a:pPr algn="l"/>
              <a:r>
                <a:rPr lang="nl-NL" sz="900" baseline="0" noProof="1">
                  <a:solidFill>
                    <a:schemeClr val="tx1"/>
                  </a:solidFill>
                </a:rPr>
                <a:t>Het zesde, zevende en achtste niveau lijnen uit onder resp. eerste, tweede en derde opsomming.</a:t>
              </a:r>
            </a:p>
            <a:p>
              <a:pPr algn="l"/>
              <a:r>
                <a:rPr lang="nl-NL" sz="900" baseline="0" noProof="1">
                  <a:solidFill>
                    <a:schemeClr val="tx1"/>
                  </a:solidFill>
                </a:rPr>
                <a:t>Het negende niveau is een kleiner lettertype dat uitlijnt aan de linkermarge. Deze is geschikt voor bijvoorbeeld een bijschrift.</a:t>
              </a:r>
            </a:p>
            <a:p>
              <a:pPr algn="l"/>
              <a:endParaRPr lang="nl-NL" sz="900" baseline="0" noProof="1">
                <a:solidFill>
                  <a:schemeClr val="tx1"/>
                </a:solidFill>
              </a:endParaRPr>
            </a:p>
            <a:p>
              <a:pPr algn="l"/>
              <a:r>
                <a:rPr lang="nl-NL" sz="900" b="1" baseline="0" noProof="1">
                  <a:solidFill>
                    <a:schemeClr val="tx1"/>
                  </a:solidFill>
                </a:rPr>
                <a:t>Let op:</a:t>
              </a:r>
              <a:r>
                <a:rPr lang="nl-NL" sz="900" b="0" baseline="0" noProof="1">
                  <a:solidFill>
                    <a:schemeClr val="tx1"/>
                  </a:solidFill>
                </a:rPr>
                <a:t>  Let op: wissel van stijl met de knoppen              voor lijstniveau verhogen of verlagen, of in MS Office met verkorte toetscombinatie Alt+Shift+← of Alt+Shift+→</a:t>
              </a:r>
            </a:p>
            <a:p>
              <a:pPr algn="l"/>
              <a:endParaRPr lang="nl-NL" sz="900" b="0" baseline="0" noProof="1">
                <a:solidFill>
                  <a:schemeClr val="tx1"/>
                </a:solidFill>
              </a:endParaRPr>
            </a:p>
            <a:p>
              <a:pPr algn="l"/>
              <a:endParaRPr lang="nl-NL" sz="900" b="0" baseline="0" noProof="1">
                <a:solidFill>
                  <a:schemeClr val="tx1"/>
                </a:solidFill>
              </a:endParaRPr>
            </a:p>
            <a:p>
              <a:pPr algn="l"/>
              <a:r>
                <a:rPr lang="nl-NL" sz="900" b="0" baseline="0" noProof="1">
                  <a:solidFill>
                    <a:schemeClr val="tx1"/>
                  </a:solidFill>
                </a:rPr>
                <a:t>Gebruik dus niet de standaard opsomming- knoppen van MS Office om de stijl te veranderen!</a:t>
              </a:r>
              <a:endParaRPr lang="nl-NL" sz="900" b="1" noProof="1">
                <a:solidFill>
                  <a:schemeClr val="tx1"/>
                </a:solidFill>
              </a:endParaRPr>
            </a:p>
          </p:txBody>
        </p:sp>
        <p:pic>
          <p:nvPicPr>
            <p:cNvPr id="17" name="Afbeelding 16" descr="knoppen inspringen.png"/>
            <p:cNvPicPr>
              <a:picLocks noSelect="1" noChangeAspect="1"/>
            </p:cNvPicPr>
            <p:nvPr userDrawn="1"/>
          </p:nvPicPr>
          <p:blipFill>
            <a:blip r:embed="rId20"/>
            <a:stretch>
              <a:fillRect/>
            </a:stretch>
          </p:blipFill>
          <p:spPr bwMode="gray">
            <a:xfrm>
              <a:off x="9664584" y="5669775"/>
              <a:ext cx="419100" cy="228600"/>
            </a:xfrm>
            <a:prstGeom prst="rect">
              <a:avLst/>
            </a:prstGeom>
          </p:spPr>
        </p:pic>
        <p:grpSp>
          <p:nvGrpSpPr>
            <p:cNvPr id="19" name="Groep 18"/>
            <p:cNvGrpSpPr>
              <a:grpSpLocks noSelect="1"/>
            </p:cNvGrpSpPr>
            <p:nvPr userDrawn="1"/>
          </p:nvGrpSpPr>
          <p:grpSpPr bwMode="gray">
            <a:xfrm>
              <a:off x="9632100" y="6521279"/>
              <a:ext cx="752580" cy="285790"/>
              <a:chOff x="9670200" y="6559379"/>
              <a:chExt cx="752580" cy="285790"/>
            </a:xfrm>
          </p:grpSpPr>
          <p:pic>
            <p:nvPicPr>
              <p:cNvPr id="18" name="Afbeelding 17" descr="knoppen ms office niet gebruiken.png"/>
              <p:cNvPicPr>
                <a:picLocks noSelect="1" noChangeAspect="1"/>
              </p:cNvPicPr>
              <p:nvPr userDrawn="1"/>
            </p:nvPicPr>
            <p:blipFill>
              <a:blip r:embed="rId21"/>
              <a:stretch>
                <a:fillRect/>
              </a:stretch>
            </p:blipFill>
            <p:spPr bwMode="gray">
              <a:xfrm>
                <a:off x="9670200" y="6559379"/>
                <a:ext cx="752580" cy="285790"/>
              </a:xfrm>
              <a:prstGeom prst="rect">
                <a:avLst/>
              </a:prstGeom>
            </p:spPr>
          </p:pic>
          <p:cxnSp>
            <p:nvCxnSpPr>
              <p:cNvPr id="22" name="Rechte verbindingslijn 21"/>
              <p:cNvCxnSpPr/>
              <p:nvPr userDrawn="1"/>
            </p:nvCxnSpPr>
            <p:spPr bwMode="gray">
              <a:xfrm flipH="1">
                <a:off x="9702684" y="6565608"/>
                <a:ext cx="677709" cy="27956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bwMode="gray">
              <a:xfrm flipH="1" flipV="1">
                <a:off x="9702684" y="6565608"/>
                <a:ext cx="677709" cy="27956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grpSp>
      </p:grpSp>
      <p:sp>
        <p:nvSpPr>
          <p:cNvPr id="4" name="Tijdelijke aanduiding voor datum 3"/>
          <p:cNvSpPr>
            <a:spLocks noGrp="1" noSelect="1"/>
          </p:cNvSpPr>
          <p:nvPr>
            <p:ph type="dt" sz="half" idx="2"/>
          </p:nvPr>
        </p:nvSpPr>
        <p:spPr bwMode="gray">
          <a:xfrm>
            <a:off x="10275041" y="6489408"/>
            <a:ext cx="1008000" cy="180000"/>
          </a:xfrm>
          <a:prstGeom prst="rect">
            <a:avLst/>
          </a:prstGeom>
        </p:spPr>
        <p:txBody>
          <a:bodyPr vert="horz" lIns="0" tIns="0" rIns="0" bIns="0" rtlCol="0" anchor="t"/>
          <a:lstStyle>
            <a:lvl1pPr algn="r">
              <a:defRPr sz="1000">
                <a:solidFill>
                  <a:schemeClr val="bg2"/>
                </a:solidFill>
              </a:defRPr>
            </a:lvl1pPr>
          </a:lstStyle>
          <a:p>
            <a:endParaRPr lang="nl-NL" dirty="0"/>
          </a:p>
        </p:txBody>
      </p:sp>
      <p:sp>
        <p:nvSpPr>
          <p:cNvPr id="5" name="Tijdelijke aanduiding voor voettekst 4"/>
          <p:cNvSpPr>
            <a:spLocks noGrp="1" noSelect="1"/>
          </p:cNvSpPr>
          <p:nvPr>
            <p:ph type="ftr" sz="quarter" idx="3"/>
          </p:nvPr>
        </p:nvSpPr>
        <p:spPr bwMode="gray">
          <a:xfrm>
            <a:off x="1042084" y="6489408"/>
            <a:ext cx="8256000" cy="180000"/>
          </a:xfrm>
          <a:prstGeom prst="rect">
            <a:avLst/>
          </a:prstGeom>
        </p:spPr>
        <p:txBody>
          <a:bodyPr vert="horz" lIns="0" tIns="0" rIns="0" bIns="0" rtlCol="0" anchor="t"/>
          <a:lstStyle>
            <a:lvl1pPr algn="l">
              <a:defRPr sz="1000">
                <a:solidFill>
                  <a:schemeClr val="bg2"/>
                </a:solidFill>
              </a:defRPr>
            </a:lvl1pPr>
          </a:lstStyle>
          <a:p>
            <a:r>
              <a:rPr lang="nl-NL"/>
              <a:t>Informatiebijeenkomst 26 juli 2021 Europese Aanbesteding SVWI</a:t>
            </a:r>
            <a:endParaRPr lang="nl-NL" dirty="0"/>
          </a:p>
        </p:txBody>
      </p:sp>
      <p:sp>
        <p:nvSpPr>
          <p:cNvPr id="6" name="Tijdelijke aanduiding voor dianummer 5"/>
          <p:cNvSpPr>
            <a:spLocks noGrp="1" noSelect="1"/>
          </p:cNvSpPr>
          <p:nvPr>
            <p:ph type="sldNum" sz="quarter" idx="4"/>
          </p:nvPr>
        </p:nvSpPr>
        <p:spPr bwMode="gray">
          <a:xfrm>
            <a:off x="11329077" y="6489408"/>
            <a:ext cx="384000" cy="180000"/>
          </a:xfrm>
          <a:prstGeom prst="rect">
            <a:avLst/>
          </a:prstGeom>
        </p:spPr>
        <p:txBody>
          <a:bodyPr vert="horz" lIns="0" tIns="0" rIns="0" bIns="0" rtlCol="0" anchor="t"/>
          <a:lstStyle>
            <a:lvl1pPr algn="l">
              <a:defRPr sz="1000">
                <a:solidFill>
                  <a:schemeClr val="bg2"/>
                </a:solidFill>
              </a:defRPr>
            </a:lvl1pPr>
          </a:lstStyle>
          <a:p>
            <a:r>
              <a:rPr lang="nl-NL" dirty="0"/>
              <a:t>| </a:t>
            </a:r>
            <a:fld id="{5A73F218-DCB0-4894-9B51-05C25669D534}" type="slidenum">
              <a:rPr lang="nl-NL" smtClean="0"/>
              <a:pPr/>
              <a:t>‹nr.›</a:t>
            </a:fld>
            <a:endParaRPr lang="nl-NL" dirty="0"/>
          </a:p>
        </p:txBody>
      </p:sp>
    </p:spTree>
    <p:extLst>
      <p:ext uri="{BB962C8B-B14F-4D97-AF65-F5344CB8AC3E}">
        <p14:creationId xmlns:p14="http://schemas.microsoft.com/office/powerpoint/2010/main" val="206040962"/>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Lst>
  <p:hf hdr="0" dt="0"/>
  <p:txStyles>
    <p:titleStyle>
      <a:lvl1pPr algn="l" defTabSz="914400" rtl="0" eaLnBrk="1" latinLnBrk="0" hangingPunct="1">
        <a:spcBef>
          <a:spcPct val="0"/>
        </a:spcBef>
        <a:buNone/>
        <a:defRPr sz="3500" b="1" kern="1200">
          <a:solidFill>
            <a:schemeClr val="accent1"/>
          </a:solidFill>
          <a:latin typeface="+mj-lt"/>
          <a:ea typeface="+mj-ea"/>
          <a:cs typeface="+mj-cs"/>
        </a:defRPr>
      </a:lvl1pPr>
    </p:titleStyle>
    <p:bodyStyle>
      <a:lvl1pPr marL="216000" indent="-216000" algn="l" defTabSz="914400" rtl="0" eaLnBrk="1" latinLnBrk="0" hangingPunct="1">
        <a:spcBef>
          <a:spcPts val="0"/>
        </a:spcBef>
        <a:buClr>
          <a:schemeClr val="accent1"/>
        </a:buClr>
        <a:buSzPct val="65000"/>
        <a:buFont typeface="Wingdings" pitchFamily="2" charset="2"/>
        <a:buChar char=""/>
        <a:defRPr sz="2200" b="0" kern="1200">
          <a:solidFill>
            <a:schemeClr val="tx1"/>
          </a:solidFill>
          <a:latin typeface="+mn-lt"/>
          <a:ea typeface="+mn-ea"/>
          <a:cs typeface="+mn-cs"/>
        </a:defRPr>
      </a:lvl1pPr>
      <a:lvl2pPr marL="432000" indent="-216000" algn="l" defTabSz="914400" rtl="0" eaLnBrk="1" latinLnBrk="0" hangingPunct="1">
        <a:spcBef>
          <a:spcPts val="0"/>
        </a:spcBef>
        <a:buFont typeface="Corbel" pitchFamily="34" charset="0"/>
        <a:buChar char="–"/>
        <a:defRPr sz="2200" kern="1200">
          <a:solidFill>
            <a:schemeClr val="tx1"/>
          </a:solidFill>
          <a:latin typeface="+mn-lt"/>
          <a:ea typeface="+mn-ea"/>
          <a:cs typeface="+mn-cs"/>
        </a:defRPr>
      </a:lvl2pPr>
      <a:lvl3pPr marL="648000" indent="-216000" algn="l" defTabSz="914400" rtl="0" eaLnBrk="1" latinLnBrk="0" hangingPunct="1">
        <a:spcBef>
          <a:spcPts val="0"/>
        </a:spcBef>
        <a:buClrTx/>
        <a:buSzPct val="100000"/>
        <a:buFont typeface="Corbel" pitchFamily="34" charset="0"/>
        <a:buChar char="-"/>
        <a:defRPr sz="1800" kern="1200">
          <a:solidFill>
            <a:schemeClr val="tx1"/>
          </a:solidFill>
          <a:latin typeface="+mn-lt"/>
          <a:ea typeface="+mn-ea"/>
          <a:cs typeface="+mn-cs"/>
        </a:defRPr>
      </a:lvl3pPr>
      <a:lvl4pPr marL="0" indent="0" algn="l" defTabSz="914400" rtl="0" eaLnBrk="1" latinLnBrk="0" hangingPunct="1">
        <a:spcBef>
          <a:spcPts val="0"/>
        </a:spcBef>
        <a:buFont typeface="Corbel" pitchFamily="34" charset="0"/>
        <a:buNone/>
        <a:defRPr sz="2200" b="1" kern="1200">
          <a:solidFill>
            <a:schemeClr val="tx1"/>
          </a:solidFill>
          <a:latin typeface="+mn-lt"/>
          <a:ea typeface="+mn-ea"/>
          <a:cs typeface="+mn-cs"/>
        </a:defRPr>
      </a:lvl4pPr>
      <a:lvl5pPr marL="0" indent="0" algn="l" defTabSz="914400" rtl="0" eaLnBrk="1" latinLnBrk="0" hangingPunct="1">
        <a:spcBef>
          <a:spcPts val="0"/>
        </a:spcBef>
        <a:buFont typeface="Corbel" pitchFamily="34" charset="0"/>
        <a:buNone/>
        <a:defRPr sz="2200" kern="1200">
          <a:solidFill>
            <a:schemeClr val="tx1"/>
          </a:solidFill>
          <a:latin typeface="+mn-lt"/>
          <a:ea typeface="+mn-ea"/>
          <a:cs typeface="+mn-cs"/>
        </a:defRPr>
      </a:lvl5pPr>
      <a:lvl6pPr marL="216000" indent="0" algn="l" defTabSz="914400" rtl="0" eaLnBrk="1" latinLnBrk="0" hangingPunct="1">
        <a:spcBef>
          <a:spcPts val="0"/>
        </a:spcBef>
        <a:buFont typeface="Arial" pitchFamily="34" charset="0"/>
        <a:buNone/>
        <a:defRPr sz="2200" kern="1200">
          <a:solidFill>
            <a:schemeClr val="tx1"/>
          </a:solidFill>
          <a:latin typeface="+mn-lt"/>
          <a:ea typeface="+mn-ea"/>
          <a:cs typeface="+mn-cs"/>
        </a:defRPr>
      </a:lvl6pPr>
      <a:lvl7pPr marL="432000" indent="0" algn="l" defTabSz="914400" rtl="0" eaLnBrk="1" latinLnBrk="0" hangingPunct="1">
        <a:spcBef>
          <a:spcPts val="0"/>
        </a:spcBef>
        <a:buFont typeface="Arial" pitchFamily="34" charset="0"/>
        <a:buNone/>
        <a:defRPr sz="2200" kern="1200">
          <a:solidFill>
            <a:schemeClr val="tx1"/>
          </a:solidFill>
          <a:latin typeface="+mn-lt"/>
          <a:ea typeface="+mn-ea"/>
          <a:cs typeface="+mn-cs"/>
        </a:defRPr>
      </a:lvl7pPr>
      <a:lvl8pPr marL="648000" indent="0" algn="l" defTabSz="914400" rtl="0" eaLnBrk="1" latinLnBrk="0" hangingPunct="1">
        <a:spcBef>
          <a:spcPts val="0"/>
        </a:spcBef>
        <a:buFont typeface="Arial" pitchFamily="34" charset="0"/>
        <a:buNone/>
        <a:defRPr sz="1800" kern="1200">
          <a:solidFill>
            <a:schemeClr val="tx1"/>
          </a:solidFill>
          <a:latin typeface="+mn-lt"/>
          <a:ea typeface="+mn-ea"/>
          <a:cs typeface="+mn-cs"/>
        </a:defRPr>
      </a:lvl8pPr>
      <a:lvl9pPr marL="0" indent="0" algn="l" defTabSz="914400" rtl="0" eaLnBrk="1" latinLnBrk="0" hangingPunct="1">
        <a:spcBef>
          <a:spcPts val="0"/>
        </a:spcBef>
        <a:buFont typeface="Arial" pitchFamily="34" charset="0"/>
        <a:buNone/>
        <a:defRPr sz="14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33384471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848195-57A3-44A9-B2E4-69461356A0A8}"/>
              </a:ext>
            </a:extLst>
          </p:cNvPr>
          <p:cNvSpPr/>
          <p:nvPr userDrawn="1">
            <p:custDataLst>
              <p:tags r:id="rId38"/>
            </p:custDataLst>
          </p:nvPr>
        </p:nvSpPr>
        <p:spPr>
          <a:xfrm>
            <a:off x="0" y="0"/>
            <a:ext cx="158750" cy="158750"/>
          </a:xfrm>
          <a:prstGeom prst="rect">
            <a:avLst/>
          </a:prstGeom>
          <a:solidFill>
            <a:schemeClr val="bg1">
              <a:lumMod val="95000"/>
            </a:schemeClr>
          </a:solidFill>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90000"/>
              </a:lnSpc>
              <a:spcBef>
                <a:spcPts val="375"/>
              </a:spcBef>
              <a:spcAft>
                <a:spcPts val="0"/>
              </a:spcAft>
              <a:buClr>
                <a:schemeClr val="accent1"/>
              </a:buClr>
              <a:buSzTx/>
              <a:buFontTx/>
              <a:buNone/>
              <a:tabLst/>
            </a:pPr>
            <a:endParaRPr kumimoji="0" lang="nl-NL" sz="2800" b="1" i="0" u="none" strike="noStrike" kern="1200" cap="none" spc="0" normalizeH="0" baseline="0" noProof="0" err="1">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pSp>
        <p:nvGrpSpPr>
          <p:cNvPr id="11" name="Group 11">
            <a:extLst>
              <a:ext uri="{FF2B5EF4-FFF2-40B4-BE49-F238E27FC236}">
                <a16:creationId xmlns:a16="http://schemas.microsoft.com/office/drawing/2014/main" id="{61D53C77-5B12-4A68-8996-C158939B40D9}"/>
              </a:ext>
            </a:extLst>
          </p:cNvPr>
          <p:cNvGrpSpPr>
            <a:grpSpLocks/>
          </p:cNvGrpSpPr>
          <p:nvPr userDrawn="1"/>
        </p:nvGrpSpPr>
        <p:grpSpPr bwMode="auto">
          <a:xfrm>
            <a:off x="223714" y="302733"/>
            <a:ext cx="233074" cy="793147"/>
            <a:chOff x="115" y="102"/>
            <a:chExt cx="268" cy="912"/>
          </a:xfrm>
        </p:grpSpPr>
        <p:sp>
          <p:nvSpPr>
            <p:cNvPr id="14" name="Freeform 7">
              <a:extLst>
                <a:ext uri="{FF2B5EF4-FFF2-40B4-BE49-F238E27FC236}">
                  <a16:creationId xmlns:a16="http://schemas.microsoft.com/office/drawing/2014/main" id="{7609CFC7-E732-4E11-9A21-13B99366F545}"/>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sp>
          <p:nvSpPr>
            <p:cNvPr id="15" name="Freeform 8">
              <a:extLst>
                <a:ext uri="{FF2B5EF4-FFF2-40B4-BE49-F238E27FC236}">
                  <a16:creationId xmlns:a16="http://schemas.microsoft.com/office/drawing/2014/main" id="{3F5194B3-A6B3-48DC-8B66-64C53FCD7A0D}"/>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sp>
          <p:nvSpPr>
            <p:cNvPr id="16" name="Freeform 9">
              <a:extLst>
                <a:ext uri="{FF2B5EF4-FFF2-40B4-BE49-F238E27FC236}">
                  <a16:creationId xmlns:a16="http://schemas.microsoft.com/office/drawing/2014/main" id="{65AB6660-F832-44B8-9D11-99980143B01F}"/>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gr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72000" tIns="54000" rIns="72000" bIns="54000" rtlCol="0" anchor="b">
            <a:noAutofit/>
          </a:bodyPr>
          <a:lstStyle/>
          <a:p>
            <a:r>
              <a:rPr lang="nl-NL" noProof="0"/>
              <a:t>Klik om titel in te voegen</a:t>
            </a:r>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72000" tIns="54000" rIns="72000" bIns="54000" rtlCol="0">
            <a:noAutofit/>
          </a:bodyPr>
          <a:lstStyle/>
          <a:p>
            <a:pPr lvl="1"/>
            <a:r>
              <a:rPr lang="nl-NL" noProof="0"/>
              <a:t>Tekst</a:t>
            </a:r>
          </a:p>
          <a:p>
            <a:pPr lvl="2"/>
            <a:r>
              <a:rPr lang="nl-NL" noProof="0"/>
              <a:t>Tekst</a:t>
            </a:r>
          </a:p>
          <a:p>
            <a:pPr lvl="3"/>
            <a:r>
              <a:rPr lang="nl-NL" noProof="0"/>
              <a:t>Tekst</a:t>
            </a:r>
          </a:p>
          <a:p>
            <a:pPr lvl="4"/>
            <a:r>
              <a:rPr lang="nl-NL" noProof="0"/>
              <a:t>Tekst</a:t>
            </a:r>
          </a:p>
          <a:p>
            <a:pPr lvl="5"/>
            <a:r>
              <a:rPr lang="nl-NL" noProof="0"/>
              <a:t>Tekst</a:t>
            </a:r>
          </a:p>
          <a:p>
            <a:pPr lvl="6"/>
            <a:r>
              <a:rPr lang="nl-NL" noProof="0"/>
              <a:t>Tekst</a:t>
            </a:r>
          </a:p>
          <a:p>
            <a:pPr lvl="7"/>
            <a:r>
              <a:rPr lang="nl-NL" noProof="0"/>
              <a:t>Tekst</a:t>
            </a:r>
          </a:p>
          <a:p>
            <a:pPr lvl="8"/>
            <a:r>
              <a:rPr lang="nl-NL" noProof="0"/>
              <a:t>Tekst</a:t>
            </a:r>
          </a:p>
          <a:p>
            <a:pPr lvl="8"/>
            <a:endParaRPr lang="nl-NL" noProof="0"/>
          </a:p>
        </p:txBody>
      </p:sp>
      <p:sp>
        <p:nvSpPr>
          <p:cNvPr id="13" name="Footer Placeholder 12">
            <a:extLst>
              <a:ext uri="{FF2B5EF4-FFF2-40B4-BE49-F238E27FC236}">
                <a16:creationId xmlns:a16="http://schemas.microsoft.com/office/drawing/2014/main" id="{E1B012CD-240A-4B84-9270-B57DEB0856E1}"/>
              </a:ext>
            </a:extLst>
          </p:cNvPr>
          <p:cNvSpPr>
            <a:spLocks noGrp="1"/>
          </p:cNvSpPr>
          <p:nvPr>
            <p:ph type="ftr" sz="quarter" idx="3"/>
          </p:nvPr>
        </p:nvSpPr>
        <p:spPr>
          <a:xfrm>
            <a:off x="658813" y="6619875"/>
            <a:ext cx="9675812" cy="163512"/>
          </a:xfrm>
          <a:prstGeom prst="rect">
            <a:avLst/>
          </a:prstGeom>
        </p:spPr>
        <p:txBody>
          <a:bodyPr vert="horz" lIns="72000" tIns="18000" rIns="72000" bIns="18000" rtlCol="0" anchor="b"/>
          <a:lstStyle>
            <a:lvl1pPr algn="l">
              <a:defRPr sz="800">
                <a:solidFill>
                  <a:srgbClr val="000000"/>
                </a:solidFill>
                <a:latin typeface="+mn-lt"/>
              </a:defRPr>
            </a:lvl1pPr>
          </a:lstStyle>
          <a:p>
            <a:r>
              <a:rPr lang="nl-NL"/>
              <a:t>Informatiebijeenkomst 26 juli 2021 Europese Aanbesteding SVWI</a:t>
            </a:r>
          </a:p>
        </p:txBody>
      </p:sp>
      <p:sp>
        <p:nvSpPr>
          <p:cNvPr id="17" name="Slide Number Placeholder 16">
            <a:extLst>
              <a:ext uri="{FF2B5EF4-FFF2-40B4-BE49-F238E27FC236}">
                <a16:creationId xmlns:a16="http://schemas.microsoft.com/office/drawing/2014/main" id="{81D8C9C7-8523-4FC5-96C3-22AE670F7C7A}"/>
              </a:ext>
            </a:extLst>
          </p:cNvPr>
          <p:cNvSpPr>
            <a:spLocks noGrp="1"/>
          </p:cNvSpPr>
          <p:nvPr>
            <p:ph type="sldNum" sz="quarter" idx="4"/>
          </p:nvPr>
        </p:nvSpPr>
        <p:spPr>
          <a:xfrm>
            <a:off x="10510048" y="6619875"/>
            <a:ext cx="1023140" cy="168275"/>
          </a:xfrm>
          <a:prstGeom prst="rect">
            <a:avLst/>
          </a:prstGeom>
        </p:spPr>
        <p:txBody>
          <a:bodyPr vert="horz" lIns="91440" tIns="45720" rIns="91440" bIns="45720" rtlCol="0" anchor="ctr"/>
          <a:lstStyle>
            <a:lvl1pPr algn="r">
              <a:defRPr sz="1200">
                <a:solidFill>
                  <a:srgbClr val="000000"/>
                </a:solidFill>
                <a:latin typeface="+mn-lt"/>
              </a:defRPr>
            </a:lvl1pPr>
          </a:lstStyle>
          <a:p>
            <a:fld id="{992CD0B2-8AB2-4C6C-8876-E15753662C9B}" type="slidenum">
              <a:rPr lang="nl-NL" noProof="0" smtClean="0"/>
              <a:pPr/>
              <a:t>‹nr.›</a:t>
            </a:fld>
            <a:endParaRPr lang="nl-NL" noProof="0"/>
          </a:p>
        </p:txBody>
      </p:sp>
    </p:spTree>
    <p:extLst>
      <p:ext uri="{BB962C8B-B14F-4D97-AF65-F5344CB8AC3E}">
        <p14:creationId xmlns:p14="http://schemas.microsoft.com/office/powerpoint/2010/main" val="188551671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Lst>
  <p:hf hdr="0" dt="0"/>
  <p:txStyles>
    <p:titleStyle>
      <a:lvl1pPr algn="l" defTabSz="685800" rtl="0" eaLnBrk="1" latinLnBrk="0" hangingPunct="1">
        <a:lnSpc>
          <a:spcPct val="90000"/>
        </a:lnSpc>
        <a:spcBef>
          <a:spcPct val="0"/>
        </a:spcBef>
        <a:buNone/>
        <a:defRPr sz="2800" b="1" kern="1200">
          <a:solidFill>
            <a:schemeClr val="tx2"/>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9169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6" imgW="470" imgH="469" progId="TCLayout.ActiveDocument.1">
                  <p:embed/>
                </p:oleObj>
              </mc:Choice>
              <mc:Fallback>
                <p:oleObj name="think-cell Slide" r:id="rId36" imgW="470" imgH="469" progId="TCLayout.ActiveDocument.1">
                  <p:embed/>
                  <p:pic>
                    <p:nvPicPr>
                      <p:cNvPr id="4" name="Object 3" hidden="1"/>
                      <p:cNvPicPr/>
                      <p:nvPr/>
                    </p:nvPicPr>
                    <p:blipFill>
                      <a:blip r:embed="rId37"/>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A471AB-115F-49EC-AF68-81041E8F38DE}"/>
              </a:ext>
            </a:extLst>
          </p:cNvPr>
          <p:cNvSpPr/>
          <p:nvPr userDrawn="1">
            <p:custDataLst>
              <p:tags r:id="rId35"/>
            </p:custDataLst>
          </p:nvPr>
        </p:nvSpPr>
        <p:spPr>
          <a:xfrm>
            <a:off x="0" y="0"/>
            <a:ext cx="158750" cy="158750"/>
          </a:xfrm>
          <a:prstGeom prst="rect">
            <a:avLst/>
          </a:prstGeom>
          <a:solidFill>
            <a:schemeClr val="bg1">
              <a:lumMod val="95000"/>
            </a:schemeClr>
          </a:solidFill>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90000"/>
              </a:lnSpc>
              <a:spcBef>
                <a:spcPts val="375"/>
              </a:spcBef>
              <a:spcAft>
                <a:spcPts val="0"/>
              </a:spcAft>
              <a:buClr>
                <a:schemeClr val="accent1"/>
              </a:buClr>
              <a:buSzTx/>
              <a:buFontTx/>
              <a:buNone/>
              <a:tabLst/>
            </a:pPr>
            <a:endParaRPr kumimoji="0" lang="nl-NL" sz="2800" b="1" i="0" u="none" strike="noStrike" kern="1200" cap="none" spc="0" normalizeH="0" baseline="0" noProof="0" err="1">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pSp>
        <p:nvGrpSpPr>
          <p:cNvPr id="11" name="Group 11">
            <a:extLst>
              <a:ext uri="{FF2B5EF4-FFF2-40B4-BE49-F238E27FC236}">
                <a16:creationId xmlns:a16="http://schemas.microsoft.com/office/drawing/2014/main" id="{61D53C77-5B12-4A68-8996-C158939B40D9}"/>
              </a:ext>
            </a:extLst>
          </p:cNvPr>
          <p:cNvGrpSpPr>
            <a:grpSpLocks/>
          </p:cNvGrpSpPr>
          <p:nvPr userDrawn="1"/>
        </p:nvGrpSpPr>
        <p:grpSpPr bwMode="auto">
          <a:xfrm>
            <a:off x="223714" y="302733"/>
            <a:ext cx="233074" cy="793147"/>
            <a:chOff x="115" y="102"/>
            <a:chExt cx="268" cy="912"/>
          </a:xfrm>
        </p:grpSpPr>
        <p:sp>
          <p:nvSpPr>
            <p:cNvPr id="14" name="Freeform 7">
              <a:extLst>
                <a:ext uri="{FF2B5EF4-FFF2-40B4-BE49-F238E27FC236}">
                  <a16:creationId xmlns:a16="http://schemas.microsoft.com/office/drawing/2014/main" id="{7609CFC7-E732-4E11-9A21-13B99366F545}"/>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sp>
          <p:nvSpPr>
            <p:cNvPr id="15" name="Freeform 8">
              <a:extLst>
                <a:ext uri="{FF2B5EF4-FFF2-40B4-BE49-F238E27FC236}">
                  <a16:creationId xmlns:a16="http://schemas.microsoft.com/office/drawing/2014/main" id="{3F5194B3-A6B3-48DC-8B66-64C53FCD7A0D}"/>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sp>
          <p:nvSpPr>
            <p:cNvPr id="16" name="Freeform 9">
              <a:extLst>
                <a:ext uri="{FF2B5EF4-FFF2-40B4-BE49-F238E27FC236}">
                  <a16:creationId xmlns:a16="http://schemas.microsoft.com/office/drawing/2014/main" id="{65AB6660-F832-44B8-9D11-99980143B01F}"/>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gr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72000" tIns="54000" rIns="72000" bIns="54000" rtlCol="0" anchor="b">
            <a:noAutofit/>
          </a:bodyPr>
          <a:lstStyle/>
          <a:p>
            <a:r>
              <a:rPr lang="nl-NL" noProof="0"/>
              <a:t>Klik om titel in te voegen</a:t>
            </a:r>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72000" tIns="54000" rIns="72000" bIns="54000" rtlCol="0">
            <a:noAutofit/>
          </a:bodyPr>
          <a:lstStyle/>
          <a:p>
            <a:pPr lvl="1"/>
            <a:r>
              <a:rPr lang="nl-NL" noProof="0"/>
              <a:t>Tekst</a:t>
            </a:r>
          </a:p>
          <a:p>
            <a:pPr lvl="2"/>
            <a:r>
              <a:rPr lang="nl-NL" noProof="0"/>
              <a:t>Tekst</a:t>
            </a:r>
          </a:p>
          <a:p>
            <a:pPr lvl="3"/>
            <a:r>
              <a:rPr lang="nl-NL" noProof="0"/>
              <a:t>Tekst</a:t>
            </a:r>
          </a:p>
          <a:p>
            <a:pPr lvl="4"/>
            <a:r>
              <a:rPr lang="nl-NL" noProof="0"/>
              <a:t>Tekst</a:t>
            </a:r>
          </a:p>
          <a:p>
            <a:pPr lvl="5"/>
            <a:r>
              <a:rPr lang="nl-NL" noProof="0"/>
              <a:t>Tekst</a:t>
            </a:r>
          </a:p>
          <a:p>
            <a:pPr lvl="6"/>
            <a:r>
              <a:rPr lang="nl-NL" noProof="0"/>
              <a:t>Tekst</a:t>
            </a:r>
          </a:p>
          <a:p>
            <a:pPr lvl="7"/>
            <a:r>
              <a:rPr lang="nl-NL" noProof="0"/>
              <a:t>Tekst</a:t>
            </a:r>
          </a:p>
          <a:p>
            <a:pPr lvl="8"/>
            <a:r>
              <a:rPr lang="nl-NL" noProof="0"/>
              <a:t>Tekst</a:t>
            </a:r>
          </a:p>
          <a:p>
            <a:pPr lvl="8"/>
            <a:endParaRPr lang="nl-NL" noProof="0"/>
          </a:p>
        </p:txBody>
      </p:sp>
      <p:sp>
        <p:nvSpPr>
          <p:cNvPr id="13" name="Footer Placeholder 12">
            <a:extLst>
              <a:ext uri="{FF2B5EF4-FFF2-40B4-BE49-F238E27FC236}">
                <a16:creationId xmlns:a16="http://schemas.microsoft.com/office/drawing/2014/main" id="{E1B012CD-240A-4B84-9270-B57DEB0856E1}"/>
              </a:ext>
            </a:extLst>
          </p:cNvPr>
          <p:cNvSpPr>
            <a:spLocks noGrp="1"/>
          </p:cNvSpPr>
          <p:nvPr>
            <p:ph type="ftr" sz="quarter" idx="3"/>
          </p:nvPr>
        </p:nvSpPr>
        <p:spPr>
          <a:xfrm>
            <a:off x="658813" y="6619875"/>
            <a:ext cx="9675812" cy="163512"/>
          </a:xfrm>
          <a:prstGeom prst="rect">
            <a:avLst/>
          </a:prstGeom>
        </p:spPr>
        <p:txBody>
          <a:bodyPr vert="horz" lIns="72000" tIns="18000" rIns="72000" bIns="18000" rtlCol="0" anchor="b"/>
          <a:lstStyle>
            <a:lvl1pPr algn="l">
              <a:defRPr sz="800">
                <a:solidFill>
                  <a:srgbClr val="000000"/>
                </a:solidFill>
                <a:latin typeface="+mn-lt"/>
              </a:defRPr>
            </a:lvl1pPr>
          </a:lstStyle>
          <a:p>
            <a:r>
              <a:rPr lang="nl-NL"/>
              <a:t>Informatiebijeenkomst 26 juli 2021 Europese Aanbesteding SVWI</a:t>
            </a:r>
          </a:p>
        </p:txBody>
      </p:sp>
      <p:sp>
        <p:nvSpPr>
          <p:cNvPr id="17" name="Slide Number Placeholder 16">
            <a:extLst>
              <a:ext uri="{FF2B5EF4-FFF2-40B4-BE49-F238E27FC236}">
                <a16:creationId xmlns:a16="http://schemas.microsoft.com/office/drawing/2014/main" id="{81D8C9C7-8523-4FC5-96C3-22AE670F7C7A}"/>
              </a:ext>
            </a:extLst>
          </p:cNvPr>
          <p:cNvSpPr>
            <a:spLocks noGrp="1"/>
          </p:cNvSpPr>
          <p:nvPr>
            <p:ph type="sldNum" sz="quarter" idx="4"/>
          </p:nvPr>
        </p:nvSpPr>
        <p:spPr>
          <a:xfrm>
            <a:off x="10510048" y="6619875"/>
            <a:ext cx="1023140" cy="168275"/>
          </a:xfrm>
          <a:prstGeom prst="rect">
            <a:avLst/>
          </a:prstGeom>
        </p:spPr>
        <p:txBody>
          <a:bodyPr vert="horz" lIns="91440" tIns="45720" rIns="91440" bIns="45720" rtlCol="0" anchor="ctr"/>
          <a:lstStyle>
            <a:lvl1pPr algn="r">
              <a:defRPr sz="1200">
                <a:solidFill>
                  <a:srgbClr val="000000"/>
                </a:solidFill>
                <a:latin typeface="+mn-lt"/>
              </a:defRPr>
            </a:lvl1pPr>
          </a:lstStyle>
          <a:p>
            <a:fld id="{992CD0B2-8AB2-4C6C-8876-E15753662C9B}" type="slidenum">
              <a:rPr lang="nl-NL" noProof="0" smtClean="0"/>
              <a:pPr/>
              <a:t>‹nr.›</a:t>
            </a:fld>
            <a:endParaRPr lang="nl-NL" noProof="0"/>
          </a:p>
        </p:txBody>
      </p:sp>
    </p:spTree>
    <p:extLst>
      <p:ext uri="{BB962C8B-B14F-4D97-AF65-F5344CB8AC3E}">
        <p14:creationId xmlns:p14="http://schemas.microsoft.com/office/powerpoint/2010/main" val="410108085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58" r:id="rId26"/>
    <p:sldLayoutId id="2147483759" r:id="rId27"/>
    <p:sldLayoutId id="2147483760" r:id="rId28"/>
    <p:sldLayoutId id="2147483761" r:id="rId29"/>
    <p:sldLayoutId id="2147483762" r:id="rId30"/>
    <p:sldLayoutId id="2147483763" r:id="rId31"/>
    <p:sldLayoutId id="2147483764" r:id="rId32"/>
  </p:sldLayoutIdLst>
  <p:hf hdr="0" dt="0"/>
  <p:txStyles>
    <p:titleStyle>
      <a:lvl1pPr algn="l" defTabSz="685800" rtl="0" eaLnBrk="1" latinLnBrk="0" hangingPunct="1">
        <a:lnSpc>
          <a:spcPct val="90000"/>
        </a:lnSpc>
        <a:spcBef>
          <a:spcPct val="0"/>
        </a:spcBef>
        <a:buNone/>
        <a:defRPr sz="2800" b="1" kern="1200">
          <a:solidFill>
            <a:schemeClr val="tx2"/>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ext uri="{D42A27DB-BD31-4B8C-83A1-F6EECF244321}">
                <p14:modId xmlns:p14="http://schemas.microsoft.com/office/powerpoint/2010/main" val="37101208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0" imgW="470" imgH="469" progId="TCLayout.ActiveDocument.1">
                  <p:embed/>
                </p:oleObj>
              </mc:Choice>
              <mc:Fallback>
                <p:oleObj name="think-cell Slide" r:id="rId40" imgW="470" imgH="469" progId="TCLayout.ActiveDocument.1">
                  <p:embed/>
                  <p:pic>
                    <p:nvPicPr>
                      <p:cNvPr id="4" name="Object 3" hidden="1"/>
                      <p:cNvPicPr/>
                      <p:nvPr/>
                    </p:nvPicPr>
                    <p:blipFill>
                      <a:blip r:embed="rId41"/>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848195-57A3-44A9-B2E4-69461356A0A8}"/>
              </a:ext>
            </a:extLst>
          </p:cNvPr>
          <p:cNvSpPr/>
          <p:nvPr userDrawn="1">
            <p:custDataLst>
              <p:tags r:id="rId39"/>
            </p:custDataLst>
          </p:nvPr>
        </p:nvSpPr>
        <p:spPr>
          <a:xfrm>
            <a:off x="0" y="0"/>
            <a:ext cx="158750" cy="158750"/>
          </a:xfrm>
          <a:prstGeom prst="rect">
            <a:avLst/>
          </a:prstGeom>
          <a:solidFill>
            <a:schemeClr val="bg1">
              <a:lumMod val="95000"/>
            </a:schemeClr>
          </a:solidFill>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90000"/>
              </a:lnSpc>
              <a:spcBef>
                <a:spcPts val="375"/>
              </a:spcBef>
              <a:spcAft>
                <a:spcPts val="0"/>
              </a:spcAft>
              <a:buClr>
                <a:schemeClr val="accent1"/>
              </a:buClr>
              <a:buSzTx/>
              <a:buFontTx/>
              <a:buNone/>
              <a:tabLst/>
            </a:pPr>
            <a:endParaRPr kumimoji="0" lang="nl-NL" sz="2800" b="1" i="0" u="none" strike="noStrike" kern="1200" cap="none" spc="0" normalizeH="0" baseline="0" noProof="0" err="1">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pSp>
        <p:nvGrpSpPr>
          <p:cNvPr id="11" name="Group 11">
            <a:extLst>
              <a:ext uri="{FF2B5EF4-FFF2-40B4-BE49-F238E27FC236}">
                <a16:creationId xmlns:a16="http://schemas.microsoft.com/office/drawing/2014/main" id="{61D53C77-5B12-4A68-8996-C158939B40D9}"/>
              </a:ext>
            </a:extLst>
          </p:cNvPr>
          <p:cNvGrpSpPr>
            <a:grpSpLocks/>
          </p:cNvGrpSpPr>
          <p:nvPr userDrawn="1"/>
        </p:nvGrpSpPr>
        <p:grpSpPr bwMode="auto">
          <a:xfrm>
            <a:off x="223714" y="302733"/>
            <a:ext cx="233074" cy="793147"/>
            <a:chOff x="115" y="102"/>
            <a:chExt cx="268" cy="912"/>
          </a:xfrm>
        </p:grpSpPr>
        <p:sp>
          <p:nvSpPr>
            <p:cNvPr id="14" name="Freeform 7">
              <a:extLst>
                <a:ext uri="{FF2B5EF4-FFF2-40B4-BE49-F238E27FC236}">
                  <a16:creationId xmlns:a16="http://schemas.microsoft.com/office/drawing/2014/main" id="{7609CFC7-E732-4E11-9A21-13B99366F545}"/>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sp>
          <p:nvSpPr>
            <p:cNvPr id="15" name="Freeform 8">
              <a:extLst>
                <a:ext uri="{FF2B5EF4-FFF2-40B4-BE49-F238E27FC236}">
                  <a16:creationId xmlns:a16="http://schemas.microsoft.com/office/drawing/2014/main" id="{3F5194B3-A6B3-48DC-8B66-64C53FCD7A0D}"/>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sp>
          <p:nvSpPr>
            <p:cNvPr id="16" name="Freeform 9">
              <a:extLst>
                <a:ext uri="{FF2B5EF4-FFF2-40B4-BE49-F238E27FC236}">
                  <a16:creationId xmlns:a16="http://schemas.microsoft.com/office/drawing/2014/main" id="{65AB6660-F832-44B8-9D11-99980143B01F}"/>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gr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72000" tIns="54000" rIns="72000" bIns="54000" rtlCol="0" anchor="b">
            <a:noAutofit/>
          </a:bodyPr>
          <a:lstStyle/>
          <a:p>
            <a:r>
              <a:rPr lang="nl-NL" noProof="0"/>
              <a:t>Klik om titel in te voegen</a:t>
            </a:r>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72000" tIns="54000" rIns="72000" bIns="54000" rtlCol="0">
            <a:noAutofit/>
          </a:bodyPr>
          <a:lstStyle/>
          <a:p>
            <a:pPr lvl="1"/>
            <a:r>
              <a:rPr lang="nl-NL" noProof="0"/>
              <a:t>Tekst</a:t>
            </a:r>
          </a:p>
          <a:p>
            <a:pPr lvl="2"/>
            <a:r>
              <a:rPr lang="nl-NL" noProof="0"/>
              <a:t>Tekst</a:t>
            </a:r>
          </a:p>
          <a:p>
            <a:pPr lvl="3"/>
            <a:r>
              <a:rPr lang="nl-NL" noProof="0"/>
              <a:t>Tekst</a:t>
            </a:r>
          </a:p>
          <a:p>
            <a:pPr lvl="4"/>
            <a:r>
              <a:rPr lang="nl-NL" noProof="0"/>
              <a:t>Tekst</a:t>
            </a:r>
          </a:p>
          <a:p>
            <a:pPr lvl="5"/>
            <a:r>
              <a:rPr lang="nl-NL" noProof="0"/>
              <a:t>Tekst</a:t>
            </a:r>
          </a:p>
          <a:p>
            <a:pPr lvl="6"/>
            <a:r>
              <a:rPr lang="nl-NL" noProof="0"/>
              <a:t>Tekst</a:t>
            </a:r>
          </a:p>
          <a:p>
            <a:pPr lvl="7"/>
            <a:r>
              <a:rPr lang="nl-NL" noProof="0"/>
              <a:t>Tekst</a:t>
            </a:r>
          </a:p>
          <a:p>
            <a:pPr lvl="8"/>
            <a:r>
              <a:rPr lang="nl-NL" noProof="0"/>
              <a:t>Tekst</a:t>
            </a:r>
          </a:p>
          <a:p>
            <a:pPr lvl="8"/>
            <a:endParaRPr lang="nl-NL" noProof="0"/>
          </a:p>
        </p:txBody>
      </p:sp>
      <p:sp>
        <p:nvSpPr>
          <p:cNvPr id="13" name="Footer Placeholder 12">
            <a:extLst>
              <a:ext uri="{FF2B5EF4-FFF2-40B4-BE49-F238E27FC236}">
                <a16:creationId xmlns:a16="http://schemas.microsoft.com/office/drawing/2014/main" id="{E1B012CD-240A-4B84-9270-B57DEB0856E1}"/>
              </a:ext>
            </a:extLst>
          </p:cNvPr>
          <p:cNvSpPr>
            <a:spLocks noGrp="1"/>
          </p:cNvSpPr>
          <p:nvPr>
            <p:ph type="ftr" sz="quarter" idx="3"/>
          </p:nvPr>
        </p:nvSpPr>
        <p:spPr>
          <a:xfrm>
            <a:off x="658813" y="6619875"/>
            <a:ext cx="9675812" cy="163512"/>
          </a:xfrm>
          <a:prstGeom prst="rect">
            <a:avLst/>
          </a:prstGeom>
        </p:spPr>
        <p:txBody>
          <a:bodyPr vert="horz" lIns="72000" tIns="18000" rIns="72000" bIns="18000" rtlCol="0" anchor="b"/>
          <a:lstStyle>
            <a:lvl1pPr algn="l">
              <a:defRPr sz="800">
                <a:solidFill>
                  <a:srgbClr val="000000"/>
                </a:solidFill>
                <a:latin typeface="+mn-lt"/>
              </a:defRPr>
            </a:lvl1pPr>
          </a:lstStyle>
          <a:p>
            <a:r>
              <a:rPr lang="nl-NL"/>
              <a:t>Informatiebijeenkomst 26 juli 2021 Europese Aanbesteding SVWI</a:t>
            </a:r>
          </a:p>
        </p:txBody>
      </p:sp>
      <p:sp>
        <p:nvSpPr>
          <p:cNvPr id="17" name="Slide Number Placeholder 16">
            <a:extLst>
              <a:ext uri="{FF2B5EF4-FFF2-40B4-BE49-F238E27FC236}">
                <a16:creationId xmlns:a16="http://schemas.microsoft.com/office/drawing/2014/main" id="{81D8C9C7-8523-4FC5-96C3-22AE670F7C7A}"/>
              </a:ext>
            </a:extLst>
          </p:cNvPr>
          <p:cNvSpPr>
            <a:spLocks noGrp="1"/>
          </p:cNvSpPr>
          <p:nvPr>
            <p:ph type="sldNum" sz="quarter" idx="4"/>
          </p:nvPr>
        </p:nvSpPr>
        <p:spPr>
          <a:xfrm>
            <a:off x="10510048" y="6619875"/>
            <a:ext cx="1023140" cy="168275"/>
          </a:xfrm>
          <a:prstGeom prst="rect">
            <a:avLst/>
          </a:prstGeom>
        </p:spPr>
        <p:txBody>
          <a:bodyPr vert="horz" lIns="91440" tIns="45720" rIns="91440" bIns="45720" rtlCol="0" anchor="ctr"/>
          <a:lstStyle>
            <a:lvl1pPr algn="r">
              <a:defRPr sz="1200">
                <a:solidFill>
                  <a:srgbClr val="000000"/>
                </a:solidFill>
                <a:latin typeface="+mn-lt"/>
              </a:defRPr>
            </a:lvl1pPr>
          </a:lstStyle>
          <a:p>
            <a:fld id="{992CD0B2-8AB2-4C6C-8876-E15753662C9B}" type="slidenum">
              <a:rPr lang="nl-NL" noProof="0" smtClean="0"/>
              <a:pPr/>
              <a:t>‹nr.›</a:t>
            </a:fld>
            <a:endParaRPr lang="nl-NL" noProof="0"/>
          </a:p>
        </p:txBody>
      </p:sp>
    </p:spTree>
    <p:extLst>
      <p:ext uri="{BB962C8B-B14F-4D97-AF65-F5344CB8AC3E}">
        <p14:creationId xmlns:p14="http://schemas.microsoft.com/office/powerpoint/2010/main" val="2575345547"/>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 id="2147483793" r:id="rId28"/>
    <p:sldLayoutId id="2147483794" r:id="rId29"/>
    <p:sldLayoutId id="2147483795" r:id="rId30"/>
    <p:sldLayoutId id="2147483796" r:id="rId31"/>
    <p:sldLayoutId id="2147483797" r:id="rId32"/>
    <p:sldLayoutId id="2147483798" r:id="rId33"/>
    <p:sldLayoutId id="2147483799" r:id="rId34"/>
    <p:sldLayoutId id="2147483800" r:id="rId35"/>
    <p:sldLayoutId id="2147483801" r:id="rId36"/>
  </p:sldLayoutIdLst>
  <p:hf hdr="0" dt="0"/>
  <p:txStyles>
    <p:titleStyle>
      <a:lvl1pPr algn="l" defTabSz="685800" rtl="0" eaLnBrk="1" latinLnBrk="0" hangingPunct="1">
        <a:lnSpc>
          <a:spcPct val="90000"/>
        </a:lnSpc>
        <a:spcBef>
          <a:spcPct val="0"/>
        </a:spcBef>
        <a:buNone/>
        <a:defRPr sz="2800" b="1" kern="1200">
          <a:solidFill>
            <a:schemeClr val="tx2"/>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37564758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8" imgW="470" imgH="469" progId="TCLayout.ActiveDocument.1">
                  <p:embed/>
                </p:oleObj>
              </mc:Choice>
              <mc:Fallback>
                <p:oleObj name="think-cell Slide" r:id="rId38" imgW="470" imgH="469" progId="TCLayout.ActiveDocument.1">
                  <p:embed/>
                  <p:pic>
                    <p:nvPicPr>
                      <p:cNvPr id="4" name="Object 3" hidden="1"/>
                      <p:cNvPicPr/>
                      <p:nvPr/>
                    </p:nvPicPr>
                    <p:blipFill>
                      <a:blip r:embed="rId39"/>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A471AB-115F-49EC-AF68-81041E8F38DE}"/>
              </a:ext>
            </a:extLst>
          </p:cNvPr>
          <p:cNvSpPr/>
          <p:nvPr userDrawn="1">
            <p:custDataLst>
              <p:tags r:id="rId37"/>
            </p:custDataLst>
          </p:nvPr>
        </p:nvSpPr>
        <p:spPr>
          <a:xfrm>
            <a:off x="0" y="0"/>
            <a:ext cx="158750" cy="158750"/>
          </a:xfrm>
          <a:prstGeom prst="rect">
            <a:avLst/>
          </a:prstGeom>
          <a:solidFill>
            <a:schemeClr val="bg1">
              <a:lumMod val="95000"/>
            </a:schemeClr>
          </a:solidFill>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90000"/>
              </a:lnSpc>
              <a:spcBef>
                <a:spcPts val="375"/>
              </a:spcBef>
              <a:spcAft>
                <a:spcPts val="0"/>
              </a:spcAft>
              <a:buClr>
                <a:schemeClr val="accent1"/>
              </a:buClr>
              <a:buSzTx/>
              <a:buFontTx/>
              <a:buNone/>
              <a:tabLst/>
            </a:pPr>
            <a:endParaRPr kumimoji="0" lang="nl-NL" sz="2800" b="1" i="0" u="none" strike="noStrike" kern="1200" cap="none" spc="0" normalizeH="0" baseline="0" noProof="0" err="1">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pSp>
        <p:nvGrpSpPr>
          <p:cNvPr id="11" name="Group 11">
            <a:extLst>
              <a:ext uri="{FF2B5EF4-FFF2-40B4-BE49-F238E27FC236}">
                <a16:creationId xmlns:a16="http://schemas.microsoft.com/office/drawing/2014/main" id="{61D53C77-5B12-4A68-8996-C158939B40D9}"/>
              </a:ext>
            </a:extLst>
          </p:cNvPr>
          <p:cNvGrpSpPr>
            <a:grpSpLocks/>
          </p:cNvGrpSpPr>
          <p:nvPr userDrawn="1"/>
        </p:nvGrpSpPr>
        <p:grpSpPr bwMode="auto">
          <a:xfrm>
            <a:off x="223714" y="302733"/>
            <a:ext cx="233074" cy="793147"/>
            <a:chOff x="115" y="102"/>
            <a:chExt cx="268" cy="912"/>
          </a:xfrm>
        </p:grpSpPr>
        <p:sp>
          <p:nvSpPr>
            <p:cNvPr id="14" name="Freeform 7">
              <a:extLst>
                <a:ext uri="{FF2B5EF4-FFF2-40B4-BE49-F238E27FC236}">
                  <a16:creationId xmlns:a16="http://schemas.microsoft.com/office/drawing/2014/main" id="{7609CFC7-E732-4E11-9A21-13B99366F545}"/>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sp>
          <p:nvSpPr>
            <p:cNvPr id="15" name="Freeform 8">
              <a:extLst>
                <a:ext uri="{FF2B5EF4-FFF2-40B4-BE49-F238E27FC236}">
                  <a16:creationId xmlns:a16="http://schemas.microsoft.com/office/drawing/2014/main" id="{3F5194B3-A6B3-48DC-8B66-64C53FCD7A0D}"/>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sp>
          <p:nvSpPr>
            <p:cNvPr id="16" name="Freeform 9">
              <a:extLst>
                <a:ext uri="{FF2B5EF4-FFF2-40B4-BE49-F238E27FC236}">
                  <a16:creationId xmlns:a16="http://schemas.microsoft.com/office/drawing/2014/main" id="{65AB6660-F832-44B8-9D11-99980143B01F}"/>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gr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72000" tIns="54000" rIns="72000" bIns="54000" rtlCol="0" anchor="b">
            <a:noAutofit/>
          </a:bodyPr>
          <a:lstStyle/>
          <a:p>
            <a:r>
              <a:rPr lang="nl-NL" noProof="0"/>
              <a:t>Klik om titel in te voegen</a:t>
            </a:r>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72000" tIns="54000" rIns="72000" bIns="54000" rtlCol="0">
            <a:noAutofit/>
          </a:bodyPr>
          <a:lstStyle/>
          <a:p>
            <a:pPr lvl="1"/>
            <a:r>
              <a:rPr lang="nl-NL" noProof="0"/>
              <a:t>Tekst</a:t>
            </a:r>
          </a:p>
          <a:p>
            <a:pPr lvl="2"/>
            <a:r>
              <a:rPr lang="nl-NL" noProof="0"/>
              <a:t>Tekst</a:t>
            </a:r>
          </a:p>
          <a:p>
            <a:pPr lvl="3"/>
            <a:r>
              <a:rPr lang="nl-NL" noProof="0"/>
              <a:t>Tekst</a:t>
            </a:r>
          </a:p>
          <a:p>
            <a:pPr lvl="4"/>
            <a:r>
              <a:rPr lang="nl-NL" noProof="0"/>
              <a:t>Tekst</a:t>
            </a:r>
          </a:p>
          <a:p>
            <a:pPr lvl="5"/>
            <a:r>
              <a:rPr lang="nl-NL" noProof="0"/>
              <a:t>Tekst</a:t>
            </a:r>
          </a:p>
          <a:p>
            <a:pPr lvl="6"/>
            <a:r>
              <a:rPr lang="nl-NL" noProof="0"/>
              <a:t>Tekst</a:t>
            </a:r>
          </a:p>
          <a:p>
            <a:pPr lvl="7"/>
            <a:r>
              <a:rPr lang="nl-NL" noProof="0"/>
              <a:t>Tekst</a:t>
            </a:r>
          </a:p>
          <a:p>
            <a:pPr lvl="8"/>
            <a:r>
              <a:rPr lang="nl-NL" noProof="0"/>
              <a:t>Tekst</a:t>
            </a:r>
          </a:p>
          <a:p>
            <a:pPr lvl="8"/>
            <a:endParaRPr lang="nl-NL" noProof="0"/>
          </a:p>
        </p:txBody>
      </p:sp>
      <p:sp>
        <p:nvSpPr>
          <p:cNvPr id="13" name="Footer Placeholder 12">
            <a:extLst>
              <a:ext uri="{FF2B5EF4-FFF2-40B4-BE49-F238E27FC236}">
                <a16:creationId xmlns:a16="http://schemas.microsoft.com/office/drawing/2014/main" id="{E1B012CD-240A-4B84-9270-B57DEB0856E1}"/>
              </a:ext>
            </a:extLst>
          </p:cNvPr>
          <p:cNvSpPr>
            <a:spLocks noGrp="1"/>
          </p:cNvSpPr>
          <p:nvPr>
            <p:ph type="ftr" sz="quarter" idx="3"/>
          </p:nvPr>
        </p:nvSpPr>
        <p:spPr>
          <a:xfrm>
            <a:off x="658813" y="6619875"/>
            <a:ext cx="9675812" cy="163512"/>
          </a:xfrm>
          <a:prstGeom prst="rect">
            <a:avLst/>
          </a:prstGeom>
        </p:spPr>
        <p:txBody>
          <a:bodyPr vert="horz" lIns="72000" tIns="18000" rIns="72000" bIns="18000" rtlCol="0" anchor="b"/>
          <a:lstStyle>
            <a:lvl1pPr algn="l">
              <a:defRPr sz="800">
                <a:solidFill>
                  <a:srgbClr val="000000"/>
                </a:solidFill>
                <a:latin typeface="+mn-lt"/>
              </a:defRPr>
            </a:lvl1pPr>
          </a:lstStyle>
          <a:p>
            <a:r>
              <a:rPr lang="nl-NL"/>
              <a:t>Informatiebijeenkomst 26 juli 2021 Europese Aanbesteding SVWI</a:t>
            </a:r>
          </a:p>
        </p:txBody>
      </p:sp>
      <p:sp>
        <p:nvSpPr>
          <p:cNvPr id="17" name="Slide Number Placeholder 16">
            <a:extLst>
              <a:ext uri="{FF2B5EF4-FFF2-40B4-BE49-F238E27FC236}">
                <a16:creationId xmlns:a16="http://schemas.microsoft.com/office/drawing/2014/main" id="{81D8C9C7-8523-4FC5-96C3-22AE670F7C7A}"/>
              </a:ext>
            </a:extLst>
          </p:cNvPr>
          <p:cNvSpPr>
            <a:spLocks noGrp="1"/>
          </p:cNvSpPr>
          <p:nvPr>
            <p:ph type="sldNum" sz="quarter" idx="4"/>
          </p:nvPr>
        </p:nvSpPr>
        <p:spPr>
          <a:xfrm>
            <a:off x="10510048" y="6619875"/>
            <a:ext cx="1023140" cy="168275"/>
          </a:xfrm>
          <a:prstGeom prst="rect">
            <a:avLst/>
          </a:prstGeom>
        </p:spPr>
        <p:txBody>
          <a:bodyPr vert="horz" lIns="91440" tIns="45720" rIns="91440" bIns="45720" rtlCol="0" anchor="ctr"/>
          <a:lstStyle>
            <a:lvl1pPr algn="r">
              <a:defRPr sz="1200">
                <a:solidFill>
                  <a:srgbClr val="000000"/>
                </a:solidFill>
                <a:latin typeface="+mn-lt"/>
              </a:defRPr>
            </a:lvl1pPr>
          </a:lstStyle>
          <a:p>
            <a:fld id="{992CD0B2-8AB2-4C6C-8876-E15753662C9B}" type="slidenum">
              <a:rPr lang="nl-NL" noProof="0" smtClean="0"/>
              <a:pPr/>
              <a:t>‹nr.›</a:t>
            </a:fld>
            <a:endParaRPr lang="nl-NL" noProof="0"/>
          </a:p>
        </p:txBody>
      </p:sp>
    </p:spTree>
    <p:extLst>
      <p:ext uri="{BB962C8B-B14F-4D97-AF65-F5344CB8AC3E}">
        <p14:creationId xmlns:p14="http://schemas.microsoft.com/office/powerpoint/2010/main" val="2801276302"/>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 id="2147484059" r:id="rId33"/>
    <p:sldLayoutId id="2147484060" r:id="rId34"/>
  </p:sldLayoutIdLst>
  <p:hf hdr="0" dt="0"/>
  <p:txStyles>
    <p:titleStyle>
      <a:lvl1pPr algn="l" defTabSz="685800" rtl="0" eaLnBrk="1" latinLnBrk="0" hangingPunct="1">
        <a:lnSpc>
          <a:spcPct val="90000"/>
        </a:lnSpc>
        <a:spcBef>
          <a:spcPct val="0"/>
        </a:spcBef>
        <a:buNone/>
        <a:defRPr sz="2800" b="1" kern="1200">
          <a:solidFill>
            <a:schemeClr val="tx2"/>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08909899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6" imgW="470" imgH="469" progId="TCLayout.ActiveDocument.1">
                  <p:embed/>
                </p:oleObj>
              </mc:Choice>
              <mc:Fallback>
                <p:oleObj name="think-cell Slide" r:id="rId36" imgW="470" imgH="469" progId="TCLayout.ActiveDocument.1">
                  <p:embed/>
                  <p:pic>
                    <p:nvPicPr>
                      <p:cNvPr id="4" name="Object 3" hidden="1"/>
                      <p:cNvPicPr/>
                      <p:nvPr/>
                    </p:nvPicPr>
                    <p:blipFill>
                      <a:blip r:embed="rId37"/>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A471AB-115F-49EC-AF68-81041E8F38DE}"/>
              </a:ext>
            </a:extLst>
          </p:cNvPr>
          <p:cNvSpPr/>
          <p:nvPr userDrawn="1">
            <p:custDataLst>
              <p:tags r:id="rId35"/>
            </p:custDataLst>
          </p:nvPr>
        </p:nvSpPr>
        <p:spPr>
          <a:xfrm>
            <a:off x="0" y="0"/>
            <a:ext cx="158750" cy="158750"/>
          </a:xfrm>
          <a:prstGeom prst="rect">
            <a:avLst/>
          </a:prstGeom>
          <a:solidFill>
            <a:schemeClr val="bg1">
              <a:lumMod val="95000"/>
            </a:schemeClr>
          </a:solidFill>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90000"/>
              </a:lnSpc>
              <a:spcBef>
                <a:spcPts val="375"/>
              </a:spcBef>
              <a:spcAft>
                <a:spcPts val="0"/>
              </a:spcAft>
              <a:buClr>
                <a:schemeClr val="accent1"/>
              </a:buClr>
              <a:buSzTx/>
              <a:buFontTx/>
              <a:buNone/>
              <a:tabLst/>
            </a:pPr>
            <a:endParaRPr kumimoji="0" lang="nl-NL" sz="2800" b="1" i="0" u="none" strike="noStrike" kern="1200" cap="none" spc="0" normalizeH="0" baseline="0" noProof="0" err="1">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pSp>
        <p:nvGrpSpPr>
          <p:cNvPr id="11" name="Group 11">
            <a:extLst>
              <a:ext uri="{FF2B5EF4-FFF2-40B4-BE49-F238E27FC236}">
                <a16:creationId xmlns:a16="http://schemas.microsoft.com/office/drawing/2014/main" id="{61D53C77-5B12-4A68-8996-C158939B40D9}"/>
              </a:ext>
            </a:extLst>
          </p:cNvPr>
          <p:cNvGrpSpPr>
            <a:grpSpLocks/>
          </p:cNvGrpSpPr>
          <p:nvPr userDrawn="1"/>
        </p:nvGrpSpPr>
        <p:grpSpPr bwMode="auto">
          <a:xfrm>
            <a:off x="223714" y="302733"/>
            <a:ext cx="233074" cy="793147"/>
            <a:chOff x="115" y="102"/>
            <a:chExt cx="268" cy="912"/>
          </a:xfrm>
        </p:grpSpPr>
        <p:sp>
          <p:nvSpPr>
            <p:cNvPr id="14" name="Freeform 7">
              <a:extLst>
                <a:ext uri="{FF2B5EF4-FFF2-40B4-BE49-F238E27FC236}">
                  <a16:creationId xmlns:a16="http://schemas.microsoft.com/office/drawing/2014/main" id="{7609CFC7-E732-4E11-9A21-13B99366F545}"/>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sp>
          <p:nvSpPr>
            <p:cNvPr id="15" name="Freeform 8">
              <a:extLst>
                <a:ext uri="{FF2B5EF4-FFF2-40B4-BE49-F238E27FC236}">
                  <a16:creationId xmlns:a16="http://schemas.microsoft.com/office/drawing/2014/main" id="{3F5194B3-A6B3-48DC-8B66-64C53FCD7A0D}"/>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sp>
          <p:nvSpPr>
            <p:cNvPr id="16" name="Freeform 9">
              <a:extLst>
                <a:ext uri="{FF2B5EF4-FFF2-40B4-BE49-F238E27FC236}">
                  <a16:creationId xmlns:a16="http://schemas.microsoft.com/office/drawing/2014/main" id="{65AB6660-F832-44B8-9D11-99980143B01F}"/>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gr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72000" tIns="54000" rIns="72000" bIns="54000" rtlCol="0" anchor="b">
            <a:noAutofit/>
          </a:bodyPr>
          <a:lstStyle/>
          <a:p>
            <a:r>
              <a:rPr lang="nl-NL" noProof="0"/>
              <a:t>Klik om titel in te voegen</a:t>
            </a:r>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72000" tIns="54000" rIns="72000" bIns="54000" rtlCol="0">
            <a:noAutofit/>
          </a:bodyPr>
          <a:lstStyle/>
          <a:p>
            <a:pPr lvl="1"/>
            <a:r>
              <a:rPr lang="nl-NL" noProof="0"/>
              <a:t>Tekst</a:t>
            </a:r>
          </a:p>
          <a:p>
            <a:pPr lvl="2"/>
            <a:r>
              <a:rPr lang="nl-NL" noProof="0"/>
              <a:t>Tekst</a:t>
            </a:r>
          </a:p>
          <a:p>
            <a:pPr lvl="3"/>
            <a:r>
              <a:rPr lang="nl-NL" noProof="0"/>
              <a:t>Tekst</a:t>
            </a:r>
          </a:p>
          <a:p>
            <a:pPr lvl="4"/>
            <a:r>
              <a:rPr lang="nl-NL" noProof="0"/>
              <a:t>Tekst</a:t>
            </a:r>
          </a:p>
          <a:p>
            <a:pPr lvl="5"/>
            <a:r>
              <a:rPr lang="nl-NL" noProof="0"/>
              <a:t>Tekst</a:t>
            </a:r>
          </a:p>
          <a:p>
            <a:pPr lvl="6"/>
            <a:r>
              <a:rPr lang="nl-NL" noProof="0"/>
              <a:t>Tekst</a:t>
            </a:r>
          </a:p>
          <a:p>
            <a:pPr lvl="7"/>
            <a:r>
              <a:rPr lang="nl-NL" noProof="0"/>
              <a:t>Tekst</a:t>
            </a:r>
          </a:p>
          <a:p>
            <a:pPr lvl="8"/>
            <a:r>
              <a:rPr lang="nl-NL" noProof="0"/>
              <a:t>Tekst</a:t>
            </a:r>
          </a:p>
          <a:p>
            <a:pPr lvl="8"/>
            <a:endParaRPr lang="nl-NL" noProof="0"/>
          </a:p>
        </p:txBody>
      </p:sp>
      <p:sp>
        <p:nvSpPr>
          <p:cNvPr id="13" name="Footer Placeholder 12">
            <a:extLst>
              <a:ext uri="{FF2B5EF4-FFF2-40B4-BE49-F238E27FC236}">
                <a16:creationId xmlns:a16="http://schemas.microsoft.com/office/drawing/2014/main" id="{E1B012CD-240A-4B84-9270-B57DEB0856E1}"/>
              </a:ext>
            </a:extLst>
          </p:cNvPr>
          <p:cNvSpPr>
            <a:spLocks noGrp="1"/>
          </p:cNvSpPr>
          <p:nvPr>
            <p:ph type="ftr" sz="quarter" idx="3"/>
          </p:nvPr>
        </p:nvSpPr>
        <p:spPr>
          <a:xfrm>
            <a:off x="658813" y="6619875"/>
            <a:ext cx="9675812" cy="163512"/>
          </a:xfrm>
          <a:prstGeom prst="rect">
            <a:avLst/>
          </a:prstGeom>
        </p:spPr>
        <p:txBody>
          <a:bodyPr vert="horz" lIns="72000" tIns="18000" rIns="72000" bIns="18000" rtlCol="0" anchor="b"/>
          <a:lstStyle>
            <a:lvl1pPr algn="l">
              <a:defRPr sz="800">
                <a:solidFill>
                  <a:srgbClr val="000000"/>
                </a:solidFill>
                <a:latin typeface="+mn-lt"/>
              </a:defRPr>
            </a:lvl1pPr>
          </a:lstStyle>
          <a:p>
            <a:r>
              <a:rPr lang="nl-NL"/>
              <a:t>Informatiebijeenkomst 26 juli 2021 Europese Aanbesteding SVWI</a:t>
            </a:r>
          </a:p>
        </p:txBody>
      </p:sp>
      <p:sp>
        <p:nvSpPr>
          <p:cNvPr id="17" name="Slide Number Placeholder 16">
            <a:extLst>
              <a:ext uri="{FF2B5EF4-FFF2-40B4-BE49-F238E27FC236}">
                <a16:creationId xmlns:a16="http://schemas.microsoft.com/office/drawing/2014/main" id="{81D8C9C7-8523-4FC5-96C3-22AE670F7C7A}"/>
              </a:ext>
            </a:extLst>
          </p:cNvPr>
          <p:cNvSpPr>
            <a:spLocks noGrp="1"/>
          </p:cNvSpPr>
          <p:nvPr>
            <p:ph type="sldNum" sz="quarter" idx="4"/>
          </p:nvPr>
        </p:nvSpPr>
        <p:spPr>
          <a:xfrm>
            <a:off x="10510048" y="6619875"/>
            <a:ext cx="1023140" cy="168275"/>
          </a:xfrm>
          <a:prstGeom prst="rect">
            <a:avLst/>
          </a:prstGeom>
        </p:spPr>
        <p:txBody>
          <a:bodyPr vert="horz" lIns="91440" tIns="45720" rIns="91440" bIns="45720" rtlCol="0" anchor="ctr"/>
          <a:lstStyle>
            <a:lvl1pPr algn="r">
              <a:defRPr sz="1200">
                <a:solidFill>
                  <a:srgbClr val="000000"/>
                </a:solidFill>
                <a:latin typeface="+mn-lt"/>
              </a:defRPr>
            </a:lvl1pPr>
          </a:lstStyle>
          <a:p>
            <a:fld id="{992CD0B2-8AB2-4C6C-8876-E15753662C9B}" type="slidenum">
              <a:rPr lang="nl-NL" noProof="0" smtClean="0"/>
              <a:pPr/>
              <a:t>‹nr.›</a:t>
            </a:fld>
            <a:endParaRPr lang="nl-NL" noProof="0"/>
          </a:p>
        </p:txBody>
      </p:sp>
    </p:spTree>
    <p:extLst>
      <p:ext uri="{BB962C8B-B14F-4D97-AF65-F5344CB8AC3E}">
        <p14:creationId xmlns:p14="http://schemas.microsoft.com/office/powerpoint/2010/main" val="36254511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 id="2147483858" r:id="rId23"/>
    <p:sldLayoutId id="2147483859" r:id="rId24"/>
    <p:sldLayoutId id="2147483860" r:id="rId25"/>
    <p:sldLayoutId id="2147483861" r:id="rId26"/>
    <p:sldLayoutId id="2147483862" r:id="rId27"/>
    <p:sldLayoutId id="2147483863" r:id="rId28"/>
    <p:sldLayoutId id="2147483864" r:id="rId29"/>
    <p:sldLayoutId id="2147483865" r:id="rId30"/>
    <p:sldLayoutId id="2147483866" r:id="rId31"/>
    <p:sldLayoutId id="2147483867" r:id="rId32"/>
  </p:sldLayoutIdLst>
  <p:hf hdr="0" dt="0"/>
  <p:txStyles>
    <p:titleStyle>
      <a:lvl1pPr algn="l" defTabSz="685800" rtl="0" eaLnBrk="1" latinLnBrk="0" hangingPunct="1">
        <a:lnSpc>
          <a:spcPct val="90000"/>
        </a:lnSpc>
        <a:spcBef>
          <a:spcPct val="0"/>
        </a:spcBef>
        <a:buNone/>
        <a:defRPr sz="2800" b="1" kern="1200">
          <a:solidFill>
            <a:schemeClr val="tx2"/>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16151126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8" imgW="470" imgH="469" progId="TCLayout.ActiveDocument.1">
                  <p:embed/>
                </p:oleObj>
              </mc:Choice>
              <mc:Fallback>
                <p:oleObj name="think-cell Slide" r:id="rId38" imgW="470" imgH="469" progId="TCLayout.ActiveDocument.1">
                  <p:embed/>
                  <p:pic>
                    <p:nvPicPr>
                      <p:cNvPr id="4" name="Object 3" hidden="1"/>
                      <p:cNvPicPr/>
                      <p:nvPr/>
                    </p:nvPicPr>
                    <p:blipFill>
                      <a:blip r:embed="rId39"/>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848195-57A3-44A9-B2E4-69461356A0A8}"/>
              </a:ext>
            </a:extLst>
          </p:cNvPr>
          <p:cNvSpPr/>
          <p:nvPr userDrawn="1">
            <p:custDataLst>
              <p:tags r:id="rId37"/>
            </p:custDataLst>
          </p:nvPr>
        </p:nvSpPr>
        <p:spPr>
          <a:xfrm>
            <a:off x="0" y="0"/>
            <a:ext cx="158750" cy="158750"/>
          </a:xfrm>
          <a:prstGeom prst="rect">
            <a:avLst/>
          </a:prstGeom>
          <a:solidFill>
            <a:schemeClr val="bg1">
              <a:lumMod val="95000"/>
            </a:schemeClr>
          </a:solidFill>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90000"/>
              </a:lnSpc>
              <a:spcBef>
                <a:spcPts val="375"/>
              </a:spcBef>
              <a:spcAft>
                <a:spcPts val="0"/>
              </a:spcAft>
              <a:buClr>
                <a:schemeClr val="accent1"/>
              </a:buClr>
              <a:buSzTx/>
              <a:buFontTx/>
              <a:buNone/>
              <a:tabLst/>
            </a:pPr>
            <a:endParaRPr kumimoji="0" lang="nl-NL" sz="2800" b="1" i="0" u="none" strike="noStrike" kern="1200" cap="none" spc="0" normalizeH="0" baseline="0" noProof="0" err="1">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pSp>
        <p:nvGrpSpPr>
          <p:cNvPr id="11" name="Group 11">
            <a:extLst>
              <a:ext uri="{FF2B5EF4-FFF2-40B4-BE49-F238E27FC236}">
                <a16:creationId xmlns:a16="http://schemas.microsoft.com/office/drawing/2014/main" id="{61D53C77-5B12-4A68-8996-C158939B40D9}"/>
              </a:ext>
            </a:extLst>
          </p:cNvPr>
          <p:cNvGrpSpPr>
            <a:grpSpLocks/>
          </p:cNvGrpSpPr>
          <p:nvPr userDrawn="1"/>
        </p:nvGrpSpPr>
        <p:grpSpPr bwMode="auto">
          <a:xfrm>
            <a:off x="223714" y="302733"/>
            <a:ext cx="233074" cy="793147"/>
            <a:chOff x="115" y="102"/>
            <a:chExt cx="268" cy="912"/>
          </a:xfrm>
        </p:grpSpPr>
        <p:sp>
          <p:nvSpPr>
            <p:cNvPr id="14" name="Freeform 7">
              <a:extLst>
                <a:ext uri="{FF2B5EF4-FFF2-40B4-BE49-F238E27FC236}">
                  <a16:creationId xmlns:a16="http://schemas.microsoft.com/office/drawing/2014/main" id="{7609CFC7-E732-4E11-9A21-13B99366F545}"/>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sp>
          <p:nvSpPr>
            <p:cNvPr id="15" name="Freeform 8">
              <a:extLst>
                <a:ext uri="{FF2B5EF4-FFF2-40B4-BE49-F238E27FC236}">
                  <a16:creationId xmlns:a16="http://schemas.microsoft.com/office/drawing/2014/main" id="{3F5194B3-A6B3-48DC-8B66-64C53FCD7A0D}"/>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sp>
          <p:nvSpPr>
            <p:cNvPr id="16" name="Freeform 9">
              <a:extLst>
                <a:ext uri="{FF2B5EF4-FFF2-40B4-BE49-F238E27FC236}">
                  <a16:creationId xmlns:a16="http://schemas.microsoft.com/office/drawing/2014/main" id="{65AB6660-F832-44B8-9D11-99980143B01F}"/>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noProof="0"/>
            </a:p>
          </p:txBody>
        </p:sp>
      </p:gr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72000" tIns="54000" rIns="72000" bIns="54000" rtlCol="0" anchor="b">
            <a:noAutofit/>
          </a:bodyPr>
          <a:lstStyle/>
          <a:p>
            <a:r>
              <a:rPr lang="nl-NL" noProof="0"/>
              <a:t>Klik om titel in te voegen</a:t>
            </a:r>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72000" tIns="54000" rIns="72000" bIns="54000" rtlCol="0">
            <a:noAutofit/>
          </a:bodyPr>
          <a:lstStyle/>
          <a:p>
            <a:pPr lvl="1"/>
            <a:r>
              <a:rPr lang="nl-NL" noProof="0"/>
              <a:t>Tekst</a:t>
            </a:r>
          </a:p>
          <a:p>
            <a:pPr lvl="2"/>
            <a:r>
              <a:rPr lang="nl-NL" noProof="0"/>
              <a:t>Tekst</a:t>
            </a:r>
          </a:p>
          <a:p>
            <a:pPr lvl="3"/>
            <a:r>
              <a:rPr lang="nl-NL" noProof="0"/>
              <a:t>Tekst</a:t>
            </a:r>
          </a:p>
          <a:p>
            <a:pPr lvl="4"/>
            <a:r>
              <a:rPr lang="nl-NL" noProof="0"/>
              <a:t>Tekst</a:t>
            </a:r>
          </a:p>
          <a:p>
            <a:pPr lvl="5"/>
            <a:r>
              <a:rPr lang="nl-NL" noProof="0"/>
              <a:t>Tekst</a:t>
            </a:r>
          </a:p>
          <a:p>
            <a:pPr lvl="6"/>
            <a:r>
              <a:rPr lang="nl-NL" noProof="0"/>
              <a:t>Tekst</a:t>
            </a:r>
          </a:p>
          <a:p>
            <a:pPr lvl="7"/>
            <a:r>
              <a:rPr lang="nl-NL" noProof="0"/>
              <a:t>Tekst</a:t>
            </a:r>
          </a:p>
          <a:p>
            <a:pPr lvl="8"/>
            <a:r>
              <a:rPr lang="nl-NL" noProof="0"/>
              <a:t>Tekst</a:t>
            </a:r>
          </a:p>
          <a:p>
            <a:pPr lvl="8"/>
            <a:endParaRPr lang="nl-NL" noProof="0"/>
          </a:p>
        </p:txBody>
      </p:sp>
      <p:sp>
        <p:nvSpPr>
          <p:cNvPr id="13" name="Footer Placeholder 12">
            <a:extLst>
              <a:ext uri="{FF2B5EF4-FFF2-40B4-BE49-F238E27FC236}">
                <a16:creationId xmlns:a16="http://schemas.microsoft.com/office/drawing/2014/main" id="{E1B012CD-240A-4B84-9270-B57DEB0856E1}"/>
              </a:ext>
            </a:extLst>
          </p:cNvPr>
          <p:cNvSpPr>
            <a:spLocks noGrp="1"/>
          </p:cNvSpPr>
          <p:nvPr>
            <p:ph type="ftr" sz="quarter" idx="3"/>
          </p:nvPr>
        </p:nvSpPr>
        <p:spPr>
          <a:xfrm>
            <a:off x="658813" y="6619875"/>
            <a:ext cx="9675812" cy="163512"/>
          </a:xfrm>
          <a:prstGeom prst="rect">
            <a:avLst/>
          </a:prstGeom>
        </p:spPr>
        <p:txBody>
          <a:bodyPr vert="horz" lIns="72000" tIns="18000" rIns="72000" bIns="18000" rtlCol="0" anchor="b"/>
          <a:lstStyle>
            <a:lvl1pPr algn="l">
              <a:defRPr sz="800">
                <a:solidFill>
                  <a:srgbClr val="000000"/>
                </a:solidFill>
                <a:latin typeface="+mn-lt"/>
              </a:defRPr>
            </a:lvl1pPr>
          </a:lstStyle>
          <a:p>
            <a:r>
              <a:rPr lang="nl-NL"/>
              <a:t>Informatiebijeenkomst 26 juli 2021 Europese Aanbesteding SVWI</a:t>
            </a:r>
          </a:p>
        </p:txBody>
      </p:sp>
      <p:sp>
        <p:nvSpPr>
          <p:cNvPr id="17" name="Slide Number Placeholder 16">
            <a:extLst>
              <a:ext uri="{FF2B5EF4-FFF2-40B4-BE49-F238E27FC236}">
                <a16:creationId xmlns:a16="http://schemas.microsoft.com/office/drawing/2014/main" id="{81D8C9C7-8523-4FC5-96C3-22AE670F7C7A}"/>
              </a:ext>
            </a:extLst>
          </p:cNvPr>
          <p:cNvSpPr>
            <a:spLocks noGrp="1"/>
          </p:cNvSpPr>
          <p:nvPr>
            <p:ph type="sldNum" sz="quarter" idx="4"/>
          </p:nvPr>
        </p:nvSpPr>
        <p:spPr>
          <a:xfrm>
            <a:off x="10510048" y="6619875"/>
            <a:ext cx="1023140" cy="168275"/>
          </a:xfrm>
          <a:prstGeom prst="rect">
            <a:avLst/>
          </a:prstGeom>
        </p:spPr>
        <p:txBody>
          <a:bodyPr vert="horz" lIns="91440" tIns="45720" rIns="91440" bIns="45720" rtlCol="0" anchor="ctr"/>
          <a:lstStyle>
            <a:lvl1pPr algn="r">
              <a:defRPr sz="1200">
                <a:solidFill>
                  <a:srgbClr val="000000"/>
                </a:solidFill>
                <a:latin typeface="+mn-lt"/>
              </a:defRPr>
            </a:lvl1pPr>
          </a:lstStyle>
          <a:p>
            <a:fld id="{992CD0B2-8AB2-4C6C-8876-E15753662C9B}" type="slidenum">
              <a:rPr lang="nl-NL" noProof="0" smtClean="0"/>
              <a:pPr/>
              <a:t>‹nr.›</a:t>
            </a:fld>
            <a:endParaRPr lang="nl-NL" noProof="0"/>
          </a:p>
        </p:txBody>
      </p:sp>
    </p:spTree>
    <p:extLst>
      <p:ext uri="{BB962C8B-B14F-4D97-AF65-F5344CB8AC3E}">
        <p14:creationId xmlns:p14="http://schemas.microsoft.com/office/powerpoint/2010/main" val="238384513"/>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 id="2147483890" r:id="rId22"/>
    <p:sldLayoutId id="2147483891" r:id="rId23"/>
    <p:sldLayoutId id="2147483892" r:id="rId24"/>
    <p:sldLayoutId id="2147483893" r:id="rId25"/>
    <p:sldLayoutId id="2147483894" r:id="rId26"/>
    <p:sldLayoutId id="2147483895" r:id="rId27"/>
    <p:sldLayoutId id="2147483896" r:id="rId28"/>
    <p:sldLayoutId id="2147483897" r:id="rId29"/>
    <p:sldLayoutId id="2147483898" r:id="rId30"/>
    <p:sldLayoutId id="2147483899" r:id="rId31"/>
    <p:sldLayoutId id="2147483900" r:id="rId32"/>
    <p:sldLayoutId id="2147483901" r:id="rId33"/>
    <p:sldLayoutId id="2147483902" r:id="rId34"/>
  </p:sldLayoutIdLst>
  <p:hf hdr="0" dt="0"/>
  <p:txStyles>
    <p:titleStyle>
      <a:lvl1pPr algn="l" defTabSz="685800" rtl="0" eaLnBrk="1" latinLnBrk="0" hangingPunct="1">
        <a:lnSpc>
          <a:spcPct val="90000"/>
        </a:lnSpc>
        <a:spcBef>
          <a:spcPct val="0"/>
        </a:spcBef>
        <a:buNone/>
        <a:defRPr sz="2800" b="1" kern="1200">
          <a:solidFill>
            <a:schemeClr val="tx2"/>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ext uri="{D42A27DB-BD31-4B8C-83A1-F6EECF244321}">
                <p14:modId xmlns:p14="http://schemas.microsoft.com/office/powerpoint/2010/main" val="4090863252"/>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9" y="1589"/>
                        <a:ext cx="2116" cy="1587"/>
                      </a:xfrm>
                      <a:prstGeom prst="rect">
                        <a:avLst/>
                      </a:prstGeom>
                    </p:spPr>
                  </p:pic>
                </p:oleObj>
              </mc:Fallback>
            </mc:AlternateContent>
          </a:graphicData>
        </a:graphic>
      </p:graphicFrame>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9" y="266699"/>
            <a:ext cx="10866441" cy="930276"/>
          </a:xfrm>
          <a:prstGeom prst="rect">
            <a:avLst/>
          </a:prstGeom>
        </p:spPr>
        <p:txBody>
          <a:bodyPr vert="horz" lIns="36000" tIns="36000" rIns="36000" bIns="36000" rtlCol="0" anchor="b">
            <a:noAutofit/>
          </a:bodyPr>
          <a:lstStyle/>
          <a:p>
            <a:r>
              <a:rPr lang="en-US"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9"/>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1" y="6630742"/>
            <a:ext cx="579727"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dirty="0"/>
          </a:p>
        </p:txBody>
      </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9" y="6619877"/>
            <a:ext cx="1023140" cy="163513"/>
          </a:xfrm>
          <a:prstGeom prst="rect">
            <a:avLst/>
          </a:prstGeom>
        </p:spPr>
        <p:txBody>
          <a:bodyPr lIns="0" tIns="0" rIns="72000" bIns="0"/>
          <a:lstStyle>
            <a:lvl1pPr algn="r">
              <a:defRPr sz="1000">
                <a:latin typeface="+mj-lt"/>
              </a:defRPr>
            </a:lvl1pPr>
          </a:lstStyle>
          <a:p>
            <a:fld id="{992CD0B2-8AB2-4C6C-8876-E15753662C9B}" type="slidenum">
              <a:rPr lang="nl-NL" smtClean="0"/>
              <a:pPr/>
              <a:t>‹nr.›</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5" y="6619875"/>
            <a:ext cx="9799639" cy="163512"/>
          </a:xfrm>
          <a:prstGeom prst="rect">
            <a:avLst/>
          </a:prstGeom>
        </p:spPr>
        <p:txBody>
          <a:bodyPr vert="horz" lIns="91440" tIns="45720" rIns="91440" bIns="45720" rtlCol="0" anchor="ctr"/>
          <a:lstStyle>
            <a:lvl1pPr algn="l">
              <a:defRPr sz="800">
                <a:solidFill>
                  <a:srgbClr val="000000"/>
                </a:solidFill>
                <a:latin typeface="+mn-lt"/>
              </a:defRPr>
            </a:lvl1pPr>
          </a:lstStyle>
          <a:p>
            <a:r>
              <a:rPr lang="nl-NL"/>
              <a:t>Informatiebijeenkomst 26 juli 2021 Europese Aanbesteding SVWI</a:t>
            </a:r>
            <a:endParaRPr lang="nl-NL" dirty="0"/>
          </a:p>
        </p:txBody>
      </p:sp>
      <p:grpSp>
        <p:nvGrpSpPr>
          <p:cNvPr id="24" name="Group 11">
            <a:extLst>
              <a:ext uri="{FF2B5EF4-FFF2-40B4-BE49-F238E27FC236}">
                <a16:creationId xmlns:a16="http://schemas.microsoft.com/office/drawing/2014/main" id="{46E26165-3158-4C95-9819-D892D1C62CD9}"/>
              </a:ext>
            </a:extLst>
          </p:cNvPr>
          <p:cNvGrpSpPr>
            <a:grpSpLocks/>
          </p:cNvGrpSpPr>
          <p:nvPr userDrawn="1"/>
        </p:nvGrpSpPr>
        <p:grpSpPr bwMode="auto">
          <a:xfrm>
            <a:off x="223713" y="302733"/>
            <a:ext cx="233075" cy="793147"/>
            <a:chOff x="115" y="102"/>
            <a:chExt cx="268" cy="912"/>
          </a:xfrm>
        </p:grpSpPr>
        <p:sp>
          <p:nvSpPr>
            <p:cNvPr id="25" name="Freeform 7">
              <a:extLst>
                <a:ext uri="{FF2B5EF4-FFF2-40B4-BE49-F238E27FC236}">
                  <a16:creationId xmlns:a16="http://schemas.microsoft.com/office/drawing/2014/main" id="{ABB2F9DF-4E29-4EB1-9EB9-ADBFA7E49559}"/>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sz="1800" noProof="0"/>
            </a:p>
          </p:txBody>
        </p:sp>
        <p:sp>
          <p:nvSpPr>
            <p:cNvPr id="27" name="Freeform 8">
              <a:extLst>
                <a:ext uri="{FF2B5EF4-FFF2-40B4-BE49-F238E27FC236}">
                  <a16:creationId xmlns:a16="http://schemas.microsoft.com/office/drawing/2014/main" id="{CE91C077-81F9-4645-9B4F-5F9D5B75CDC6}"/>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sz="1800" noProof="0"/>
            </a:p>
          </p:txBody>
        </p:sp>
        <p:sp>
          <p:nvSpPr>
            <p:cNvPr id="28" name="Freeform 9">
              <a:extLst>
                <a:ext uri="{FF2B5EF4-FFF2-40B4-BE49-F238E27FC236}">
                  <a16:creationId xmlns:a16="http://schemas.microsoft.com/office/drawing/2014/main" id="{96B96A56-52F8-496C-A447-E60CB4B87C92}"/>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sz="1800" noProof="0"/>
            </a:p>
          </p:txBody>
        </p:sp>
      </p:grpSp>
    </p:spTree>
    <p:extLst>
      <p:ext uri="{BB962C8B-B14F-4D97-AF65-F5344CB8AC3E}">
        <p14:creationId xmlns:p14="http://schemas.microsoft.com/office/powerpoint/2010/main" val="2028288408"/>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 id="2147483927" r:id="rId23"/>
    <p:sldLayoutId id="2147483928" r:id="rId24"/>
    <p:sldLayoutId id="2147483929" r:id="rId25"/>
    <p:sldLayoutId id="2147483930" r:id="rId26"/>
    <p:sldLayoutId id="2147483931" r:id="rId27"/>
    <p:sldLayoutId id="2147483932" r:id="rId28"/>
    <p:sldLayoutId id="2147483933" r:id="rId29"/>
    <p:sldLayoutId id="2147483934" r:id="rId30"/>
    <p:sldLayoutId id="2147483935" r:id="rId31"/>
    <p:sldLayoutId id="2147483936" r:id="rId32"/>
    <p:sldLayoutId id="2147483937" r:id="rId33"/>
    <p:sldLayoutId id="2147483938" r:id="rId34"/>
    <p:sldLayoutId id="2147483940" r:id="rId35"/>
    <p:sldLayoutId id="2147483941" r:id="rId36"/>
  </p:sldLayoutIdLst>
  <p:hf hdr="0" dt="0"/>
  <p:txStyles>
    <p:titleStyle>
      <a:lvl1pPr algn="l" defTabSz="685783" rtl="0" eaLnBrk="1" latinLnBrk="0" hangingPunct="1">
        <a:lnSpc>
          <a:spcPct val="90000"/>
        </a:lnSpc>
        <a:spcBef>
          <a:spcPct val="0"/>
        </a:spcBef>
        <a:buNone/>
        <a:defRPr sz="2800" b="1" kern="1200">
          <a:solidFill>
            <a:schemeClr val="tx2"/>
          </a:solidFill>
          <a:latin typeface="Corbel" panose="020B0503020204020204" pitchFamily="34" charset="0"/>
          <a:ea typeface="+mj-ea"/>
          <a:cs typeface="+mj-cs"/>
        </a:defRPr>
      </a:lvl1pPr>
    </p:titleStyle>
    <p:bodyStyle>
      <a:lvl1pPr marL="0" indent="0" algn="l" defTabSz="685783" rtl="0" eaLnBrk="1" latinLnBrk="0" hangingPunct="1">
        <a:lnSpc>
          <a:spcPct val="90000"/>
        </a:lnSpc>
        <a:spcBef>
          <a:spcPts val="751"/>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4" indent="-185734" algn="l" defTabSz="685783"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79" indent="-176209" algn="l" defTabSz="685783"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12" indent="-180970" algn="l" defTabSz="685783"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57" indent="-171446" algn="l" defTabSz="685783"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28" indent="-180970" algn="l" defTabSz="685783"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298" indent="-180970" algn="l" defTabSz="685783"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269" indent="-180970" algn="l" defTabSz="685783"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39" indent="-180970" algn="l" defTabSz="685783"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3001625423"/>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40" imgW="270" imgH="270" progId="TCLayout.ActiveDocument.1">
                  <p:embed/>
                </p:oleObj>
              </mc:Choice>
              <mc:Fallback>
                <p:oleObj name="think-cell Slide" r:id="rId40" imgW="270" imgH="270" progId="TCLayout.ActiveDocument.1">
                  <p:embed/>
                  <p:pic>
                    <p:nvPicPr>
                      <p:cNvPr id="2" name="Object 1" hidden="1"/>
                      <p:cNvPicPr/>
                      <p:nvPr/>
                    </p:nvPicPr>
                    <p:blipFill>
                      <a:blip r:embed="rId41"/>
                      <a:stretch>
                        <a:fillRect/>
                      </a:stretch>
                    </p:blipFill>
                    <p:spPr>
                      <a:xfrm>
                        <a:off x="0" y="0"/>
                        <a:ext cx="215979" cy="16197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13A703-F189-4854-97A2-C10D7EE5C491}"/>
              </a:ext>
            </a:extLst>
          </p:cNvPr>
          <p:cNvSpPr/>
          <p:nvPr userDrawn="1">
            <p:custDataLst>
              <p:tags r:id="rId7"/>
            </p:custDataLst>
          </p:nvPr>
        </p:nvSpPr>
        <p:spPr>
          <a:xfrm>
            <a:off x="0" y="0"/>
            <a:ext cx="161977"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449" b="1" i="0" baseline="0" dirty="0">
              <a:solidFill>
                <a:schemeClr val="tx1"/>
              </a:solidFill>
              <a:latin typeface="Corbel" panose="020B0503020204020204" pitchFamily="34" charset="0"/>
              <a:ea typeface="+mj-ea"/>
              <a:cs typeface="+mj-cs"/>
              <a:sym typeface="Corbel" panose="020B0503020204020204" pitchFamily="34" charset="0"/>
            </a:endParaRPr>
          </a:p>
        </p:txBody>
      </p:sp>
      <p:sp>
        <p:nvSpPr>
          <p:cNvPr id="1036" name="Rectangle 286"/>
          <p:cNvSpPr>
            <a:spLocks noGrp="1" noChangeArrowheads="1"/>
          </p:cNvSpPr>
          <p:nvPr>
            <p:ph type="body" idx="1"/>
          </p:nvPr>
        </p:nvSpPr>
        <p:spPr bwMode="gray">
          <a:xfrm>
            <a:off x="839041" y="2698440"/>
            <a:ext cx="1111970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noProof="0" dirty="0"/>
              <a:t>Edit Master text styles</a:t>
            </a:r>
          </a:p>
          <a:p>
            <a:pPr lvl="1"/>
            <a:r>
              <a:rPr lang="nl-NL" noProof="0" dirty="0"/>
              <a:t>Second level</a:t>
            </a:r>
          </a:p>
          <a:p>
            <a:pPr lvl="2"/>
            <a:r>
              <a:rPr lang="nl-NL" noProof="0" dirty="0"/>
              <a:t>Third level</a:t>
            </a:r>
          </a:p>
          <a:p>
            <a:pPr lvl="3"/>
            <a:r>
              <a:rPr lang="nl-NL" noProof="0" dirty="0"/>
              <a:t>Fourth level</a:t>
            </a:r>
          </a:p>
          <a:p>
            <a:pPr lvl="4"/>
            <a:r>
              <a:rPr lang="nl-NL" noProof="0" dirty="0"/>
              <a:t>Fifth level</a:t>
            </a:r>
          </a:p>
        </p:txBody>
      </p:sp>
      <p:sp>
        <p:nvSpPr>
          <p:cNvPr id="19" name="Title Placeholder 2"/>
          <p:cNvSpPr>
            <a:spLocks noGrp="1" noChangeArrowheads="1"/>
          </p:cNvSpPr>
          <p:nvPr>
            <p:ph type="title"/>
          </p:nvPr>
        </p:nvSpPr>
        <p:spPr bwMode="gray">
          <a:xfrm>
            <a:off x="839041" y="283037"/>
            <a:ext cx="1111970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dirty="0"/>
              <a:t>Click to edit Master title style</a:t>
            </a:r>
          </a:p>
        </p:txBody>
      </p:sp>
      <p:sp>
        <p:nvSpPr>
          <p:cNvPr id="13" name="4. Footnote" hidden="1"/>
          <p:cNvSpPr txBox="1">
            <a:spLocks noChangeArrowheads="1"/>
          </p:cNvSpPr>
          <p:nvPr/>
        </p:nvSpPr>
        <p:spPr bwMode="gray">
          <a:xfrm>
            <a:off x="233259" y="6193144"/>
            <a:ext cx="117254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846" indent="-85846">
              <a:defRPr/>
            </a:pPr>
            <a:r>
              <a:rPr lang="nl-NL" sz="1020" baseline="0" noProof="0" dirty="0">
                <a:latin typeface="+mn-lt"/>
              </a:rPr>
              <a:t>1 Voetnoot </a:t>
            </a:r>
          </a:p>
        </p:txBody>
      </p:sp>
      <p:sp>
        <p:nvSpPr>
          <p:cNvPr id="14" name="5. Source" hidden="1"/>
          <p:cNvSpPr>
            <a:spLocks noChangeArrowheads="1"/>
          </p:cNvSpPr>
          <p:nvPr/>
        </p:nvSpPr>
        <p:spPr bwMode="gray">
          <a:xfrm>
            <a:off x="233259" y="6408862"/>
            <a:ext cx="11254650"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marL="319087" indent="-319087" defTabSz="913526">
              <a:tabLst/>
            </a:pPr>
            <a:r>
              <a:rPr lang="nl-NL" sz="1020" baseline="0" noProof="0" dirty="0">
                <a:solidFill>
                  <a:srgbClr val="000000"/>
                </a:solidFill>
                <a:latin typeface="+mn-lt"/>
              </a:rPr>
              <a:t>Bron: Bron</a:t>
            </a:r>
          </a:p>
        </p:txBody>
      </p:sp>
      <p:grpSp>
        <p:nvGrpSpPr>
          <p:cNvPr id="15" name="ACET" hidden="1"/>
          <p:cNvGrpSpPr>
            <a:grpSpLocks/>
          </p:cNvGrpSpPr>
          <p:nvPr/>
        </p:nvGrpSpPr>
        <p:grpSpPr bwMode="gray">
          <a:xfrm>
            <a:off x="233258" y="1895475"/>
            <a:ext cx="2317942" cy="531276"/>
            <a:chOff x="915" y="702"/>
            <a:chExt cx="2686" cy="328"/>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nl-NL" sz="1632" b="1" baseline="0" noProof="0" dirty="0">
                  <a:latin typeface="+mn-lt"/>
                  <a:ea typeface="+mn-ea"/>
                </a:rPr>
                <a:t>Titel</a:t>
              </a:r>
            </a:p>
            <a:p>
              <a:r>
                <a:rPr lang="nl-NL" sz="1632" baseline="0" noProof="0" dirty="0">
                  <a:solidFill>
                    <a:schemeClr val="tx1"/>
                  </a:solidFill>
                  <a:latin typeface="+mn-lt"/>
                  <a:ea typeface="+mn-ea"/>
                </a:rPr>
                <a:t>Meeteenheid</a:t>
              </a:r>
            </a:p>
          </p:txBody>
        </p:sp>
      </p:grpSp>
      <p:sp>
        <p:nvSpPr>
          <p:cNvPr id="3" name="pg number"/>
          <p:cNvSpPr>
            <a:spLocks/>
          </p:cNvSpPr>
          <p:nvPr/>
        </p:nvSpPr>
        <p:spPr bwMode="gray">
          <a:xfrm>
            <a:off x="11729760" y="6407190"/>
            <a:ext cx="228982" cy="160154"/>
          </a:xfrm>
          <a:prstGeom prst="rect">
            <a:avLst/>
          </a:prstGeom>
        </p:spPr>
        <p:txBody>
          <a:bodyPr vert="horz" wrap="none" lIns="0" tIns="0" rIns="0" bIns="0" rtlCol="0" anchor="ctr">
            <a:spAutoFit/>
          </a:bodyPr>
          <a:lstStyle/>
          <a:p>
            <a:pPr lvl="0" algn="r"/>
            <a:fld id="{42C328C1-A84F-4A39-A664-DBA00541A8C6}" type="slidenum">
              <a:rPr lang="nl-NL" sz="1020" noProof="0" smtClean="0">
                <a:latin typeface="+mn-lt"/>
              </a:rPr>
              <a:pPr lvl="0" algn="r"/>
              <a:t>‹nr.›</a:t>
            </a:fld>
            <a:endParaRPr lang="nl-NL" sz="1020" baseline="0" noProof="0" dirty="0">
              <a:solidFill>
                <a:schemeClr val="tx1"/>
              </a:solidFill>
              <a:latin typeface="+mn-lt"/>
            </a:endParaRPr>
          </a:p>
        </p:txBody>
      </p:sp>
      <p:sp>
        <p:nvSpPr>
          <p:cNvPr id="11" name="3. Unit of measure" hidden="1"/>
          <p:cNvSpPr txBox="1">
            <a:spLocks noChangeArrowheads="1"/>
          </p:cNvSpPr>
          <p:nvPr/>
        </p:nvSpPr>
        <p:spPr bwMode="gray">
          <a:xfrm>
            <a:off x="839041" y="721487"/>
            <a:ext cx="1111970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549088" algn="l"/>
              </a:tabLst>
              <a:defRPr/>
            </a:pPr>
            <a:r>
              <a:rPr lang="nl-NL" sz="1632" baseline="0" noProof="0" dirty="0">
                <a:solidFill>
                  <a:schemeClr val="tx1"/>
                </a:solidFill>
                <a:latin typeface="+mn-lt"/>
              </a:rPr>
              <a:t>Meeteenheid</a:t>
            </a:r>
          </a:p>
        </p:txBody>
      </p:sp>
      <p:sp>
        <p:nvSpPr>
          <p:cNvPr id="77" name="1. On-page tracker" hidden="1"/>
          <p:cNvSpPr>
            <a:spLocks noChangeArrowheads="1"/>
          </p:cNvSpPr>
          <p:nvPr/>
        </p:nvSpPr>
        <p:spPr bwMode="gray">
          <a:xfrm>
            <a:off x="839040" y="45940"/>
            <a:ext cx="768531"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549088" algn="l"/>
              </a:tabLst>
            </a:pPr>
            <a:r>
              <a:rPr lang="nl-NL" sz="1428" cap="all" baseline="0" dirty="0">
                <a:latin typeface="+mn-lt"/>
                <a:ea typeface="+mj-ea"/>
              </a:rPr>
              <a:t>TRACKER</a:t>
            </a:r>
          </a:p>
        </p:txBody>
      </p:sp>
      <p:sp>
        <p:nvSpPr>
          <p:cNvPr id="93" name="Oval" hidden="1"/>
          <p:cNvSpPr txBox="1">
            <a:spLocks/>
          </p:cNvSpPr>
          <p:nvPr>
            <p:custDataLst>
              <p:tags r:id="rId8"/>
            </p:custDataLst>
          </p:nvPr>
        </p:nvSpPr>
        <p:spPr bwMode="gray">
          <a:xfrm>
            <a:off x="6878923" y="1451179"/>
            <a:ext cx="1554978" cy="1554955"/>
          </a:xfrm>
          <a:prstGeom prst="ellipse">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731" tIns="36731" rIns="36731" bIns="36731"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a:r>
              <a:rPr lang="nl-NL" sz="1632" dirty="0">
                <a:latin typeface="+mn-lt"/>
              </a:rPr>
              <a:t>Text</a:t>
            </a:r>
          </a:p>
        </p:txBody>
      </p:sp>
      <p:sp>
        <p:nvSpPr>
          <p:cNvPr id="94" name="Body3" hidden="1"/>
          <p:cNvSpPr txBox="1">
            <a:spLocks/>
          </p:cNvSpPr>
          <p:nvPr>
            <p:custDataLst>
              <p:tags r:id="rId9"/>
            </p:custDataLst>
          </p:nvPr>
        </p:nvSpPr>
        <p:spPr bwMode="gray">
          <a:xfrm>
            <a:off x="3492958" y="1451179"/>
            <a:ext cx="1554978" cy="1554955"/>
          </a:xfrm>
          <a:prstGeom prst="rect">
            <a:avLst/>
          </a:prstGeom>
          <a:solidFill>
            <a:schemeClr val="accent1"/>
          </a:solidFill>
          <a:ln w="9525">
            <a:no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5" name="RoundedRectangle" hidden="1"/>
          <p:cNvSpPr txBox="1">
            <a:spLocks/>
          </p:cNvSpPr>
          <p:nvPr>
            <p:custDataLst>
              <p:tags r:id="rId10"/>
            </p:custDataLst>
          </p:nvPr>
        </p:nvSpPr>
        <p:spPr bwMode="gray">
          <a:xfrm>
            <a:off x="5185940" y="1451179"/>
            <a:ext cx="1554978" cy="1554955"/>
          </a:xfrm>
          <a:prstGeom prst="roundRect">
            <a:avLst/>
          </a:prstGeom>
          <a:solidFill>
            <a:schemeClr val="accent1"/>
          </a:solidFill>
          <a:ln w="9525">
            <a:no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6" name="Arrow" hidden="1"/>
          <p:cNvSpPr txBox="1"/>
          <p:nvPr>
            <p:custDataLst>
              <p:tags r:id="rId11"/>
            </p:custDataLst>
          </p:nvPr>
        </p:nvSpPr>
        <p:spPr bwMode="gray">
          <a:xfrm>
            <a:off x="3490717" y="4223444"/>
            <a:ext cx="1865974" cy="932973"/>
          </a:xfrm>
          <a:prstGeom prst="rightArrow">
            <a:avLst>
              <a:gd name="adj1" fmla="val 54000"/>
              <a:gd name="adj2" fmla="val 37676"/>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3462"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dirty="0">
                <a:latin typeface="+mn-lt"/>
              </a:rPr>
              <a:t>Text</a:t>
            </a:r>
          </a:p>
        </p:txBody>
      </p:sp>
      <p:sp>
        <p:nvSpPr>
          <p:cNvPr id="97" name="DirArrow" hidden="1"/>
          <p:cNvSpPr>
            <a:spLocks noChangeArrowheads="1"/>
          </p:cNvSpPr>
          <p:nvPr>
            <p:custDataLst>
              <p:tags r:id="rId12"/>
            </p:custDataLst>
          </p:nvPr>
        </p:nvSpPr>
        <p:spPr bwMode="gray">
          <a:xfrm rot="5400000">
            <a:off x="7170376" y="2852710"/>
            <a:ext cx="3153449" cy="350388"/>
          </a:xfrm>
          <a:prstGeom prst="triangle">
            <a:avLst>
              <a:gd name="adj" fmla="val 50000"/>
            </a:avLst>
          </a:prstGeom>
          <a:solidFill>
            <a:schemeClr val="accent1"/>
          </a:solidFill>
          <a:ln w="9525">
            <a:noFill/>
            <a:miter lim="800000"/>
            <a:headEnd/>
            <a:tailEnd/>
          </a:ln>
          <a:effectLst/>
        </p:spPr>
        <p:txBody>
          <a:bodyPr wrap="none" anchor="ctr"/>
          <a:lstStyle/>
          <a:p>
            <a:endParaRPr lang="nl-NL" sz="1632" dirty="0">
              <a:latin typeface="+mn-lt"/>
            </a:endParaRPr>
          </a:p>
        </p:txBody>
      </p:sp>
      <p:sp>
        <p:nvSpPr>
          <p:cNvPr id="98" name="Bracket" hidden="1"/>
          <p:cNvSpPr>
            <a:spLocks noChangeAspect="1"/>
          </p:cNvSpPr>
          <p:nvPr>
            <p:custDataLst>
              <p:tags r:id="rId13"/>
            </p:custDataLst>
          </p:nvPr>
        </p:nvSpPr>
        <p:spPr bwMode="gray">
          <a:xfrm>
            <a:off x="8179251" y="3148303"/>
            <a:ext cx="193510" cy="1865946"/>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2524"/>
              <a:gd name="connsiteY0" fmla="*/ 0 h 3096"/>
              <a:gd name="connsiteX1" fmla="*/ 2474 w 2524"/>
              <a:gd name="connsiteY1" fmla="*/ 1944 h 3096"/>
              <a:gd name="connsiteX2" fmla="*/ 2474 w 2524"/>
              <a:gd name="connsiteY2" fmla="*/ 2472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524"/>
              <a:gd name="connsiteY0" fmla="*/ 0 h 3096"/>
              <a:gd name="connsiteX1" fmla="*/ 38 w 2524"/>
              <a:gd name="connsiteY1" fmla="*/ 0 h 3096"/>
              <a:gd name="connsiteX2" fmla="*/ 2474 w 2524"/>
              <a:gd name="connsiteY2" fmla="*/ 2472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524"/>
              <a:gd name="connsiteY0" fmla="*/ 0 h 3096"/>
              <a:gd name="connsiteX1" fmla="*/ 38 w 2524"/>
              <a:gd name="connsiteY1" fmla="*/ 0 h 3096"/>
              <a:gd name="connsiteX2" fmla="*/ 38 w 2524"/>
              <a:gd name="connsiteY2" fmla="*/ 536 h 3096"/>
              <a:gd name="connsiteX3" fmla="*/ 2524 w 2524"/>
              <a:gd name="connsiteY3" fmla="*/ 2520 h 3096"/>
              <a:gd name="connsiteX4" fmla="*/ 2474 w 2524"/>
              <a:gd name="connsiteY4" fmla="*/ 2568 h 3096"/>
              <a:gd name="connsiteX5" fmla="*/ 2474 w 2524"/>
              <a:gd name="connsiteY5" fmla="*/ 3096 h 3096"/>
              <a:gd name="connsiteX6" fmla="*/ 2409 w 2524"/>
              <a:gd name="connsiteY6" fmla="*/ 3096 h 3096"/>
              <a:gd name="connsiteX0" fmla="*/ 0 w 2474"/>
              <a:gd name="connsiteY0" fmla="*/ 0 h 3096"/>
              <a:gd name="connsiteX1" fmla="*/ 38 w 2474"/>
              <a:gd name="connsiteY1" fmla="*/ 0 h 3096"/>
              <a:gd name="connsiteX2" fmla="*/ 38 w 2474"/>
              <a:gd name="connsiteY2" fmla="*/ 536 h 3096"/>
              <a:gd name="connsiteX3" fmla="*/ 57 w 2474"/>
              <a:gd name="connsiteY3" fmla="*/ 576 h 3096"/>
              <a:gd name="connsiteX4" fmla="*/ 2474 w 2474"/>
              <a:gd name="connsiteY4" fmla="*/ 2568 h 3096"/>
              <a:gd name="connsiteX5" fmla="*/ 2474 w 2474"/>
              <a:gd name="connsiteY5" fmla="*/ 3096 h 3096"/>
              <a:gd name="connsiteX6" fmla="*/ 2409 w 2474"/>
              <a:gd name="connsiteY6" fmla="*/ 3096 h 3096"/>
              <a:gd name="connsiteX0" fmla="*/ 0 w 2474"/>
              <a:gd name="connsiteY0" fmla="*/ 0 h 3096"/>
              <a:gd name="connsiteX1" fmla="*/ 38 w 2474"/>
              <a:gd name="connsiteY1" fmla="*/ 0 h 3096"/>
              <a:gd name="connsiteX2" fmla="*/ 38 w 2474"/>
              <a:gd name="connsiteY2" fmla="*/ 536 h 3096"/>
              <a:gd name="connsiteX3" fmla="*/ 57 w 2474"/>
              <a:gd name="connsiteY3" fmla="*/ 576 h 3096"/>
              <a:gd name="connsiteX4" fmla="*/ 38 w 2474"/>
              <a:gd name="connsiteY4" fmla="*/ 616 h 3096"/>
              <a:gd name="connsiteX5" fmla="*/ 2474 w 2474"/>
              <a:gd name="connsiteY5" fmla="*/ 3096 h 3096"/>
              <a:gd name="connsiteX6" fmla="*/ 2409 w 2474"/>
              <a:gd name="connsiteY6" fmla="*/ 3096 h 3096"/>
              <a:gd name="connsiteX0" fmla="*/ 0 w 2409"/>
              <a:gd name="connsiteY0" fmla="*/ 0 h 3096"/>
              <a:gd name="connsiteX1" fmla="*/ 38 w 2409"/>
              <a:gd name="connsiteY1" fmla="*/ 0 h 3096"/>
              <a:gd name="connsiteX2" fmla="*/ 38 w 2409"/>
              <a:gd name="connsiteY2" fmla="*/ 536 h 3096"/>
              <a:gd name="connsiteX3" fmla="*/ 57 w 2409"/>
              <a:gd name="connsiteY3" fmla="*/ 576 h 3096"/>
              <a:gd name="connsiteX4" fmla="*/ 38 w 2409"/>
              <a:gd name="connsiteY4" fmla="*/ 616 h 3096"/>
              <a:gd name="connsiteX5" fmla="*/ 38 w 2409"/>
              <a:gd name="connsiteY5" fmla="*/ 1152 h 3096"/>
              <a:gd name="connsiteX6" fmla="*/ 2409 w 2409"/>
              <a:gd name="connsiteY6" fmla="*/ 3096 h 3096"/>
              <a:gd name="connsiteX0" fmla="*/ 0 w 57"/>
              <a:gd name="connsiteY0" fmla="*/ 0 h 1152"/>
              <a:gd name="connsiteX1" fmla="*/ 38 w 57"/>
              <a:gd name="connsiteY1" fmla="*/ 0 h 1152"/>
              <a:gd name="connsiteX2" fmla="*/ 38 w 57"/>
              <a:gd name="connsiteY2" fmla="*/ 536 h 1152"/>
              <a:gd name="connsiteX3" fmla="*/ 57 w 57"/>
              <a:gd name="connsiteY3" fmla="*/ 576 h 1152"/>
              <a:gd name="connsiteX4" fmla="*/ 38 w 57"/>
              <a:gd name="connsiteY4" fmla="*/ 616 h 1152"/>
              <a:gd name="connsiteX5" fmla="*/ 38 w 57"/>
              <a:gd name="connsiteY5" fmla="*/ 1152 h 1152"/>
              <a:gd name="connsiteX6" fmla="*/ 0 w 57"/>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 h="1152">
                <a:moveTo>
                  <a:pt x="0" y="0"/>
                </a:moveTo>
                <a:lnTo>
                  <a:pt x="38" y="0"/>
                </a:lnTo>
                <a:lnTo>
                  <a:pt x="38" y="536"/>
                </a:lnTo>
                <a:lnTo>
                  <a:pt x="57" y="576"/>
                </a:lnTo>
                <a:lnTo>
                  <a:pt x="38" y="616"/>
                </a:lnTo>
                <a:lnTo>
                  <a:pt x="38"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632" dirty="0">
              <a:latin typeface="+mn-lt"/>
            </a:endParaRPr>
          </a:p>
        </p:txBody>
      </p:sp>
      <p:grpSp>
        <p:nvGrpSpPr>
          <p:cNvPr id="99" name="Flow" hidden="1"/>
          <p:cNvGrpSpPr/>
          <p:nvPr>
            <p:custDataLst>
              <p:tags r:id="rId14"/>
            </p:custDataLst>
          </p:nvPr>
        </p:nvGrpSpPr>
        <p:grpSpPr bwMode="gray">
          <a:xfrm>
            <a:off x="3492958" y="3148303"/>
            <a:ext cx="1865974" cy="932973"/>
            <a:chOff x="5905500" y="3124200"/>
            <a:chExt cx="1828800" cy="914400"/>
          </a:xfrm>
        </p:grpSpPr>
        <p:sp>
          <p:nvSpPr>
            <p:cNvPr id="100" name="Freeform 99"/>
            <p:cNvSpPr/>
            <p:nvPr>
              <p:custDataLst>
                <p:tags r:id="rId38"/>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1" name="TextBox 100"/>
            <p:cNvSpPr txBox="1"/>
            <p:nvPr>
              <p:custDataLst>
                <p:tags r:id="rId39"/>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grpSp>
      <p:grpSp>
        <p:nvGrpSpPr>
          <p:cNvPr id="102" name="SplitFlow" hidden="1"/>
          <p:cNvGrpSpPr/>
          <p:nvPr>
            <p:custDataLst>
              <p:tags r:id="rId15"/>
            </p:custDataLst>
          </p:nvPr>
        </p:nvGrpSpPr>
        <p:grpSpPr bwMode="gray">
          <a:xfrm>
            <a:off x="5538529" y="3148303"/>
            <a:ext cx="1865974" cy="932973"/>
            <a:chOff x="114300" y="1270000"/>
            <a:chExt cx="1828800" cy="914400"/>
          </a:xfrm>
        </p:grpSpPr>
        <p:sp>
          <p:nvSpPr>
            <p:cNvPr id="103" name="Freeform 102"/>
            <p:cNvSpPr/>
            <p:nvPr>
              <p:custDataLst>
                <p:tags r:id="rId34"/>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4" name="TextBox 103"/>
            <p:cNvSpPr txBox="1"/>
            <p:nvPr>
              <p:custDataLst>
                <p:tags r:id="rId35"/>
              </p:custDataLst>
            </p:nvPr>
          </p:nvSpPr>
          <p:spPr bwMode="gray">
            <a:xfrm>
              <a:off x="177800" y="13271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sp>
          <p:nvSpPr>
            <p:cNvPr id="105" name="Freeform 104"/>
            <p:cNvSpPr/>
            <p:nvPr>
              <p:custDataLst>
                <p:tags r:id="rId36"/>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b="1" dirty="0">
                <a:solidFill>
                  <a:schemeClr val="tx1"/>
                </a:solidFill>
                <a:latin typeface="+mn-lt"/>
              </a:endParaRPr>
            </a:p>
          </p:txBody>
        </p:sp>
        <p:sp>
          <p:nvSpPr>
            <p:cNvPr id="106" name="TextBox 105"/>
            <p:cNvSpPr txBox="1"/>
            <p:nvPr>
              <p:custDataLst>
                <p:tags r:id="rId37"/>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180000" lvl="1" indent="-180000" defTabSz="895350" eaLnBrk="1" hangingPunct="1">
                <a:buClr>
                  <a:schemeClr val="tx2"/>
                </a:buClr>
                <a:buSzPct val="125000"/>
                <a:buFont typeface="Arial" pitchFamily="34" charset="0"/>
                <a:buChar char="•"/>
                <a:defRPr baseline="0">
                  <a:latin typeface="+mn-lt"/>
                </a:defRPr>
              </a:lvl2pPr>
              <a:lvl3pPr marL="360000" lvl="2" indent="-180000" defTabSz="895350" eaLnBrk="1" hangingPunct="1">
                <a:buClr>
                  <a:schemeClr val="tx2"/>
                </a:buClr>
                <a:buSzPct val="120000"/>
                <a:buFont typeface="Arial" charset="0"/>
                <a:buChar char="–"/>
                <a:defRPr baseline="0">
                  <a:latin typeface="+mn-lt"/>
                </a:defRPr>
              </a:lvl3pPr>
              <a:lvl4pPr marL="540000" lvl="3" indent="-180000" defTabSz="895350" eaLnBrk="1" hangingPunct="1">
                <a:buClr>
                  <a:schemeClr val="tx2"/>
                </a:buClr>
                <a:buSzPct val="120000"/>
                <a:buFont typeface="Arial" pitchFamily="34" charset="0"/>
                <a:buChar char="◦"/>
                <a:defRPr baseline="0">
                  <a:latin typeface="+mn-lt"/>
                </a:defRPr>
              </a:lvl4pPr>
              <a:lvl5pPr marL="720000" lvl="4" indent="-180000"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nl-NL" sz="1632" b="1" dirty="0">
                  <a:latin typeface="+mn-lt"/>
                </a:rPr>
                <a:t>Text</a:t>
              </a:r>
            </a:p>
          </p:txBody>
        </p:sp>
      </p:grpSp>
      <p:grpSp>
        <p:nvGrpSpPr>
          <p:cNvPr id="107" name="LegendBoxes" hidden="1"/>
          <p:cNvGrpSpPr>
            <a:grpSpLocks/>
          </p:cNvGrpSpPr>
          <p:nvPr/>
        </p:nvGrpSpPr>
        <p:grpSpPr bwMode="gray">
          <a:xfrm>
            <a:off x="11134285" y="721486"/>
            <a:ext cx="835802" cy="1022061"/>
            <a:chOff x="4936" y="176"/>
            <a:chExt cx="516" cy="631"/>
          </a:xfrm>
        </p:grpSpPr>
        <p:sp>
          <p:nvSpPr>
            <p:cNvPr id="108" name="Legend1"/>
            <p:cNvSpPr>
              <a:spLocks noChangeArrowheads="1"/>
            </p:cNvSpPr>
            <p:nvPr/>
          </p:nvSpPr>
          <p:spPr bwMode="gray">
            <a:xfrm>
              <a:off x="5096" y="176"/>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09" name="LegendRectangle1"/>
            <p:cNvSpPr>
              <a:spLocks noChangeArrowheads="1"/>
            </p:cNvSpPr>
            <p:nvPr/>
          </p:nvSpPr>
          <p:spPr bwMode="gray">
            <a:xfrm>
              <a:off x="4936" y="182"/>
              <a:ext cx="104" cy="104"/>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0" name="Legend2"/>
            <p:cNvSpPr>
              <a:spLocks noChangeArrowheads="1"/>
            </p:cNvSpPr>
            <p:nvPr/>
          </p:nvSpPr>
          <p:spPr bwMode="gray">
            <a:xfrm>
              <a:off x="5096" y="347"/>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1" name="LegendRectangle2"/>
            <p:cNvSpPr>
              <a:spLocks noChangeArrowheads="1"/>
            </p:cNvSpPr>
            <p:nvPr/>
          </p:nvSpPr>
          <p:spPr bwMode="gray">
            <a:xfrm>
              <a:off x="4936" y="353"/>
              <a:ext cx="104" cy="104"/>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2" name="Legend3"/>
            <p:cNvSpPr>
              <a:spLocks noChangeArrowheads="1"/>
            </p:cNvSpPr>
            <p:nvPr/>
          </p:nvSpPr>
          <p:spPr bwMode="gray">
            <a:xfrm>
              <a:off x="5096" y="517"/>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3" name="LegendRectangle3"/>
            <p:cNvSpPr>
              <a:spLocks noChangeArrowheads="1"/>
            </p:cNvSpPr>
            <p:nvPr/>
          </p:nvSpPr>
          <p:spPr bwMode="gray">
            <a:xfrm>
              <a:off x="4936" y="523"/>
              <a:ext cx="104" cy="104"/>
            </a:xfrm>
            <a:prstGeom prst="rect">
              <a:avLst/>
            </a:prstGeom>
            <a:solidFill>
              <a:schemeClr val="accent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14" name="Legend4"/>
            <p:cNvSpPr>
              <a:spLocks noChangeArrowheads="1"/>
            </p:cNvSpPr>
            <p:nvPr/>
          </p:nvSpPr>
          <p:spPr bwMode="gray">
            <a:xfrm>
              <a:off x="5096" y="688"/>
              <a:ext cx="356" cy="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15" name="LegendRectangle4"/>
            <p:cNvSpPr>
              <a:spLocks noChangeArrowheads="1"/>
            </p:cNvSpPr>
            <p:nvPr/>
          </p:nvSpPr>
          <p:spPr bwMode="gray">
            <a:xfrm>
              <a:off x="4936" y="694"/>
              <a:ext cx="104" cy="104"/>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16" name="LegendLines" hidden="1"/>
          <p:cNvGrpSpPr>
            <a:grpSpLocks/>
          </p:cNvGrpSpPr>
          <p:nvPr/>
        </p:nvGrpSpPr>
        <p:grpSpPr bwMode="gray">
          <a:xfrm>
            <a:off x="10820047" y="721486"/>
            <a:ext cx="1150037" cy="749943"/>
            <a:chOff x="4750" y="176"/>
            <a:chExt cx="710" cy="463"/>
          </a:xfrm>
        </p:grpSpPr>
        <p:sp>
          <p:nvSpPr>
            <p:cNvPr id="117" name="LineLegend1"/>
            <p:cNvSpPr>
              <a:spLocks noChangeShapeType="1"/>
            </p:cNvSpPr>
            <p:nvPr/>
          </p:nvSpPr>
          <p:spPr bwMode="gray">
            <a:xfrm>
              <a:off x="4750" y="234"/>
              <a:ext cx="288" cy="0"/>
            </a:xfrm>
            <a:prstGeom prst="line">
              <a:avLst/>
            </a:prstGeom>
            <a:noFill/>
            <a:ln w="2857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18" name="LineLegend2"/>
            <p:cNvSpPr>
              <a:spLocks noChangeShapeType="1"/>
            </p:cNvSpPr>
            <p:nvPr/>
          </p:nvSpPr>
          <p:spPr bwMode="gray">
            <a:xfrm>
              <a:off x="4750" y="406"/>
              <a:ext cx="288" cy="0"/>
            </a:xfrm>
            <a:prstGeom prst="line">
              <a:avLst/>
            </a:prstGeom>
            <a:noFill/>
            <a:ln w="28575">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19" name="LineLegend3"/>
            <p:cNvSpPr>
              <a:spLocks noChangeShapeType="1"/>
            </p:cNvSpPr>
            <p:nvPr/>
          </p:nvSpPr>
          <p:spPr bwMode="gray">
            <a:xfrm>
              <a:off x="4750" y="578"/>
              <a:ext cx="288" cy="0"/>
            </a:xfrm>
            <a:prstGeom prst="line">
              <a:avLst/>
            </a:prstGeom>
            <a:noFill/>
            <a:ln w="28575">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nl-NL" sz="1224" noProof="0" dirty="0">
                <a:latin typeface="+mn-lt"/>
              </a:endParaRPr>
            </a:p>
          </p:txBody>
        </p:sp>
        <p:sp>
          <p:nvSpPr>
            <p:cNvPr id="120" name="Legend1"/>
            <p:cNvSpPr>
              <a:spLocks noChangeArrowheads="1"/>
            </p:cNvSpPr>
            <p:nvPr/>
          </p:nvSpPr>
          <p:spPr bwMode="gray">
            <a:xfrm>
              <a:off x="5104" y="176"/>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21" name="Legend2"/>
            <p:cNvSpPr>
              <a:spLocks noChangeArrowheads="1"/>
            </p:cNvSpPr>
            <p:nvPr/>
          </p:nvSpPr>
          <p:spPr bwMode="gray">
            <a:xfrm>
              <a:off x="5104" y="348"/>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22" name="Legend3"/>
            <p:cNvSpPr>
              <a:spLocks noChangeArrowheads="1"/>
            </p:cNvSpPr>
            <p:nvPr/>
          </p:nvSpPr>
          <p:spPr bwMode="gray">
            <a:xfrm>
              <a:off x="5104" y="520"/>
              <a:ext cx="356"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grpSp>
      <p:grpSp>
        <p:nvGrpSpPr>
          <p:cNvPr id="123" name="Sticker" hidden="1"/>
          <p:cNvGrpSpPr/>
          <p:nvPr/>
        </p:nvGrpSpPr>
        <p:grpSpPr bwMode="gray">
          <a:xfrm>
            <a:off x="11368295" y="719589"/>
            <a:ext cx="590448" cy="250146"/>
            <a:chOff x="8162090" y="283891"/>
            <a:chExt cx="578685" cy="245166"/>
          </a:xfrm>
        </p:grpSpPr>
        <p:sp>
          <p:nvSpPr>
            <p:cNvPr id="124" name="StickerRectangle"/>
            <p:cNvSpPr>
              <a:spLocks noChangeArrowheads="1"/>
            </p:cNvSpPr>
            <p:nvPr/>
          </p:nvSpPr>
          <p:spPr bwMode="gray">
            <a:xfrm>
              <a:off x="8162090" y="283891"/>
              <a:ext cx="578685" cy="2451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913526">
                <a:buClr>
                  <a:schemeClr val="tx2"/>
                </a:buClr>
              </a:pPr>
              <a:r>
                <a:rPr lang="nl-NL" sz="1224" noProof="0" dirty="0">
                  <a:solidFill>
                    <a:schemeClr val="tx1"/>
                  </a:solidFill>
                  <a:latin typeface="+mn-lt"/>
                </a:rPr>
                <a:t>STICKER</a:t>
              </a:r>
            </a:p>
          </p:txBody>
        </p:sp>
        <p:cxnSp>
          <p:nvCxnSpPr>
            <p:cNvPr id="125" name="AutoShape 32"/>
            <p:cNvCxnSpPr>
              <a:cxnSpLocks noChangeShapeType="1"/>
              <a:stCxn id="124" idx="4"/>
              <a:endCxn id="124" idx="6"/>
            </p:cNvCxnSpPr>
            <p:nvPr/>
          </p:nvCxnSpPr>
          <p:spPr bwMode="gray">
            <a:xfrm>
              <a:off x="8162090" y="529057"/>
              <a:ext cx="57868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2"/>
              <a:endCxn id="124" idx="0"/>
            </p:cNvCxnSpPr>
            <p:nvPr userDrawn="1"/>
          </p:nvCxnSpPr>
          <p:spPr bwMode="gray">
            <a:xfrm>
              <a:off x="8162090" y="283891"/>
              <a:ext cx="57868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8" name="LegendMoons" hidden="1">
            <a:extLst>
              <a:ext uri="{FF2B5EF4-FFF2-40B4-BE49-F238E27FC236}">
                <a16:creationId xmlns:a16="http://schemas.microsoft.com/office/drawing/2014/main" id="{9D74EF3F-2EAF-4D4B-8FF9-DE4300E7A04F}"/>
              </a:ext>
            </a:extLst>
          </p:cNvPr>
          <p:cNvGrpSpPr/>
          <p:nvPr userDrawn="1"/>
        </p:nvGrpSpPr>
        <p:grpSpPr bwMode="gray">
          <a:xfrm>
            <a:off x="11065636" y="721486"/>
            <a:ext cx="904556" cy="1333317"/>
            <a:chOff x="9205424" y="664256"/>
            <a:chExt cx="886536" cy="1306774"/>
          </a:xfrm>
        </p:grpSpPr>
        <p:grpSp>
          <p:nvGrpSpPr>
            <p:cNvPr id="128" name="MoonLegend1"/>
            <p:cNvGrpSpPr>
              <a:grpSpLocks noChangeAspect="1"/>
            </p:cNvGrpSpPr>
            <p:nvPr>
              <p:custDataLst>
                <p:tags r:id="rId19"/>
              </p:custDataLst>
            </p:nvPr>
          </p:nvGrpSpPr>
          <p:grpSpPr bwMode="gray">
            <a:xfrm>
              <a:off x="9205424" y="664256"/>
              <a:ext cx="209550" cy="209551"/>
              <a:chOff x="4533" y="183"/>
              <a:chExt cx="144" cy="144"/>
            </a:xfrm>
          </p:grpSpPr>
          <p:sp>
            <p:nvSpPr>
              <p:cNvPr id="146" name="Oval 38"/>
              <p:cNvSpPr>
                <a:spLocks noChangeAspect="1" noChangeArrowheads="1"/>
              </p:cNvSpPr>
              <p:nvPr>
                <p:custDataLst>
                  <p:tags r:id="rId32"/>
                </p:custDataLst>
              </p:nvPr>
            </p:nvSpPr>
            <p:spPr bwMode="gray">
              <a:xfrm>
                <a:off x="4533" y="183"/>
                <a:ext cx="144" cy="144"/>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7" name="Arc 39"/>
              <p:cNvSpPr>
                <a:spLocks noChangeAspect="1"/>
              </p:cNvSpPr>
              <p:nvPr>
                <p:custDataLst>
                  <p:tags r:id="rId33"/>
                </p:custDataLst>
              </p:nvPr>
            </p:nvSpPr>
            <p:spPr bwMode="gray">
              <a:xfrm>
                <a:off x="4533" y="183"/>
                <a:ext cx="144" cy="144"/>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29" name="MoonLegend2"/>
            <p:cNvGrpSpPr>
              <a:grpSpLocks noChangeAspect="1"/>
            </p:cNvGrpSpPr>
            <p:nvPr>
              <p:custDataLst>
                <p:tags r:id="rId20"/>
              </p:custDataLst>
            </p:nvPr>
          </p:nvGrpSpPr>
          <p:grpSpPr bwMode="gray">
            <a:xfrm>
              <a:off x="9205424" y="938562"/>
              <a:ext cx="209550" cy="209551"/>
              <a:chOff x="1694" y="2044"/>
              <a:chExt cx="160" cy="160"/>
            </a:xfrm>
          </p:grpSpPr>
          <p:sp>
            <p:nvSpPr>
              <p:cNvPr id="144" name="Oval 41"/>
              <p:cNvSpPr>
                <a:spLocks noChangeAspect="1" noChangeArrowheads="1"/>
              </p:cNvSpPr>
              <p:nvPr>
                <p:custDataLst>
                  <p:tags r:id="rId30"/>
                </p:custDataLst>
              </p:nvPr>
            </p:nvSpPr>
            <p:spPr bwMode="gray">
              <a:xfrm>
                <a:off x="1694" y="2044"/>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5" name="Arc 42"/>
              <p:cNvSpPr>
                <a:spLocks noChangeAspect="1"/>
              </p:cNvSpPr>
              <p:nvPr>
                <p:custDataLst>
                  <p:tags r:id="rId31"/>
                </p:custDataLst>
              </p:nvPr>
            </p:nvSpPr>
            <p:spPr bwMode="gray">
              <a:xfrm>
                <a:off x="1694" y="2044"/>
                <a:ext cx="160" cy="160"/>
              </a:xfrm>
              <a:prstGeom prst="arc">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30" name="MoonLegend4"/>
            <p:cNvGrpSpPr>
              <a:grpSpLocks noChangeAspect="1"/>
            </p:cNvGrpSpPr>
            <p:nvPr>
              <p:custDataLst>
                <p:tags r:id="rId21"/>
              </p:custDataLst>
            </p:nvPr>
          </p:nvGrpSpPr>
          <p:grpSpPr bwMode="gray">
            <a:xfrm>
              <a:off x="9205424" y="1487174"/>
              <a:ext cx="209550" cy="209551"/>
              <a:chOff x="4495" y="1198"/>
              <a:chExt cx="160" cy="160"/>
            </a:xfrm>
          </p:grpSpPr>
          <p:sp>
            <p:nvSpPr>
              <p:cNvPr id="142" name="Oval 47"/>
              <p:cNvSpPr>
                <a:spLocks noChangeAspect="1" noChangeArrowheads="1"/>
              </p:cNvSpPr>
              <p:nvPr>
                <p:custDataLst>
                  <p:tags r:id="rId28"/>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3" name="Arc 48"/>
              <p:cNvSpPr>
                <a:spLocks noChangeAspect="1"/>
              </p:cNvSpPr>
              <p:nvPr>
                <p:custDataLst>
                  <p:tags r:id="rId29"/>
                </p:custDataLst>
              </p:nvPr>
            </p:nvSpPr>
            <p:spPr bwMode="gray">
              <a:xfrm>
                <a:off x="4495" y="1198"/>
                <a:ext cx="160" cy="160"/>
              </a:xfrm>
              <a:prstGeom prst="arc">
                <a:avLst>
                  <a:gd name="adj1" fmla="val 16200000"/>
                  <a:gd name="adj2" fmla="val 108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nvGrpSpPr>
            <p:cNvPr id="131" name="MoonLegend5"/>
            <p:cNvGrpSpPr>
              <a:grpSpLocks noChangeAspect="1"/>
            </p:cNvGrpSpPr>
            <p:nvPr>
              <p:custDataLst>
                <p:tags r:id="rId22"/>
              </p:custDataLst>
            </p:nvPr>
          </p:nvGrpSpPr>
          <p:grpSpPr bwMode="gray">
            <a:xfrm>
              <a:off x="9205424" y="1761479"/>
              <a:ext cx="209550" cy="209551"/>
              <a:chOff x="4495" y="1440"/>
              <a:chExt cx="160" cy="160"/>
            </a:xfrm>
          </p:grpSpPr>
          <p:sp>
            <p:nvSpPr>
              <p:cNvPr id="140" name="Oval 50"/>
              <p:cNvSpPr>
                <a:spLocks noChangeAspect="1" noChangeArrowheads="1"/>
              </p:cNvSpPr>
              <p:nvPr>
                <p:custDataLst>
                  <p:tags r:id="rId26"/>
                </p:custDataLst>
              </p:nvPr>
            </p:nvSpPr>
            <p:spPr bwMode="gray">
              <a:xfrm>
                <a:off x="4495" y="1440"/>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41" name="Oval 51"/>
              <p:cNvSpPr>
                <a:spLocks noChangeAspect="1" noChangeArrowheads="1"/>
              </p:cNvSpPr>
              <p:nvPr>
                <p:custDataLst>
                  <p:tags r:id="rId27"/>
                </p:custDataLst>
              </p:nvPr>
            </p:nvSpPr>
            <p:spPr bwMode="gray">
              <a:xfrm>
                <a:off x="4495" y="1440"/>
                <a:ext cx="160" cy="160"/>
              </a:xfrm>
              <a:prstGeom prst="arc">
                <a:avLst>
                  <a:gd name="adj1" fmla="val 16200000"/>
                  <a:gd name="adj2" fmla="val 162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sp>
          <p:nvSpPr>
            <p:cNvPr id="132" name="Legend1"/>
            <p:cNvSpPr>
              <a:spLocks noChangeArrowheads="1"/>
            </p:cNvSpPr>
            <p:nvPr/>
          </p:nvSpPr>
          <p:spPr bwMode="gray">
            <a:xfrm>
              <a:off x="9526099" y="676699"/>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3" name="Legend2"/>
            <p:cNvSpPr>
              <a:spLocks noChangeArrowheads="1"/>
            </p:cNvSpPr>
            <p:nvPr/>
          </p:nvSpPr>
          <p:spPr bwMode="gray">
            <a:xfrm>
              <a:off x="9526099" y="951005"/>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4" name="Legend3"/>
            <p:cNvSpPr>
              <a:spLocks noChangeArrowheads="1"/>
            </p:cNvSpPr>
            <p:nvPr/>
          </p:nvSpPr>
          <p:spPr bwMode="gray">
            <a:xfrm>
              <a:off x="9526099" y="1225311"/>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5" name="Legend4"/>
            <p:cNvSpPr>
              <a:spLocks noChangeArrowheads="1"/>
            </p:cNvSpPr>
            <p:nvPr/>
          </p:nvSpPr>
          <p:spPr bwMode="gray">
            <a:xfrm>
              <a:off x="9526099" y="1499617"/>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sp>
          <p:nvSpPr>
            <p:cNvPr id="136" name="Legend5"/>
            <p:cNvSpPr>
              <a:spLocks noChangeArrowheads="1"/>
            </p:cNvSpPr>
            <p:nvPr/>
          </p:nvSpPr>
          <p:spPr bwMode="gray">
            <a:xfrm>
              <a:off x="9526099" y="1773922"/>
              <a:ext cx="56586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nl-NL" sz="1224" noProof="0" dirty="0">
                  <a:latin typeface="+mn-lt"/>
                </a:rPr>
                <a:t>Legenda</a:t>
              </a:r>
            </a:p>
          </p:txBody>
        </p:sp>
        <p:grpSp>
          <p:nvGrpSpPr>
            <p:cNvPr id="137" name="MoonLegend3"/>
            <p:cNvGrpSpPr>
              <a:grpSpLocks noChangeAspect="1"/>
            </p:cNvGrpSpPr>
            <p:nvPr>
              <p:custDataLst>
                <p:tags r:id="rId23"/>
              </p:custDataLst>
            </p:nvPr>
          </p:nvGrpSpPr>
          <p:grpSpPr bwMode="gray">
            <a:xfrm>
              <a:off x="9205424" y="1212868"/>
              <a:ext cx="209550" cy="209551"/>
              <a:chOff x="4495" y="1198"/>
              <a:chExt cx="160" cy="160"/>
            </a:xfrm>
          </p:grpSpPr>
          <p:sp>
            <p:nvSpPr>
              <p:cNvPr id="138" name="Oval 47"/>
              <p:cNvSpPr>
                <a:spLocks noChangeAspect="1" noChangeArrowheads="1"/>
              </p:cNvSpPr>
              <p:nvPr>
                <p:custDataLst>
                  <p:tags r:id="rId24"/>
                </p:custDataLst>
              </p:nvPr>
            </p:nvSpPr>
            <p:spPr bwMode="gray">
              <a:xfrm>
                <a:off x="4495" y="1198"/>
                <a:ext cx="160" cy="160"/>
              </a:xfrm>
              <a:prstGeom prst="ellipse">
                <a:avLst/>
              </a:prstGeom>
              <a:solidFill>
                <a:schemeClr val="accent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sp>
            <p:nvSpPr>
              <p:cNvPr id="139" name="Arc 48"/>
              <p:cNvSpPr>
                <a:spLocks noChangeAspect="1"/>
              </p:cNvSpPr>
              <p:nvPr>
                <p:custDataLst>
                  <p:tags r:id="rId25"/>
                </p:custDataLst>
              </p:nvPr>
            </p:nvSpPr>
            <p:spPr bwMode="gray">
              <a:xfrm>
                <a:off x="4495" y="1198"/>
                <a:ext cx="160" cy="160"/>
              </a:xfrm>
              <a:prstGeom prst="arc">
                <a:avLst>
                  <a:gd name="adj1" fmla="val 16200000"/>
                  <a:gd name="adj2" fmla="val 5400000"/>
                </a:avLst>
              </a:prstGeom>
              <a:solidFill>
                <a:schemeClr val="accent4"/>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24" noProof="0" dirty="0">
                  <a:latin typeface="+mn-lt"/>
                </a:endParaRPr>
              </a:p>
            </p:txBody>
          </p:sp>
        </p:grpSp>
      </p:grpSp>
      <p:grpSp>
        <p:nvGrpSpPr>
          <p:cNvPr id="148" name="Moon" hidden="1"/>
          <p:cNvGrpSpPr/>
          <p:nvPr>
            <p:custDataLst>
              <p:tags r:id="rId16"/>
            </p:custDataLst>
          </p:nvPr>
        </p:nvGrpSpPr>
        <p:grpSpPr bwMode="gray">
          <a:xfrm>
            <a:off x="11699579" y="2698440"/>
            <a:ext cx="259163" cy="259159"/>
            <a:chOff x="762000" y="1270000"/>
            <a:chExt cx="254000" cy="254000"/>
          </a:xfrm>
        </p:grpSpPr>
        <p:sp>
          <p:nvSpPr>
            <p:cNvPr id="149" name="Oval 148"/>
            <p:cNvSpPr/>
            <p:nvPr/>
          </p:nvSpPr>
          <p:spPr bwMode="gray">
            <a:xfrm>
              <a:off x="762000" y="1270000"/>
              <a:ext cx="254000" cy="254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37" dirty="0">
                <a:solidFill>
                  <a:schemeClr val="tx1"/>
                </a:solidFill>
              </a:endParaRPr>
            </a:p>
          </p:txBody>
        </p:sp>
        <p:sp>
          <p:nvSpPr>
            <p:cNvPr id="150" name="Arc 149"/>
            <p:cNvSpPr/>
            <p:nvPr/>
          </p:nvSpPr>
          <p:spPr bwMode="gray">
            <a:xfrm>
              <a:off x="762000" y="1270000"/>
              <a:ext cx="254000" cy="254000"/>
            </a:xfrm>
            <a:prstGeom prst="arc">
              <a:avLst/>
            </a:prstGeom>
            <a:solidFill>
              <a:schemeClr val="accent4"/>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837" dirty="0"/>
            </a:p>
          </p:txBody>
        </p:sp>
      </p:grpSp>
      <p:sp>
        <p:nvSpPr>
          <p:cNvPr id="72" name="SingleChevron" hidden="1">
            <a:extLst>
              <a:ext uri="{FF2B5EF4-FFF2-40B4-BE49-F238E27FC236}">
                <a16:creationId xmlns:a16="http://schemas.microsoft.com/office/drawing/2014/main" id="{F76CFF7D-6557-4985-9AC8-0BA5374E926A}"/>
              </a:ext>
            </a:extLst>
          </p:cNvPr>
          <p:cNvSpPr>
            <a:spLocks noChangeAspect="1"/>
          </p:cNvSpPr>
          <p:nvPr/>
        </p:nvSpPr>
        <p:spPr bwMode="gray">
          <a:xfrm>
            <a:off x="5558038" y="4431545"/>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nvGrpSpPr>
          <p:cNvPr id="73" name="DoubleChevron2" hidden="1">
            <a:extLst>
              <a:ext uri="{FF2B5EF4-FFF2-40B4-BE49-F238E27FC236}">
                <a16:creationId xmlns:a16="http://schemas.microsoft.com/office/drawing/2014/main" id="{03430B6D-F4A8-4F59-B66C-8C207F43DAF7}"/>
              </a:ext>
            </a:extLst>
          </p:cNvPr>
          <p:cNvGrpSpPr>
            <a:grpSpLocks noChangeAspect="1"/>
          </p:cNvGrpSpPr>
          <p:nvPr/>
        </p:nvGrpSpPr>
        <p:grpSpPr bwMode="gray">
          <a:xfrm>
            <a:off x="6852326" y="4431545"/>
            <a:ext cx="1268194" cy="1554955"/>
            <a:chOff x="1270000" y="1270000"/>
            <a:chExt cx="2951957" cy="3619500"/>
          </a:xfrm>
          <a:solidFill>
            <a:schemeClr val="accent1"/>
          </a:solidFill>
        </p:grpSpPr>
        <p:sp>
          <p:nvSpPr>
            <p:cNvPr id="78" name="Chevron1">
              <a:extLst>
                <a:ext uri="{FF2B5EF4-FFF2-40B4-BE49-F238E27FC236}">
                  <a16:creationId xmlns:a16="http://schemas.microsoft.com/office/drawing/2014/main" id="{BEF86B13-F0F9-44E8-BC82-D3B1F01A2E04}"/>
                </a:ext>
              </a:extLst>
            </p:cNvPr>
            <p:cNvSpPr>
              <a:spLocks noChangeAspect="1"/>
            </p:cNvSpPr>
            <p:nvPr userDrawn="1"/>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sp>
          <p:nvSpPr>
            <p:cNvPr id="79" name="Chevron2">
              <a:extLst>
                <a:ext uri="{FF2B5EF4-FFF2-40B4-BE49-F238E27FC236}">
                  <a16:creationId xmlns:a16="http://schemas.microsoft.com/office/drawing/2014/main" id="{8DE836DF-98B4-4DEB-AD7B-399DB9FCD487}"/>
                </a:ext>
              </a:extLst>
            </p:cNvPr>
            <p:cNvSpPr>
              <a:spLocks noChangeAspect="1"/>
            </p:cNvSpPr>
            <p:nvPr userDrawn="1"/>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grpSp>
        <p:nvGrpSpPr>
          <p:cNvPr id="74" name="DoubleChevron" hidden="1">
            <a:extLst>
              <a:ext uri="{FF2B5EF4-FFF2-40B4-BE49-F238E27FC236}">
                <a16:creationId xmlns:a16="http://schemas.microsoft.com/office/drawing/2014/main" id="{DD1F7A8A-45A7-4E8C-8541-B4A77C4549C2}"/>
              </a:ext>
            </a:extLst>
          </p:cNvPr>
          <p:cNvGrpSpPr>
            <a:grpSpLocks noChangeAspect="1"/>
          </p:cNvGrpSpPr>
          <p:nvPr/>
        </p:nvGrpSpPr>
        <p:grpSpPr bwMode="gray">
          <a:xfrm>
            <a:off x="6027861" y="4431545"/>
            <a:ext cx="1034947" cy="1554955"/>
            <a:chOff x="1270000" y="1270000"/>
            <a:chExt cx="2409032" cy="3619500"/>
          </a:xfrm>
          <a:solidFill>
            <a:schemeClr val="accent1"/>
          </a:solidFill>
        </p:grpSpPr>
        <p:sp>
          <p:nvSpPr>
            <p:cNvPr id="75" name="Chevron1">
              <a:extLst>
                <a:ext uri="{FF2B5EF4-FFF2-40B4-BE49-F238E27FC236}">
                  <a16:creationId xmlns:a16="http://schemas.microsoft.com/office/drawing/2014/main" id="{FE91783C-386A-49DF-98E2-044BFF2D9715}"/>
                </a:ext>
              </a:extLst>
            </p:cNvPr>
            <p:cNvSpPr>
              <a:spLocks noChangeAspect="1"/>
            </p:cNvSpPr>
            <p:nvPr userDrawn="1"/>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sp>
          <p:nvSpPr>
            <p:cNvPr id="76" name="Chevron2">
              <a:extLst>
                <a:ext uri="{FF2B5EF4-FFF2-40B4-BE49-F238E27FC236}">
                  <a16:creationId xmlns:a16="http://schemas.microsoft.com/office/drawing/2014/main" id="{23EED61E-5E5B-4DC3-AA5C-EF1657A66CE6}"/>
                </a:ext>
              </a:extLst>
            </p:cNvPr>
            <p:cNvSpPr>
              <a:spLocks noChangeAspect="1"/>
            </p:cNvSpPr>
            <p:nvPr userDrawn="1"/>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nl-NL" sz="1632" dirty="0">
                <a:solidFill>
                  <a:schemeClr val="tx1"/>
                </a:solidFill>
                <a:latin typeface="+mn-lt"/>
              </a:endParaRPr>
            </a:p>
          </p:txBody>
        </p:sp>
      </p:grpSp>
      <p:sp>
        <p:nvSpPr>
          <p:cNvPr id="80" name="TitleTrackerAlpha" hidden="1">
            <a:extLst>
              <a:ext uri="{FF2B5EF4-FFF2-40B4-BE49-F238E27FC236}">
                <a16:creationId xmlns:a16="http://schemas.microsoft.com/office/drawing/2014/main" id="{DBBF5B7D-AEA7-4B32-86DF-D97974B2332B}"/>
              </a:ext>
            </a:extLst>
          </p:cNvPr>
          <p:cNvSpPr/>
          <p:nvPr>
            <p:custDataLst>
              <p:tags r:id="rId17"/>
            </p:custDataLst>
          </p:nvPr>
        </p:nvSpPr>
        <p:spPr bwMode="gray">
          <a:xfrm>
            <a:off x="839040" y="225253"/>
            <a:ext cx="492410" cy="492402"/>
          </a:xfrm>
          <a:prstGeom prst="ellipse">
            <a:avLst/>
          </a:prstGeom>
          <a:solidFill>
            <a:schemeClr val="bg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nl-NL" sz="2449" b="1" dirty="0">
                <a:solidFill>
                  <a:schemeClr val="tx2"/>
                </a:solidFill>
                <a:latin typeface="+mj-lt"/>
              </a:rPr>
              <a:t>A</a:t>
            </a:r>
          </a:p>
        </p:txBody>
      </p:sp>
      <p:sp>
        <p:nvSpPr>
          <p:cNvPr id="81" name="TitleTrackerNum" hidden="1">
            <a:extLst>
              <a:ext uri="{FF2B5EF4-FFF2-40B4-BE49-F238E27FC236}">
                <a16:creationId xmlns:a16="http://schemas.microsoft.com/office/drawing/2014/main" id="{794CED1F-6725-4459-8907-48C740430B0C}"/>
              </a:ext>
            </a:extLst>
          </p:cNvPr>
          <p:cNvSpPr/>
          <p:nvPr>
            <p:custDataLst>
              <p:tags r:id="rId18"/>
            </p:custDataLst>
          </p:nvPr>
        </p:nvSpPr>
        <p:spPr bwMode="gray">
          <a:xfrm>
            <a:off x="839040" y="225253"/>
            <a:ext cx="492410" cy="492402"/>
          </a:xfrm>
          <a:prstGeom prst="ellipse">
            <a:avLst/>
          </a:prstGeom>
          <a:solidFill>
            <a:schemeClr val="bg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nl-NL" sz="2449" b="1" dirty="0">
                <a:solidFill>
                  <a:schemeClr val="tx2"/>
                </a:solidFill>
                <a:latin typeface="+mj-lt"/>
              </a:rPr>
              <a:t>1</a:t>
            </a:r>
          </a:p>
        </p:txBody>
      </p:sp>
      <p:grpSp>
        <p:nvGrpSpPr>
          <p:cNvPr id="155" name="Group 154">
            <a:extLst>
              <a:ext uri="{FF2B5EF4-FFF2-40B4-BE49-F238E27FC236}">
                <a16:creationId xmlns:a16="http://schemas.microsoft.com/office/drawing/2014/main" id="{D5277C95-E1E2-4256-90CF-0E3D9E82775F}"/>
              </a:ext>
            </a:extLst>
          </p:cNvPr>
          <p:cNvGrpSpPr/>
          <p:nvPr userDrawn="1"/>
        </p:nvGrpSpPr>
        <p:grpSpPr bwMode="ltGray">
          <a:xfrm>
            <a:off x="233258" y="106904"/>
            <a:ext cx="426000" cy="1448052"/>
            <a:chOff x="177800" y="104775"/>
            <a:chExt cx="417513" cy="1419225"/>
          </a:xfrm>
          <a:solidFill>
            <a:schemeClr val="tx2"/>
          </a:solidFill>
        </p:grpSpPr>
        <p:sp>
          <p:nvSpPr>
            <p:cNvPr id="156" name="Freeform 42">
              <a:extLst>
                <a:ext uri="{FF2B5EF4-FFF2-40B4-BE49-F238E27FC236}">
                  <a16:creationId xmlns:a16="http://schemas.microsoft.com/office/drawing/2014/main" id="{2632F7AF-F5FB-4620-AF44-CD765C50CB67}"/>
                </a:ext>
              </a:extLst>
            </p:cNvPr>
            <p:cNvSpPr>
              <a:spLocks/>
            </p:cNvSpPr>
            <p:nvPr userDrawn="1"/>
          </p:nvSpPr>
          <p:spPr bwMode="ltGray">
            <a:xfrm>
              <a:off x="177800" y="1108075"/>
              <a:ext cx="417513" cy="415925"/>
            </a:xfrm>
            <a:custGeom>
              <a:avLst/>
              <a:gdLst>
                <a:gd name="T0" fmla="*/ 0 w 263"/>
                <a:gd name="T1" fmla="*/ 209 h 262"/>
                <a:gd name="T2" fmla="*/ 80 w 263"/>
                <a:gd name="T3" fmla="*/ 131 h 262"/>
                <a:gd name="T4" fmla="*/ 0 w 263"/>
                <a:gd name="T5" fmla="*/ 52 h 262"/>
                <a:gd name="T6" fmla="*/ 53 w 263"/>
                <a:gd name="T7" fmla="*/ 0 h 262"/>
                <a:gd name="T8" fmla="*/ 132 w 263"/>
                <a:gd name="T9" fmla="*/ 78 h 262"/>
                <a:gd name="T10" fmla="*/ 210 w 263"/>
                <a:gd name="T11" fmla="*/ 0 h 262"/>
                <a:gd name="T12" fmla="*/ 263 w 263"/>
                <a:gd name="T13" fmla="*/ 52 h 262"/>
                <a:gd name="T14" fmla="*/ 185 w 263"/>
                <a:gd name="T15" fmla="*/ 131 h 262"/>
                <a:gd name="T16" fmla="*/ 263 w 263"/>
                <a:gd name="T17" fmla="*/ 209 h 262"/>
                <a:gd name="T18" fmla="*/ 210 w 263"/>
                <a:gd name="T19" fmla="*/ 262 h 262"/>
                <a:gd name="T20" fmla="*/ 132 w 263"/>
                <a:gd name="T21" fmla="*/ 183 h 262"/>
                <a:gd name="T22" fmla="*/ 53 w 263"/>
                <a:gd name="T23" fmla="*/ 262 h 262"/>
                <a:gd name="T24" fmla="*/ 0 w 263"/>
                <a:gd name="T25" fmla="*/ 20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2">
                  <a:moveTo>
                    <a:pt x="0" y="209"/>
                  </a:moveTo>
                  <a:lnTo>
                    <a:pt x="80" y="131"/>
                  </a:lnTo>
                  <a:lnTo>
                    <a:pt x="0" y="52"/>
                  </a:lnTo>
                  <a:lnTo>
                    <a:pt x="53" y="0"/>
                  </a:lnTo>
                  <a:lnTo>
                    <a:pt x="132" y="78"/>
                  </a:lnTo>
                  <a:lnTo>
                    <a:pt x="210" y="0"/>
                  </a:lnTo>
                  <a:lnTo>
                    <a:pt x="263" y="52"/>
                  </a:lnTo>
                  <a:lnTo>
                    <a:pt x="185" y="131"/>
                  </a:lnTo>
                  <a:lnTo>
                    <a:pt x="263" y="209"/>
                  </a:lnTo>
                  <a:lnTo>
                    <a:pt x="210" y="262"/>
                  </a:lnTo>
                  <a:lnTo>
                    <a:pt x="132" y="183"/>
                  </a:lnTo>
                  <a:lnTo>
                    <a:pt x="53" y="262"/>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157" name="Freeform 43">
              <a:extLst>
                <a:ext uri="{FF2B5EF4-FFF2-40B4-BE49-F238E27FC236}">
                  <a16:creationId xmlns:a16="http://schemas.microsoft.com/office/drawing/2014/main" id="{EAEBA356-DF50-406B-A0F8-71773E1B6C83}"/>
                </a:ext>
              </a:extLst>
            </p:cNvPr>
            <p:cNvSpPr>
              <a:spLocks/>
            </p:cNvSpPr>
            <p:nvPr userDrawn="1"/>
          </p:nvSpPr>
          <p:spPr bwMode="ltGray">
            <a:xfrm>
              <a:off x="177800" y="104775"/>
              <a:ext cx="417513" cy="417513"/>
            </a:xfrm>
            <a:custGeom>
              <a:avLst/>
              <a:gdLst>
                <a:gd name="T0" fmla="*/ 0 w 263"/>
                <a:gd name="T1" fmla="*/ 211 h 263"/>
                <a:gd name="T2" fmla="*/ 80 w 263"/>
                <a:gd name="T3" fmla="*/ 132 h 263"/>
                <a:gd name="T4" fmla="*/ 0 w 263"/>
                <a:gd name="T5" fmla="*/ 53 h 263"/>
                <a:gd name="T6" fmla="*/ 53 w 263"/>
                <a:gd name="T7" fmla="*/ 0 h 263"/>
                <a:gd name="T8" fmla="*/ 132 w 263"/>
                <a:gd name="T9" fmla="*/ 80 h 263"/>
                <a:gd name="T10" fmla="*/ 210 w 263"/>
                <a:gd name="T11" fmla="*/ 0 h 263"/>
                <a:gd name="T12" fmla="*/ 263 w 263"/>
                <a:gd name="T13" fmla="*/ 53 h 263"/>
                <a:gd name="T14" fmla="*/ 185 w 263"/>
                <a:gd name="T15" fmla="*/ 132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2"/>
                  </a:lnTo>
                  <a:lnTo>
                    <a:pt x="0" y="53"/>
                  </a:lnTo>
                  <a:lnTo>
                    <a:pt x="53" y="0"/>
                  </a:lnTo>
                  <a:lnTo>
                    <a:pt x="132" y="80"/>
                  </a:lnTo>
                  <a:lnTo>
                    <a:pt x="210" y="0"/>
                  </a:lnTo>
                  <a:lnTo>
                    <a:pt x="263" y="53"/>
                  </a:lnTo>
                  <a:lnTo>
                    <a:pt x="185" y="132"/>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sp>
          <p:nvSpPr>
            <p:cNvPr id="158" name="Freeform 44">
              <a:extLst>
                <a:ext uri="{FF2B5EF4-FFF2-40B4-BE49-F238E27FC236}">
                  <a16:creationId xmlns:a16="http://schemas.microsoft.com/office/drawing/2014/main" id="{4BC8CEA6-C57E-4F7B-A57F-2A3E140774AF}"/>
                </a:ext>
              </a:extLst>
            </p:cNvPr>
            <p:cNvSpPr>
              <a:spLocks/>
            </p:cNvSpPr>
            <p:nvPr userDrawn="1"/>
          </p:nvSpPr>
          <p:spPr bwMode="ltGray">
            <a:xfrm>
              <a:off x="177800" y="606425"/>
              <a:ext cx="417513" cy="417513"/>
            </a:xfrm>
            <a:custGeom>
              <a:avLst/>
              <a:gdLst>
                <a:gd name="T0" fmla="*/ 0 w 263"/>
                <a:gd name="T1" fmla="*/ 211 h 263"/>
                <a:gd name="T2" fmla="*/ 80 w 263"/>
                <a:gd name="T3" fmla="*/ 131 h 263"/>
                <a:gd name="T4" fmla="*/ 0 w 263"/>
                <a:gd name="T5" fmla="*/ 53 h 263"/>
                <a:gd name="T6" fmla="*/ 53 w 263"/>
                <a:gd name="T7" fmla="*/ 0 h 263"/>
                <a:gd name="T8" fmla="*/ 132 w 263"/>
                <a:gd name="T9" fmla="*/ 79 h 263"/>
                <a:gd name="T10" fmla="*/ 210 w 263"/>
                <a:gd name="T11" fmla="*/ 0 h 263"/>
                <a:gd name="T12" fmla="*/ 263 w 263"/>
                <a:gd name="T13" fmla="*/ 53 h 263"/>
                <a:gd name="T14" fmla="*/ 185 w 263"/>
                <a:gd name="T15" fmla="*/ 131 h 263"/>
                <a:gd name="T16" fmla="*/ 263 w 263"/>
                <a:gd name="T17" fmla="*/ 211 h 263"/>
                <a:gd name="T18" fmla="*/ 210 w 263"/>
                <a:gd name="T19" fmla="*/ 263 h 263"/>
                <a:gd name="T20" fmla="*/ 132 w 263"/>
                <a:gd name="T21" fmla="*/ 184 h 263"/>
                <a:gd name="T22" fmla="*/ 53 w 263"/>
                <a:gd name="T23" fmla="*/ 263 h 263"/>
                <a:gd name="T24" fmla="*/ 0 w 263"/>
                <a:gd name="T25" fmla="*/ 21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263">
                  <a:moveTo>
                    <a:pt x="0" y="211"/>
                  </a:moveTo>
                  <a:lnTo>
                    <a:pt x="80" y="131"/>
                  </a:lnTo>
                  <a:lnTo>
                    <a:pt x="0" y="53"/>
                  </a:lnTo>
                  <a:lnTo>
                    <a:pt x="53" y="0"/>
                  </a:lnTo>
                  <a:lnTo>
                    <a:pt x="132" y="79"/>
                  </a:lnTo>
                  <a:lnTo>
                    <a:pt x="210" y="0"/>
                  </a:lnTo>
                  <a:lnTo>
                    <a:pt x="263" y="53"/>
                  </a:lnTo>
                  <a:lnTo>
                    <a:pt x="185" y="131"/>
                  </a:lnTo>
                  <a:lnTo>
                    <a:pt x="263" y="211"/>
                  </a:lnTo>
                  <a:lnTo>
                    <a:pt x="210" y="263"/>
                  </a:lnTo>
                  <a:lnTo>
                    <a:pt x="132" y="184"/>
                  </a:lnTo>
                  <a:lnTo>
                    <a:pt x="53" y="26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37" dirty="0"/>
            </a:p>
          </p:txBody>
        </p:sp>
      </p:grpSp>
      <p:sp>
        <p:nvSpPr>
          <p:cNvPr id="86" name="Tijdelijke aanduiding voor voettekst 7">
            <a:extLst>
              <a:ext uri="{FF2B5EF4-FFF2-40B4-BE49-F238E27FC236}">
                <a16:creationId xmlns:a16="http://schemas.microsoft.com/office/drawing/2014/main" id="{1FB5788A-B4CE-D542-A205-ADE62A87448E}"/>
              </a:ext>
            </a:extLst>
          </p:cNvPr>
          <p:cNvSpPr>
            <a:spLocks noGrp="1"/>
          </p:cNvSpPr>
          <p:nvPr>
            <p:ph type="ftr" sz="quarter" idx="3"/>
          </p:nvPr>
        </p:nvSpPr>
        <p:spPr>
          <a:xfrm>
            <a:off x="839039" y="6485465"/>
            <a:ext cx="3090959" cy="372541"/>
          </a:xfrm>
          <a:prstGeom prst="rect">
            <a:avLst/>
          </a:prstGeom>
        </p:spPr>
        <p:txBody>
          <a:bodyPr vert="horz" lIns="91440" tIns="45720" rIns="91440" bIns="45720" rtlCol="0" anchor="ctr"/>
          <a:lstStyle>
            <a:lvl1pPr algn="l">
              <a:defRPr sz="1224" b="1">
                <a:solidFill>
                  <a:schemeClr val="tx1"/>
                </a:solidFill>
                <a:latin typeface="Arial" panose="020B0604020202020204" pitchFamily="34" charset="0"/>
                <a:cs typeface="Arial" panose="020B0604020202020204" pitchFamily="34" charset="0"/>
              </a:defRPr>
            </a:lvl1pPr>
          </a:lstStyle>
          <a:p>
            <a:r>
              <a:rPr lang="nl-NL">
                <a:solidFill>
                  <a:srgbClr val="FF0000"/>
                </a:solidFill>
              </a:rPr>
              <a:t>Informatiebijeenkomst 26 juli 2021 Europese Aanbesteding SVWI</a:t>
            </a:r>
            <a:endParaRPr lang="nl-NL" dirty="0"/>
          </a:p>
        </p:txBody>
      </p:sp>
      <p:pic>
        <p:nvPicPr>
          <p:cNvPr id="88" name="Picture 31" descr="Chart&#10;&#10;Description automatically generated with low confidence">
            <a:extLst>
              <a:ext uri="{FF2B5EF4-FFF2-40B4-BE49-F238E27FC236}">
                <a16:creationId xmlns:a16="http://schemas.microsoft.com/office/drawing/2014/main" id="{31265D61-C67D-FA48-BF35-A82FC8B8EF23}"/>
              </a:ext>
            </a:extLst>
          </p:cNvPr>
          <p:cNvPicPr>
            <a:picLocks noChangeAspect="1"/>
          </p:cNvPicPr>
          <p:nvPr userDrawn="1"/>
        </p:nvPicPr>
        <p:blipFill>
          <a:blip r:embed="rId42" cstate="print">
            <a:extLst>
              <a:ext uri="{28A0092B-C50C-407E-A947-70E740481C1C}">
                <a14:useLocalDpi xmlns:a14="http://schemas.microsoft.com/office/drawing/2010/main" val="0"/>
              </a:ext>
            </a:extLst>
          </a:blip>
          <a:stretch>
            <a:fillRect/>
          </a:stretch>
        </p:blipFill>
        <p:spPr>
          <a:xfrm>
            <a:off x="10534566" y="5347203"/>
            <a:ext cx="1062139" cy="861450"/>
          </a:xfrm>
          <a:prstGeom prst="rect">
            <a:avLst/>
          </a:prstGeom>
        </p:spPr>
      </p:pic>
      <p:sp>
        <p:nvSpPr>
          <p:cNvPr id="89" name="object 9">
            <a:extLst>
              <a:ext uri="{FF2B5EF4-FFF2-40B4-BE49-F238E27FC236}">
                <a16:creationId xmlns:a16="http://schemas.microsoft.com/office/drawing/2014/main" id="{5644F11A-3BE0-F74C-BD1F-19BBD49E06B7}"/>
              </a:ext>
            </a:extLst>
          </p:cNvPr>
          <p:cNvSpPr/>
          <p:nvPr userDrawn="1"/>
        </p:nvSpPr>
        <p:spPr>
          <a:xfrm flipV="1">
            <a:off x="0" y="6181271"/>
            <a:ext cx="12176318" cy="46648"/>
          </a:xfrm>
          <a:custGeom>
            <a:avLst/>
            <a:gdLst/>
            <a:ahLst/>
            <a:cxnLst/>
            <a:rect l="l" t="t" r="r" b="b"/>
            <a:pathLst>
              <a:path w="9107805">
                <a:moveTo>
                  <a:pt x="0" y="0"/>
                </a:moveTo>
                <a:lnTo>
                  <a:pt x="9107639" y="0"/>
                </a:lnTo>
              </a:path>
            </a:pathLst>
          </a:custGeom>
          <a:ln w="38100">
            <a:solidFill>
              <a:srgbClr val="1D1D1B"/>
            </a:solidFill>
          </a:ln>
        </p:spPr>
        <p:txBody>
          <a:bodyPr wrap="square" lIns="0" tIns="0" rIns="0" bIns="0" rtlCol="0"/>
          <a:lstStyle/>
          <a:p>
            <a:endParaRPr sz="1837"/>
          </a:p>
        </p:txBody>
      </p:sp>
    </p:spTree>
    <p:extLst>
      <p:ext uri="{BB962C8B-B14F-4D97-AF65-F5344CB8AC3E}">
        <p14:creationId xmlns:p14="http://schemas.microsoft.com/office/powerpoint/2010/main" val="4065515313"/>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Lst>
  <p:hf hdr="0" dt="0"/>
  <p:txStyles>
    <p:titleStyle>
      <a:lvl1pPr algn="l" defTabSz="913526" rtl="0" eaLnBrk="1" fontAlgn="base" hangingPunct="1">
        <a:spcBef>
          <a:spcPct val="0"/>
        </a:spcBef>
        <a:spcAft>
          <a:spcPct val="0"/>
        </a:spcAft>
        <a:tabLst>
          <a:tab pos="549088" algn="l"/>
        </a:tabLst>
        <a:defRPr sz="244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83654" indent="-183654" algn="l" defTabSz="913526" rtl="0" eaLnBrk="1" fontAlgn="base" hangingPunct="1">
        <a:spcBef>
          <a:spcPct val="0"/>
        </a:spcBef>
        <a:spcAft>
          <a:spcPct val="0"/>
        </a:spcAft>
        <a:buClr>
          <a:schemeClr val="tx2"/>
        </a:buClr>
        <a:buSzPct val="125000"/>
        <a:buFont typeface="Arial" pitchFamily="34" charset="0"/>
        <a:buChar char="•"/>
        <a:defRPr sz="1632" baseline="0">
          <a:solidFill>
            <a:schemeClr val="tx1"/>
          </a:solidFill>
          <a:latin typeface="+mn-lt"/>
        </a:defRPr>
      </a:lvl2pPr>
      <a:lvl3pPr marL="367308" indent="-183654"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550962" indent="-183654" algn="l" defTabSz="913526" rtl="0" eaLnBrk="1" fontAlgn="base" hangingPunct="1">
        <a:spcBef>
          <a:spcPct val="0"/>
        </a:spcBef>
        <a:spcAft>
          <a:spcPct val="0"/>
        </a:spcAft>
        <a:buClr>
          <a:schemeClr val="tx2"/>
        </a:buClr>
        <a:buSzPct val="120000"/>
        <a:buFont typeface="Arial" pitchFamily="34" charset="0"/>
        <a:buChar char="◦"/>
        <a:defRPr sz="1632" baseline="0">
          <a:solidFill>
            <a:schemeClr val="tx1"/>
          </a:solidFill>
          <a:latin typeface="+mn-lt"/>
        </a:defRPr>
      </a:lvl4pPr>
      <a:lvl5pPr marL="734616" indent="-183654"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171.xml"/><Relationship Id="rId1" Type="http://schemas.openxmlformats.org/officeDocument/2006/relationships/tags" Target="../tags/tag353.xml"/><Relationship Id="rId5" Type="http://schemas.openxmlformats.org/officeDocument/2006/relationships/image" Target="../media/image28.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175.xml"/><Relationship Id="rId1" Type="http://schemas.openxmlformats.org/officeDocument/2006/relationships/tags" Target="../tags/tag354.xml"/><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175.xml"/><Relationship Id="rId1" Type="http://schemas.openxmlformats.org/officeDocument/2006/relationships/tags" Target="../tags/tag355.xml"/><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347B85-7F6E-4A51-9F1D-358D2F955E79}"/>
              </a:ext>
            </a:extLst>
          </p:cNvPr>
          <p:cNvSpPr>
            <a:spLocks noGrp="1"/>
          </p:cNvSpPr>
          <p:nvPr>
            <p:ph type="ctrTitle"/>
          </p:nvPr>
        </p:nvSpPr>
        <p:spPr/>
        <p:txBody>
          <a:bodyPr/>
          <a:lstStyle/>
          <a:p>
            <a:r>
              <a:rPr lang="nl-NL" dirty="0"/>
              <a:t>Systeem Vernieuwing Werk en Inkomen</a:t>
            </a:r>
          </a:p>
        </p:txBody>
      </p:sp>
      <p:sp>
        <p:nvSpPr>
          <p:cNvPr id="3" name="Ondertitel 2">
            <a:extLst>
              <a:ext uri="{FF2B5EF4-FFF2-40B4-BE49-F238E27FC236}">
                <a16:creationId xmlns:a16="http://schemas.microsoft.com/office/drawing/2014/main" id="{F1529A5D-8DBE-464A-86D2-A3353DCF5634}"/>
              </a:ext>
            </a:extLst>
          </p:cNvPr>
          <p:cNvSpPr>
            <a:spLocks noGrp="1"/>
          </p:cNvSpPr>
          <p:nvPr>
            <p:ph type="body" idx="1"/>
          </p:nvPr>
        </p:nvSpPr>
        <p:spPr/>
        <p:txBody>
          <a:bodyPr/>
          <a:lstStyle/>
          <a:p>
            <a:r>
              <a:rPr lang="nl-NL" sz="2800" dirty="0"/>
              <a:t>Informatiebijeenkomst</a:t>
            </a:r>
          </a:p>
          <a:p>
            <a:r>
              <a:rPr lang="nl-NL" sz="2800" dirty="0"/>
              <a:t>Europese Aanbesteding SVWI</a:t>
            </a:r>
          </a:p>
          <a:p>
            <a:endParaRPr lang="nl-NL" dirty="0"/>
          </a:p>
          <a:p>
            <a:r>
              <a:rPr lang="nl-NL" sz="2400" dirty="0"/>
              <a:t>26 juli 2021</a:t>
            </a:r>
          </a:p>
        </p:txBody>
      </p:sp>
      <p:sp>
        <p:nvSpPr>
          <p:cNvPr id="4" name="Titel 1">
            <a:extLst>
              <a:ext uri="{FF2B5EF4-FFF2-40B4-BE49-F238E27FC236}">
                <a16:creationId xmlns:a16="http://schemas.microsoft.com/office/drawing/2014/main" id="{C7A3489C-21F2-424D-854F-262216AF9E11}"/>
              </a:ext>
            </a:extLst>
          </p:cNvPr>
          <p:cNvSpPr txBox="1">
            <a:spLocks/>
          </p:cNvSpPr>
          <p:nvPr/>
        </p:nvSpPr>
        <p:spPr>
          <a:xfrm>
            <a:off x="847205" y="228600"/>
            <a:ext cx="3362845" cy="939482"/>
          </a:xfrm>
          <a:prstGeom prst="rect">
            <a:avLst/>
          </a:prstGeom>
        </p:spPr>
        <p:txBody>
          <a:bodyPr vert="horz" lIns="72000" tIns="54000" rIns="72000" bIns="54000" rtlCol="0" anchor="b">
            <a:noAutofit/>
          </a:bodyPr>
          <a:lstStyle>
            <a:lvl1pPr algn="l" defTabSz="685800" rtl="0" eaLnBrk="1" latinLnBrk="0" hangingPunct="1">
              <a:lnSpc>
                <a:spcPct val="90000"/>
              </a:lnSpc>
              <a:spcBef>
                <a:spcPct val="0"/>
              </a:spcBef>
              <a:buNone/>
              <a:defRPr sz="4050" b="1" kern="1200" cap="all" baseline="0" smtClean="0">
                <a:solidFill>
                  <a:schemeClr val="bg1"/>
                </a:solidFill>
                <a:latin typeface="Corbel" panose="020B0503020204020204" pitchFamily="34" charset="0"/>
                <a:ea typeface="+mj-ea"/>
                <a:cs typeface="+mj-cs"/>
              </a:defRPr>
            </a:lvl1pPr>
          </a:lstStyle>
          <a:p>
            <a:r>
              <a:rPr lang="nl-NL" sz="3200" cap="none" dirty="0"/>
              <a:t>Gemeente</a:t>
            </a:r>
          </a:p>
          <a:p>
            <a:r>
              <a:rPr lang="nl-NL" sz="3200" cap="none" dirty="0"/>
              <a:t>Amsterdam</a:t>
            </a:r>
          </a:p>
        </p:txBody>
      </p:sp>
    </p:spTree>
    <p:extLst>
      <p:ext uri="{BB962C8B-B14F-4D97-AF65-F5344CB8AC3E}">
        <p14:creationId xmlns:p14="http://schemas.microsoft.com/office/powerpoint/2010/main" val="20420155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80BC12-34C1-4066-972D-89C5B7F7415A}"/>
              </a:ext>
            </a:extLst>
          </p:cNvPr>
          <p:cNvSpPr>
            <a:spLocks noGrp="1"/>
          </p:cNvSpPr>
          <p:nvPr>
            <p:ph type="title"/>
          </p:nvPr>
        </p:nvSpPr>
        <p:spPr/>
        <p:txBody>
          <a:bodyPr/>
          <a:lstStyle/>
          <a:p>
            <a:r>
              <a:rPr lang="nl-NL" dirty="0"/>
              <a:t>Doelarchitectuur applicatie-landschap Werk en Inkomen (2)</a:t>
            </a:r>
          </a:p>
        </p:txBody>
      </p:sp>
      <p:sp>
        <p:nvSpPr>
          <p:cNvPr id="4" name="Tijdelijke aanduiding voor dianummer 3">
            <a:extLst>
              <a:ext uri="{FF2B5EF4-FFF2-40B4-BE49-F238E27FC236}">
                <a16:creationId xmlns:a16="http://schemas.microsoft.com/office/drawing/2014/main" id="{B10C1B42-ED9E-44A7-B3BD-3E56C4AF4761}"/>
              </a:ext>
            </a:extLst>
          </p:cNvPr>
          <p:cNvSpPr>
            <a:spLocks noGrp="1"/>
          </p:cNvSpPr>
          <p:nvPr>
            <p:ph type="sldNum" sz="quarter" idx="11"/>
          </p:nvPr>
        </p:nvSpPr>
        <p:spPr/>
        <p:txBody>
          <a:bodyPr/>
          <a:lstStyle/>
          <a:p>
            <a:fld id="{992CD0B2-8AB2-4C6C-8876-E15753662C9B}" type="slidenum">
              <a:rPr lang="nl-NL" noProof="0" smtClean="0"/>
              <a:pPr/>
              <a:t>10</a:t>
            </a:fld>
            <a:endParaRPr lang="nl-NL" noProof="0"/>
          </a:p>
        </p:txBody>
      </p:sp>
      <p:pic>
        <p:nvPicPr>
          <p:cNvPr id="5" name="Afbeelding 4">
            <a:extLst>
              <a:ext uri="{FF2B5EF4-FFF2-40B4-BE49-F238E27FC236}">
                <a16:creationId xmlns:a16="http://schemas.microsoft.com/office/drawing/2014/main" id="{B4DF3703-A240-4765-A879-059EC7311656}"/>
              </a:ext>
            </a:extLst>
          </p:cNvPr>
          <p:cNvPicPr>
            <a:picLocks noChangeAspect="1"/>
          </p:cNvPicPr>
          <p:nvPr/>
        </p:nvPicPr>
        <p:blipFill>
          <a:blip r:embed="rId2"/>
          <a:stretch>
            <a:fillRect/>
          </a:stretch>
        </p:blipFill>
        <p:spPr>
          <a:xfrm>
            <a:off x="1528761" y="1303432"/>
            <a:ext cx="9134478" cy="5209985"/>
          </a:xfrm>
          <a:prstGeom prst="rect">
            <a:avLst/>
          </a:prstGeom>
        </p:spPr>
      </p:pic>
      <p:sp>
        <p:nvSpPr>
          <p:cNvPr id="6" name="Tijdelijke aanduiding voor voettekst 5">
            <a:extLst>
              <a:ext uri="{FF2B5EF4-FFF2-40B4-BE49-F238E27FC236}">
                <a16:creationId xmlns:a16="http://schemas.microsoft.com/office/drawing/2014/main" id="{09EC5B69-2EDD-4161-B4CB-FE1083D65888}"/>
              </a:ext>
            </a:extLst>
          </p:cNvPr>
          <p:cNvSpPr>
            <a:spLocks noGrp="1"/>
          </p:cNvSpPr>
          <p:nvPr>
            <p:ph type="ftr" sz="quarter" idx="10"/>
          </p:nvPr>
        </p:nvSpPr>
        <p:spPr/>
        <p:txBody>
          <a:bodyPr/>
          <a:lstStyle/>
          <a:p>
            <a:r>
              <a:rPr lang="nl-NL"/>
              <a:t>Informatiebijeenkomst 26 juli 2021 Europese Aanbesteding SVWI</a:t>
            </a:r>
          </a:p>
        </p:txBody>
      </p:sp>
    </p:spTree>
    <p:extLst>
      <p:ext uri="{BB962C8B-B14F-4D97-AF65-F5344CB8AC3E}">
        <p14:creationId xmlns:p14="http://schemas.microsoft.com/office/powerpoint/2010/main" val="28929179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25570C22-B3A9-4B2E-9CEB-D29DD40E566C}"/>
              </a:ext>
            </a:extLst>
          </p:cNvPr>
          <p:cNvSpPr>
            <a:spLocks noGrp="1"/>
          </p:cNvSpPr>
          <p:nvPr>
            <p:ph type="sldNum" sz="quarter" idx="12"/>
          </p:nvPr>
        </p:nvSpPr>
        <p:spPr/>
        <p:txBody>
          <a:bodyPr/>
          <a:lstStyle/>
          <a:p>
            <a:fld id="{992CD0B2-8AB2-4C6C-8876-E15753662C9B}" type="slidenum">
              <a:rPr lang="nl-NL" noProof="0" smtClean="0"/>
              <a:pPr/>
              <a:t>11</a:t>
            </a:fld>
            <a:endParaRPr lang="nl-NL" noProof="0"/>
          </a:p>
        </p:txBody>
      </p:sp>
      <p:sp>
        <p:nvSpPr>
          <p:cNvPr id="5" name="Tijdelijke aanduiding voor tekst 4">
            <a:extLst>
              <a:ext uri="{FF2B5EF4-FFF2-40B4-BE49-F238E27FC236}">
                <a16:creationId xmlns:a16="http://schemas.microsoft.com/office/drawing/2014/main" id="{CAC512A9-450F-40BA-8BA2-19F7E321CA3D}"/>
              </a:ext>
            </a:extLst>
          </p:cNvPr>
          <p:cNvSpPr>
            <a:spLocks noGrp="1"/>
          </p:cNvSpPr>
          <p:nvPr>
            <p:ph type="body" sz="quarter" idx="14"/>
          </p:nvPr>
        </p:nvSpPr>
        <p:spPr>
          <a:xfrm>
            <a:off x="658813" y="2514600"/>
            <a:ext cx="10874374" cy="2057400"/>
          </a:xfrm>
        </p:spPr>
        <p:txBody>
          <a:bodyPr/>
          <a:lstStyle/>
          <a:p>
            <a:r>
              <a:rPr lang="nl-NL" dirty="0"/>
              <a:t>Procedure</a:t>
            </a:r>
            <a:br>
              <a:rPr lang="nl-NL" dirty="0"/>
            </a:br>
            <a:r>
              <a:rPr lang="nl-NL" sz="3600" dirty="0"/>
              <a:t>Concurrentie-gerichte dialoog</a:t>
            </a:r>
          </a:p>
          <a:p>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ob Vos – lead </a:t>
            </a:r>
            <a:r>
              <a:rPr kumimoji="0" lang="nl-NL" sz="1400" b="1"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buyer</a:t>
            </a: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ICT</a:t>
            </a:r>
            <a:endParaRPr lang="nl-NL" dirty="0"/>
          </a:p>
        </p:txBody>
      </p:sp>
      <p:sp>
        <p:nvSpPr>
          <p:cNvPr id="6" name="Tijdelijke aanduiding voor voettekst 5">
            <a:extLst>
              <a:ext uri="{FF2B5EF4-FFF2-40B4-BE49-F238E27FC236}">
                <a16:creationId xmlns:a16="http://schemas.microsoft.com/office/drawing/2014/main" id="{D951A117-C7A3-447E-8803-D8B4B0AF4CAB}"/>
              </a:ext>
            </a:extLst>
          </p:cNvPr>
          <p:cNvSpPr>
            <a:spLocks noGrp="1"/>
          </p:cNvSpPr>
          <p:nvPr>
            <p:ph type="ftr" sz="quarter" idx="11"/>
          </p:nvPr>
        </p:nvSpPr>
        <p:spPr/>
        <p:txBody>
          <a:bodyPr/>
          <a:lstStyle/>
          <a:p>
            <a:r>
              <a:rPr lang="nl-NL"/>
              <a:t>Informatiebijeenkomst 26 juli 2021 Europese Aanbesteding SVWI</a:t>
            </a:r>
          </a:p>
        </p:txBody>
      </p:sp>
    </p:spTree>
    <p:extLst>
      <p:ext uri="{BB962C8B-B14F-4D97-AF65-F5344CB8AC3E}">
        <p14:creationId xmlns:p14="http://schemas.microsoft.com/office/powerpoint/2010/main" val="38810376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36E26FFF-807E-3341-A0A4-84C0F348D481}"/>
              </a:ext>
            </a:extLst>
          </p:cNvPr>
          <p:cNvSpPr>
            <a:spLocks noGrp="1"/>
          </p:cNvSpPr>
          <p:nvPr>
            <p:ph type="title"/>
          </p:nvPr>
        </p:nvSpPr>
        <p:spPr/>
        <p:txBody>
          <a:bodyPr/>
          <a:lstStyle/>
          <a:p>
            <a:r>
              <a:rPr lang="nl-NL" dirty="0"/>
              <a:t>De aanbestedingsprocedure</a:t>
            </a:r>
          </a:p>
        </p:txBody>
      </p:sp>
      <p:cxnSp>
        <p:nvCxnSpPr>
          <p:cNvPr id="9" name="Rechte verbindingslijn 8">
            <a:extLst>
              <a:ext uri="{FF2B5EF4-FFF2-40B4-BE49-F238E27FC236}">
                <a16:creationId xmlns:a16="http://schemas.microsoft.com/office/drawing/2014/main" id="{328884E5-CE17-DC4F-9B96-C7CA79195121}"/>
              </a:ext>
            </a:extLst>
          </p:cNvPr>
          <p:cNvCxnSpPr>
            <a:cxnSpLocks/>
            <a:stCxn id="10" idx="3"/>
            <a:endCxn id="14" idx="1"/>
          </p:cNvCxnSpPr>
          <p:nvPr/>
        </p:nvCxnSpPr>
        <p:spPr>
          <a:xfrm flipV="1">
            <a:off x="1819511" y="2414602"/>
            <a:ext cx="8030217"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Afgeronde rechthoek 9">
            <a:extLst>
              <a:ext uri="{FF2B5EF4-FFF2-40B4-BE49-F238E27FC236}">
                <a16:creationId xmlns:a16="http://schemas.microsoft.com/office/drawing/2014/main" id="{D599A145-5E66-1B4C-8AF5-C7119C8E5D12}"/>
              </a:ext>
            </a:extLst>
          </p:cNvPr>
          <p:cNvSpPr/>
          <p:nvPr/>
        </p:nvSpPr>
        <p:spPr>
          <a:xfrm>
            <a:off x="728093" y="2046925"/>
            <a:ext cx="1091418" cy="735355"/>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Publicatie selectieleidraad</a:t>
            </a:r>
          </a:p>
        </p:txBody>
      </p:sp>
      <p:sp>
        <p:nvSpPr>
          <p:cNvPr id="11" name="Afgeronde rechthoek 10">
            <a:extLst>
              <a:ext uri="{FF2B5EF4-FFF2-40B4-BE49-F238E27FC236}">
                <a16:creationId xmlns:a16="http://schemas.microsoft.com/office/drawing/2014/main" id="{CC846BAA-4F6C-994C-A9F8-6FB45C44A890}"/>
              </a:ext>
            </a:extLst>
          </p:cNvPr>
          <p:cNvSpPr/>
          <p:nvPr/>
        </p:nvSpPr>
        <p:spPr>
          <a:xfrm>
            <a:off x="3374223" y="2046924"/>
            <a:ext cx="1178957" cy="735355"/>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ragen geïnteresseerd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 18-08</a:t>
            </a:r>
            <a:endPar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2" name="Afgeronde rechthoek 11">
            <a:extLst>
              <a:ext uri="{FF2B5EF4-FFF2-40B4-BE49-F238E27FC236}">
                <a16:creationId xmlns:a16="http://schemas.microsoft.com/office/drawing/2014/main" id="{E5F8652F-E7E1-FE43-8BFF-BD5E971E778A}"/>
              </a:ext>
            </a:extLst>
          </p:cNvPr>
          <p:cNvSpPr/>
          <p:nvPr/>
        </p:nvSpPr>
        <p:spPr>
          <a:xfrm>
            <a:off x="7451283" y="2046924"/>
            <a:ext cx="1179129" cy="735355"/>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melding geïnteresseerd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p 28-09</a:t>
            </a:r>
            <a:endPar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3" name="Afgeronde rechthoek 12">
            <a:extLst>
              <a:ext uri="{FF2B5EF4-FFF2-40B4-BE49-F238E27FC236}">
                <a16:creationId xmlns:a16="http://schemas.microsoft.com/office/drawing/2014/main" id="{CB3336D3-42A6-864B-B104-AE4AD64E8AE0}"/>
              </a:ext>
            </a:extLst>
          </p:cNvPr>
          <p:cNvSpPr/>
          <p:nvPr/>
        </p:nvSpPr>
        <p:spPr>
          <a:xfrm>
            <a:off x="8810475" y="2046924"/>
            <a:ext cx="859192" cy="735355"/>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electie van  gegadigden</a:t>
            </a:r>
          </a:p>
        </p:txBody>
      </p:sp>
      <p:sp>
        <p:nvSpPr>
          <p:cNvPr id="14" name="Afgeronde rechthoek 13">
            <a:extLst>
              <a:ext uri="{FF2B5EF4-FFF2-40B4-BE49-F238E27FC236}">
                <a16:creationId xmlns:a16="http://schemas.microsoft.com/office/drawing/2014/main" id="{5A3A7FBA-0720-C04D-91F8-A7887B548336}"/>
              </a:ext>
            </a:extLst>
          </p:cNvPr>
          <p:cNvSpPr/>
          <p:nvPr/>
        </p:nvSpPr>
        <p:spPr>
          <a:xfrm>
            <a:off x="9849728" y="2046924"/>
            <a:ext cx="1207544" cy="735355"/>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nodigen Geschikte gegadigd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p 18-10</a:t>
            </a:r>
            <a:endPar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3" name="Rechte verbindingslijn 32">
            <a:extLst>
              <a:ext uri="{FF2B5EF4-FFF2-40B4-BE49-F238E27FC236}">
                <a16:creationId xmlns:a16="http://schemas.microsoft.com/office/drawing/2014/main" id="{3FC5A4C3-011A-0244-9892-4D43DC40E7D9}"/>
              </a:ext>
            </a:extLst>
          </p:cNvPr>
          <p:cNvCxnSpPr>
            <a:cxnSpLocks/>
            <a:stCxn id="49" idx="3"/>
            <a:endCxn id="43" idx="1"/>
          </p:cNvCxnSpPr>
          <p:nvPr/>
        </p:nvCxnSpPr>
        <p:spPr>
          <a:xfrm>
            <a:off x="1935637" y="4865496"/>
            <a:ext cx="62726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Afgeronde rechthoek 38">
            <a:extLst>
              <a:ext uri="{FF2B5EF4-FFF2-40B4-BE49-F238E27FC236}">
                <a16:creationId xmlns:a16="http://schemas.microsoft.com/office/drawing/2014/main" id="{01337596-CA8A-B243-A40E-35031AF729F8}"/>
              </a:ext>
            </a:extLst>
          </p:cNvPr>
          <p:cNvSpPr/>
          <p:nvPr/>
        </p:nvSpPr>
        <p:spPr>
          <a:xfrm>
            <a:off x="3339741" y="4511669"/>
            <a:ext cx="1032457" cy="735355"/>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ier dialoogrondes</a:t>
            </a:r>
          </a:p>
        </p:txBody>
      </p:sp>
      <p:sp>
        <p:nvSpPr>
          <p:cNvPr id="40" name="Afgeronde rechthoek 39">
            <a:extLst>
              <a:ext uri="{FF2B5EF4-FFF2-40B4-BE49-F238E27FC236}">
                <a16:creationId xmlns:a16="http://schemas.microsoft.com/office/drawing/2014/main" id="{3B4CE81D-DDD0-964C-A56A-44F455506801}"/>
              </a:ext>
            </a:extLst>
          </p:cNvPr>
          <p:cNvSpPr/>
          <p:nvPr/>
        </p:nvSpPr>
        <p:spPr>
          <a:xfrm>
            <a:off x="4583757" y="4515224"/>
            <a:ext cx="1149684" cy="735355"/>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ntvangst definitieve Inschrijvingen</a:t>
            </a:r>
          </a:p>
        </p:txBody>
      </p:sp>
      <p:sp>
        <p:nvSpPr>
          <p:cNvPr id="41" name="Afgeronde rechthoek 40">
            <a:extLst>
              <a:ext uri="{FF2B5EF4-FFF2-40B4-BE49-F238E27FC236}">
                <a16:creationId xmlns:a16="http://schemas.microsoft.com/office/drawing/2014/main" id="{0B948921-E6CD-254D-8199-D9EDA3EE3642}"/>
              </a:ext>
            </a:extLst>
          </p:cNvPr>
          <p:cNvSpPr/>
          <p:nvPr/>
        </p:nvSpPr>
        <p:spPr>
          <a:xfrm>
            <a:off x="5945000" y="4511669"/>
            <a:ext cx="980986" cy="735355"/>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oordelen Inschrijvingen</a:t>
            </a:r>
          </a:p>
        </p:txBody>
      </p:sp>
      <p:sp>
        <p:nvSpPr>
          <p:cNvPr id="42" name="Afgeronde rechthoek 41">
            <a:extLst>
              <a:ext uri="{FF2B5EF4-FFF2-40B4-BE49-F238E27FC236}">
                <a16:creationId xmlns:a16="http://schemas.microsoft.com/office/drawing/2014/main" id="{A3FD4A33-75D4-4341-BDF7-CBA06C46AAE9}"/>
              </a:ext>
            </a:extLst>
          </p:cNvPr>
          <p:cNvSpPr/>
          <p:nvPr/>
        </p:nvSpPr>
        <p:spPr>
          <a:xfrm>
            <a:off x="7137544" y="4511669"/>
            <a:ext cx="859192" cy="735355"/>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unning</a:t>
            </a:r>
          </a:p>
        </p:txBody>
      </p:sp>
      <p:sp>
        <p:nvSpPr>
          <p:cNvPr id="43" name="Afgeronde rechthoek 42">
            <a:extLst>
              <a:ext uri="{FF2B5EF4-FFF2-40B4-BE49-F238E27FC236}">
                <a16:creationId xmlns:a16="http://schemas.microsoft.com/office/drawing/2014/main" id="{39430E07-C783-994B-BFF3-8BD905554F8E}"/>
              </a:ext>
            </a:extLst>
          </p:cNvPr>
          <p:cNvSpPr/>
          <p:nvPr/>
        </p:nvSpPr>
        <p:spPr>
          <a:xfrm>
            <a:off x="8208293" y="4497818"/>
            <a:ext cx="859192" cy="735355"/>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Contract afsluiten</a:t>
            </a:r>
          </a:p>
        </p:txBody>
      </p:sp>
      <p:sp>
        <p:nvSpPr>
          <p:cNvPr id="49" name="Afgeronde rechthoek 48">
            <a:extLst>
              <a:ext uri="{FF2B5EF4-FFF2-40B4-BE49-F238E27FC236}">
                <a16:creationId xmlns:a16="http://schemas.microsoft.com/office/drawing/2014/main" id="{E294C911-425C-F349-9118-B71EEE5B9A2E}"/>
              </a:ext>
            </a:extLst>
          </p:cNvPr>
          <p:cNvSpPr/>
          <p:nvPr/>
        </p:nvSpPr>
        <p:spPr>
          <a:xfrm>
            <a:off x="728093" y="4497818"/>
            <a:ext cx="1207544" cy="735355"/>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ntvangst Eerste inschrijvingen</a:t>
            </a:r>
          </a:p>
        </p:txBody>
      </p:sp>
      <p:sp>
        <p:nvSpPr>
          <p:cNvPr id="50" name="Afgeronde rechthoek 49">
            <a:extLst>
              <a:ext uri="{FF2B5EF4-FFF2-40B4-BE49-F238E27FC236}">
                <a16:creationId xmlns:a16="http://schemas.microsoft.com/office/drawing/2014/main" id="{6A143AD0-8190-3247-8B29-EDC24BFC4AF9}"/>
              </a:ext>
            </a:extLst>
          </p:cNvPr>
          <p:cNvSpPr/>
          <p:nvPr/>
        </p:nvSpPr>
        <p:spPr>
          <a:xfrm>
            <a:off x="2147196" y="4486274"/>
            <a:ext cx="980986" cy="735355"/>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oordelen Eerste inschrijvingen</a:t>
            </a:r>
          </a:p>
        </p:txBody>
      </p:sp>
      <p:sp>
        <p:nvSpPr>
          <p:cNvPr id="56" name="Tekstvak 55">
            <a:extLst>
              <a:ext uri="{FF2B5EF4-FFF2-40B4-BE49-F238E27FC236}">
                <a16:creationId xmlns:a16="http://schemas.microsoft.com/office/drawing/2014/main" id="{0A74EDF3-6E43-A24A-B572-A929BFD20B75}"/>
              </a:ext>
            </a:extLst>
          </p:cNvPr>
          <p:cNvSpPr txBox="1"/>
          <p:nvPr/>
        </p:nvSpPr>
        <p:spPr>
          <a:xfrm>
            <a:off x="876786" y="3024554"/>
            <a:ext cx="1930337" cy="646331"/>
          </a:xfrm>
          <a:prstGeom prst="rect">
            <a:avLst/>
          </a:prstGeom>
          <a:noFill/>
        </p:spPr>
        <p:txBody>
          <a:bodyPr wrap="none" rtlCol="0">
            <a:spAutoFit/>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sluitingscriteria (UEA)</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schiktheidseise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electiecriteria</a:t>
            </a:r>
          </a:p>
        </p:txBody>
      </p:sp>
      <p:grpSp>
        <p:nvGrpSpPr>
          <p:cNvPr id="63" name="Groep 62">
            <a:extLst>
              <a:ext uri="{FF2B5EF4-FFF2-40B4-BE49-F238E27FC236}">
                <a16:creationId xmlns:a16="http://schemas.microsoft.com/office/drawing/2014/main" id="{6D2A9182-CD40-1843-B874-F7830467B77C}"/>
              </a:ext>
            </a:extLst>
          </p:cNvPr>
          <p:cNvGrpSpPr/>
          <p:nvPr/>
        </p:nvGrpSpPr>
        <p:grpSpPr>
          <a:xfrm>
            <a:off x="860954" y="2863923"/>
            <a:ext cx="554892" cy="862982"/>
            <a:chOff x="1008185" y="3293768"/>
            <a:chExt cx="554892" cy="862982"/>
          </a:xfrm>
        </p:grpSpPr>
        <p:cxnSp>
          <p:nvCxnSpPr>
            <p:cNvPr id="58" name="Rechte verbindingslijn 57">
              <a:extLst>
                <a:ext uri="{FF2B5EF4-FFF2-40B4-BE49-F238E27FC236}">
                  <a16:creationId xmlns:a16="http://schemas.microsoft.com/office/drawing/2014/main" id="{0628A336-2AB8-DD47-A660-97543138B591}"/>
                </a:ext>
              </a:extLst>
            </p:cNvPr>
            <p:cNvCxnSpPr/>
            <p:nvPr/>
          </p:nvCxnSpPr>
          <p:spPr>
            <a:xfrm>
              <a:off x="1008185" y="3293768"/>
              <a:ext cx="0" cy="862982"/>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ED3297BB-5E42-E541-A447-A7BBDFC96BC2}"/>
                </a:ext>
              </a:extLst>
            </p:cNvPr>
            <p:cNvCxnSpPr/>
            <p:nvPr/>
          </p:nvCxnSpPr>
          <p:spPr>
            <a:xfrm>
              <a:off x="1008185" y="4156750"/>
              <a:ext cx="554892"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64" name="Tekstvak 63">
            <a:extLst>
              <a:ext uri="{FF2B5EF4-FFF2-40B4-BE49-F238E27FC236}">
                <a16:creationId xmlns:a16="http://schemas.microsoft.com/office/drawing/2014/main" id="{3008EB33-0737-2E44-B564-E9F530880CEA}"/>
              </a:ext>
            </a:extLst>
          </p:cNvPr>
          <p:cNvSpPr txBox="1"/>
          <p:nvPr/>
        </p:nvSpPr>
        <p:spPr>
          <a:xfrm>
            <a:off x="3498580" y="3024554"/>
            <a:ext cx="1622560" cy="276999"/>
          </a:xfrm>
          <a:prstGeom prst="rect">
            <a:avLst/>
          </a:prstGeom>
          <a:ln>
            <a:noFill/>
          </a:ln>
        </p:spPr>
        <p:style>
          <a:lnRef idx="1">
            <a:schemeClr val="accent1"/>
          </a:lnRef>
          <a:fillRef idx="0">
            <a:schemeClr val="accent1"/>
          </a:fillRef>
          <a:effectRef idx="0">
            <a:schemeClr val="accent1"/>
          </a:effectRef>
          <a:fontRef idx="minor">
            <a:schemeClr val="tx1"/>
          </a:fontRef>
        </p:style>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Nota van Inlichtingen</a:t>
            </a:r>
          </a:p>
        </p:txBody>
      </p:sp>
      <p:grpSp>
        <p:nvGrpSpPr>
          <p:cNvPr id="65" name="Groep 64">
            <a:extLst>
              <a:ext uri="{FF2B5EF4-FFF2-40B4-BE49-F238E27FC236}">
                <a16:creationId xmlns:a16="http://schemas.microsoft.com/office/drawing/2014/main" id="{530C29FD-0C38-ED4A-B719-DE59A7C991D9}"/>
              </a:ext>
            </a:extLst>
          </p:cNvPr>
          <p:cNvGrpSpPr/>
          <p:nvPr/>
        </p:nvGrpSpPr>
        <p:grpSpPr>
          <a:xfrm>
            <a:off x="3483008" y="2899064"/>
            <a:ext cx="554892" cy="440982"/>
            <a:chOff x="1008185" y="3293768"/>
            <a:chExt cx="554892" cy="862982"/>
          </a:xfrm>
        </p:grpSpPr>
        <p:cxnSp>
          <p:nvCxnSpPr>
            <p:cNvPr id="66" name="Rechte verbindingslijn 65">
              <a:extLst>
                <a:ext uri="{FF2B5EF4-FFF2-40B4-BE49-F238E27FC236}">
                  <a16:creationId xmlns:a16="http://schemas.microsoft.com/office/drawing/2014/main" id="{D615F720-5990-2841-A01A-627D0C64A460}"/>
                </a:ext>
              </a:extLst>
            </p:cNvPr>
            <p:cNvCxnSpPr/>
            <p:nvPr/>
          </p:nvCxnSpPr>
          <p:spPr>
            <a:xfrm>
              <a:off x="1008185" y="3293768"/>
              <a:ext cx="0" cy="862982"/>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Rechte verbindingslijn 66">
              <a:extLst>
                <a:ext uri="{FF2B5EF4-FFF2-40B4-BE49-F238E27FC236}">
                  <a16:creationId xmlns:a16="http://schemas.microsoft.com/office/drawing/2014/main" id="{81CE574A-BEB9-7342-AA79-05B9629D1A19}"/>
                </a:ext>
              </a:extLst>
            </p:cNvPr>
            <p:cNvCxnSpPr/>
            <p:nvPr/>
          </p:nvCxnSpPr>
          <p:spPr>
            <a:xfrm>
              <a:off x="1008185" y="4156750"/>
              <a:ext cx="554892"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68" name="Afgeronde rechthoek 67">
            <a:extLst>
              <a:ext uri="{FF2B5EF4-FFF2-40B4-BE49-F238E27FC236}">
                <a16:creationId xmlns:a16="http://schemas.microsoft.com/office/drawing/2014/main" id="{EFDF710B-9B18-5D49-85F8-99C6FA069DF0}"/>
              </a:ext>
            </a:extLst>
          </p:cNvPr>
          <p:cNvSpPr/>
          <p:nvPr/>
        </p:nvSpPr>
        <p:spPr>
          <a:xfrm>
            <a:off x="2015203" y="2067847"/>
            <a:ext cx="1178957" cy="735355"/>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erste informatie- bijeenkomst</a:t>
            </a:r>
          </a:p>
        </p:txBody>
      </p:sp>
      <p:sp>
        <p:nvSpPr>
          <p:cNvPr id="69" name="Afgeronde rechthoek 68">
            <a:extLst>
              <a:ext uri="{FF2B5EF4-FFF2-40B4-BE49-F238E27FC236}">
                <a16:creationId xmlns:a16="http://schemas.microsoft.com/office/drawing/2014/main" id="{A7D7A4BA-CE1A-3048-8902-A46A53A960A2}"/>
              </a:ext>
            </a:extLst>
          </p:cNvPr>
          <p:cNvSpPr/>
          <p:nvPr/>
        </p:nvSpPr>
        <p:spPr>
          <a:xfrm>
            <a:off x="6092263" y="2028742"/>
            <a:ext cx="1178957" cy="735355"/>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ragen geïnteresseerd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 12-09</a:t>
            </a:r>
            <a:endPar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70" name="Afgeronde rechthoek 69">
            <a:extLst>
              <a:ext uri="{FF2B5EF4-FFF2-40B4-BE49-F238E27FC236}">
                <a16:creationId xmlns:a16="http://schemas.microsoft.com/office/drawing/2014/main" id="{982C5739-5EDC-354A-9DCD-009EBF4B4564}"/>
              </a:ext>
            </a:extLst>
          </p:cNvPr>
          <p:cNvSpPr/>
          <p:nvPr/>
        </p:nvSpPr>
        <p:spPr>
          <a:xfrm>
            <a:off x="4733243" y="2049665"/>
            <a:ext cx="1178957" cy="735355"/>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weede informatie- bijeenkom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p 26-08</a:t>
            </a:r>
            <a:endPar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71" name="Tekstvak 70">
            <a:extLst>
              <a:ext uri="{FF2B5EF4-FFF2-40B4-BE49-F238E27FC236}">
                <a16:creationId xmlns:a16="http://schemas.microsoft.com/office/drawing/2014/main" id="{B4595C0D-3139-3D48-9C31-6B05113AD2F2}"/>
              </a:ext>
            </a:extLst>
          </p:cNvPr>
          <p:cNvSpPr txBox="1"/>
          <p:nvPr/>
        </p:nvSpPr>
        <p:spPr>
          <a:xfrm>
            <a:off x="6222297" y="3024554"/>
            <a:ext cx="162256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Nota van Inlichtingen</a:t>
            </a:r>
          </a:p>
        </p:txBody>
      </p:sp>
      <p:grpSp>
        <p:nvGrpSpPr>
          <p:cNvPr id="72" name="Groep 71">
            <a:extLst>
              <a:ext uri="{FF2B5EF4-FFF2-40B4-BE49-F238E27FC236}">
                <a16:creationId xmlns:a16="http://schemas.microsoft.com/office/drawing/2014/main" id="{A306E192-8DD5-C740-9785-571651F644B6}"/>
              </a:ext>
            </a:extLst>
          </p:cNvPr>
          <p:cNvGrpSpPr/>
          <p:nvPr/>
        </p:nvGrpSpPr>
        <p:grpSpPr>
          <a:xfrm>
            <a:off x="6214478" y="2902974"/>
            <a:ext cx="554892" cy="440982"/>
            <a:chOff x="1008185" y="3293768"/>
            <a:chExt cx="554892" cy="862982"/>
          </a:xfrm>
        </p:grpSpPr>
        <p:cxnSp>
          <p:nvCxnSpPr>
            <p:cNvPr id="73" name="Rechte verbindingslijn 72">
              <a:extLst>
                <a:ext uri="{FF2B5EF4-FFF2-40B4-BE49-F238E27FC236}">
                  <a16:creationId xmlns:a16="http://schemas.microsoft.com/office/drawing/2014/main" id="{BF8C24D8-5B5C-974B-8F94-2CB6FD80D8F0}"/>
                </a:ext>
              </a:extLst>
            </p:cNvPr>
            <p:cNvCxnSpPr/>
            <p:nvPr/>
          </p:nvCxnSpPr>
          <p:spPr>
            <a:xfrm>
              <a:off x="1008185" y="3293768"/>
              <a:ext cx="0" cy="862982"/>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Rechte verbindingslijn 73">
              <a:extLst>
                <a:ext uri="{FF2B5EF4-FFF2-40B4-BE49-F238E27FC236}">
                  <a16:creationId xmlns:a16="http://schemas.microsoft.com/office/drawing/2014/main" id="{29A5AC51-D6E3-DD47-99C6-278780AD80C9}"/>
                </a:ext>
              </a:extLst>
            </p:cNvPr>
            <p:cNvCxnSpPr/>
            <p:nvPr/>
          </p:nvCxnSpPr>
          <p:spPr>
            <a:xfrm>
              <a:off x="1008185" y="4156750"/>
              <a:ext cx="554892"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75" name="Tekstvak 74">
            <a:extLst>
              <a:ext uri="{FF2B5EF4-FFF2-40B4-BE49-F238E27FC236}">
                <a16:creationId xmlns:a16="http://schemas.microsoft.com/office/drawing/2014/main" id="{822DFA22-3464-4940-BF9C-EE2055056A7B}"/>
              </a:ext>
            </a:extLst>
          </p:cNvPr>
          <p:cNvSpPr txBox="1"/>
          <p:nvPr/>
        </p:nvSpPr>
        <p:spPr>
          <a:xfrm>
            <a:off x="9961959" y="3024554"/>
            <a:ext cx="172162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anbestedingsleidraad</a:t>
            </a:r>
          </a:p>
        </p:txBody>
      </p:sp>
      <p:grpSp>
        <p:nvGrpSpPr>
          <p:cNvPr id="76" name="Groep 75">
            <a:extLst>
              <a:ext uri="{FF2B5EF4-FFF2-40B4-BE49-F238E27FC236}">
                <a16:creationId xmlns:a16="http://schemas.microsoft.com/office/drawing/2014/main" id="{DD3EC5A8-E363-D44A-84A0-F33CB7FBC993}"/>
              </a:ext>
            </a:extLst>
          </p:cNvPr>
          <p:cNvGrpSpPr/>
          <p:nvPr/>
        </p:nvGrpSpPr>
        <p:grpSpPr>
          <a:xfrm>
            <a:off x="9954140" y="2918016"/>
            <a:ext cx="554892" cy="440982"/>
            <a:chOff x="1008185" y="3293768"/>
            <a:chExt cx="554892" cy="862982"/>
          </a:xfrm>
        </p:grpSpPr>
        <p:cxnSp>
          <p:nvCxnSpPr>
            <p:cNvPr id="77" name="Rechte verbindingslijn 76">
              <a:extLst>
                <a:ext uri="{FF2B5EF4-FFF2-40B4-BE49-F238E27FC236}">
                  <a16:creationId xmlns:a16="http://schemas.microsoft.com/office/drawing/2014/main" id="{15510090-69D4-3B4A-A818-5265E22FE3B3}"/>
                </a:ext>
              </a:extLst>
            </p:cNvPr>
            <p:cNvCxnSpPr/>
            <p:nvPr/>
          </p:nvCxnSpPr>
          <p:spPr>
            <a:xfrm>
              <a:off x="1008185" y="3293768"/>
              <a:ext cx="0" cy="862982"/>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Rechte verbindingslijn 77">
              <a:extLst>
                <a:ext uri="{FF2B5EF4-FFF2-40B4-BE49-F238E27FC236}">
                  <a16:creationId xmlns:a16="http://schemas.microsoft.com/office/drawing/2014/main" id="{F4EEE043-227D-684A-B407-B7D4B60D56F9}"/>
                </a:ext>
              </a:extLst>
            </p:cNvPr>
            <p:cNvCxnSpPr/>
            <p:nvPr/>
          </p:nvCxnSpPr>
          <p:spPr>
            <a:xfrm>
              <a:off x="1008185" y="4156750"/>
              <a:ext cx="554892"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83" name="Tekstvak 82">
            <a:extLst>
              <a:ext uri="{FF2B5EF4-FFF2-40B4-BE49-F238E27FC236}">
                <a16:creationId xmlns:a16="http://schemas.microsoft.com/office/drawing/2014/main" id="{0B188CCF-28C7-EE44-AF9D-E3F54E57B5E2}"/>
              </a:ext>
            </a:extLst>
          </p:cNvPr>
          <p:cNvSpPr txBox="1"/>
          <p:nvPr/>
        </p:nvSpPr>
        <p:spPr>
          <a:xfrm>
            <a:off x="3412988" y="5312146"/>
            <a:ext cx="3828484" cy="830997"/>
          </a:xfrm>
          <a:prstGeom prst="rect">
            <a:avLst/>
          </a:prstGeom>
          <a:noFill/>
        </p:spPr>
        <p:txBody>
          <a:bodyPr wrap="none" rtlCol="0">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tegratie- en voorkantvoorzien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Werk en Participati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rganisatie, sturing en implementatiepla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vereenkomsten, duurzaamheid, financiële aspecten </a:t>
            </a:r>
          </a:p>
        </p:txBody>
      </p:sp>
      <p:grpSp>
        <p:nvGrpSpPr>
          <p:cNvPr id="84" name="Groep 83">
            <a:extLst>
              <a:ext uri="{FF2B5EF4-FFF2-40B4-BE49-F238E27FC236}">
                <a16:creationId xmlns:a16="http://schemas.microsoft.com/office/drawing/2014/main" id="{54E8CAB6-B763-2547-8053-00E1DADF12C1}"/>
              </a:ext>
            </a:extLst>
          </p:cNvPr>
          <p:cNvGrpSpPr/>
          <p:nvPr/>
        </p:nvGrpSpPr>
        <p:grpSpPr>
          <a:xfrm>
            <a:off x="3397044" y="5277215"/>
            <a:ext cx="554892" cy="862982"/>
            <a:chOff x="1008185" y="3293768"/>
            <a:chExt cx="554892" cy="862982"/>
          </a:xfrm>
        </p:grpSpPr>
        <p:cxnSp>
          <p:nvCxnSpPr>
            <p:cNvPr id="85" name="Rechte verbindingslijn 84">
              <a:extLst>
                <a:ext uri="{FF2B5EF4-FFF2-40B4-BE49-F238E27FC236}">
                  <a16:creationId xmlns:a16="http://schemas.microsoft.com/office/drawing/2014/main" id="{28B1D07A-508E-6440-820F-C5C24DAE93E6}"/>
                </a:ext>
              </a:extLst>
            </p:cNvPr>
            <p:cNvCxnSpPr/>
            <p:nvPr/>
          </p:nvCxnSpPr>
          <p:spPr>
            <a:xfrm>
              <a:off x="1008185" y="3293768"/>
              <a:ext cx="0" cy="862982"/>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Rechte verbindingslijn 85">
              <a:extLst>
                <a:ext uri="{FF2B5EF4-FFF2-40B4-BE49-F238E27FC236}">
                  <a16:creationId xmlns:a16="http://schemas.microsoft.com/office/drawing/2014/main" id="{FA20DF38-84E5-8943-96AE-1CCA943B1FD3}"/>
                </a:ext>
              </a:extLst>
            </p:cNvPr>
            <p:cNvCxnSpPr/>
            <p:nvPr/>
          </p:nvCxnSpPr>
          <p:spPr>
            <a:xfrm>
              <a:off x="1008185" y="4156750"/>
              <a:ext cx="554892"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44" name="Rechthoek 37">
            <a:extLst>
              <a:ext uri="{FF2B5EF4-FFF2-40B4-BE49-F238E27FC236}">
                <a16:creationId xmlns:a16="http://schemas.microsoft.com/office/drawing/2014/main" id="{76A0F270-9FBD-8E41-8E1A-7D84AA3CA89B}"/>
              </a:ext>
            </a:extLst>
          </p:cNvPr>
          <p:cNvSpPr/>
          <p:nvPr/>
        </p:nvSpPr>
        <p:spPr>
          <a:xfrm>
            <a:off x="728093" y="1634828"/>
            <a:ext cx="10313562" cy="324125"/>
          </a:xfrm>
          <a:prstGeom prst="rect">
            <a:avLst/>
          </a:prstGeom>
          <a:solidFill>
            <a:schemeClr val="accent2"/>
          </a:solidFill>
        </p:spPr>
        <p:txBody>
          <a:bodyPr lIns="72000" r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Concurrentiegerichte dialoog, selectiefase</a:t>
            </a:r>
          </a:p>
        </p:txBody>
      </p:sp>
      <p:sp>
        <p:nvSpPr>
          <p:cNvPr id="46" name="Rechthoek 37">
            <a:extLst>
              <a:ext uri="{FF2B5EF4-FFF2-40B4-BE49-F238E27FC236}">
                <a16:creationId xmlns:a16="http://schemas.microsoft.com/office/drawing/2014/main" id="{3BEAEF06-F179-8F46-A21F-5686BD1A5F0A}"/>
              </a:ext>
            </a:extLst>
          </p:cNvPr>
          <p:cNvSpPr/>
          <p:nvPr/>
        </p:nvSpPr>
        <p:spPr>
          <a:xfrm>
            <a:off x="728093" y="4082174"/>
            <a:ext cx="10313562" cy="324125"/>
          </a:xfrm>
          <a:prstGeom prst="rect">
            <a:avLst/>
          </a:prstGeom>
          <a:solidFill>
            <a:schemeClr val="accent2"/>
          </a:solidFill>
        </p:spPr>
        <p:txBody>
          <a:bodyPr lIns="72000" r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Concurrentiegerichte dialoog, dialoogfase</a:t>
            </a:r>
          </a:p>
        </p:txBody>
      </p:sp>
      <p:sp>
        <p:nvSpPr>
          <p:cNvPr id="2" name="Tijdelijke aanduiding voor dianummer 1">
            <a:extLst>
              <a:ext uri="{FF2B5EF4-FFF2-40B4-BE49-F238E27FC236}">
                <a16:creationId xmlns:a16="http://schemas.microsoft.com/office/drawing/2014/main" id="{31A377CA-727E-4609-B424-77A9FC9AEF4D}"/>
              </a:ext>
            </a:extLst>
          </p:cNvPr>
          <p:cNvSpPr>
            <a:spLocks noGrp="1"/>
          </p:cNvSpPr>
          <p:nvPr>
            <p:ph type="sldNum" sz="quarter" idx="12"/>
          </p:nvPr>
        </p:nvSpPr>
        <p:spPr/>
        <p:txBody>
          <a:bodyPr/>
          <a:lstStyle/>
          <a:p>
            <a:fld id="{9F40359A-1FA2-1F41-AF38-1AB46E5EA960}" type="slidenum">
              <a:rPr lang="nl-NL" smtClean="0"/>
              <a:t>12</a:t>
            </a:fld>
            <a:endParaRPr lang="nl-NL"/>
          </a:p>
        </p:txBody>
      </p:sp>
      <p:sp>
        <p:nvSpPr>
          <p:cNvPr id="3" name="Tijdelijke aanduiding voor voettekst 2">
            <a:extLst>
              <a:ext uri="{FF2B5EF4-FFF2-40B4-BE49-F238E27FC236}">
                <a16:creationId xmlns:a16="http://schemas.microsoft.com/office/drawing/2014/main" id="{CAF71A45-4F18-4562-AD95-A606D3522C69}"/>
              </a:ext>
            </a:extLst>
          </p:cNvPr>
          <p:cNvSpPr>
            <a:spLocks noGrp="1"/>
          </p:cNvSpPr>
          <p:nvPr>
            <p:ph type="ftr" sz="quarter" idx="11"/>
          </p:nvPr>
        </p:nvSpPr>
        <p:spPr/>
        <p:txBody>
          <a:bodyPr/>
          <a:lstStyle/>
          <a:p>
            <a:r>
              <a:rPr lang="nl-NL"/>
              <a:t>Informatiebijeenkomst 26 juli 2021 Europese Aanbesteding SVWI</a:t>
            </a:r>
          </a:p>
        </p:txBody>
      </p:sp>
    </p:spTree>
    <p:extLst>
      <p:ext uri="{BB962C8B-B14F-4D97-AF65-F5344CB8AC3E}">
        <p14:creationId xmlns:p14="http://schemas.microsoft.com/office/powerpoint/2010/main" val="30677140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cs typeface="Arial" panose="020B0604020202020204" pitchFamily="34" charset="0"/>
              </a:rPr>
              <a:t>Technische bekwaamheid, de kerncompetenties</a:t>
            </a:r>
            <a:endParaRPr lang="nl-NL" dirty="0"/>
          </a:p>
        </p:txBody>
      </p:sp>
      <p:sp>
        <p:nvSpPr>
          <p:cNvPr id="4" name="Tijdelijke aanduiding voor dia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0359A-1FA2-1F41-AF38-1AB46E5EA960}" type="slidenum">
              <a:rPr kumimoji="0" lang="nl-NL" sz="1200" b="0" i="0" u="none" strike="noStrike" kern="1200" cap="none" spc="0" normalizeH="0" baseline="0" noProof="0" smtClean="0">
                <a:ln>
                  <a:noFill/>
                </a:ln>
                <a:solidFill>
                  <a:srgbClr val="000000"/>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l-NL" sz="1200" b="0" i="0" u="none" strike="noStrike" kern="1200" cap="none" spc="0" normalizeH="0" baseline="0" noProof="0">
              <a:ln>
                <a:noFill/>
              </a:ln>
              <a:solidFill>
                <a:srgbClr val="000000"/>
              </a:solidFill>
              <a:effectLst/>
              <a:uLnTx/>
              <a:uFillTx/>
              <a:latin typeface="Corbel"/>
              <a:ea typeface="+mn-ea"/>
              <a:cs typeface="+mn-cs"/>
            </a:endParaRPr>
          </a:p>
        </p:txBody>
      </p:sp>
      <p:sp>
        <p:nvSpPr>
          <p:cNvPr id="5" name="Rechthoek 4">
            <a:extLst>
              <a:ext uri="{FF2B5EF4-FFF2-40B4-BE49-F238E27FC236}">
                <a16:creationId xmlns:a16="http://schemas.microsoft.com/office/drawing/2014/main" id="{3AEA4EC5-7C6C-1645-98D1-FB9984796E62}"/>
              </a:ext>
            </a:extLst>
          </p:cNvPr>
          <p:cNvSpPr/>
          <p:nvPr/>
        </p:nvSpPr>
        <p:spPr>
          <a:xfrm>
            <a:off x="575522" y="1415239"/>
            <a:ext cx="10853530" cy="4528034"/>
          </a:xfrm>
          <a:prstGeom prst="rect">
            <a:avLst/>
          </a:prstGeom>
        </p:spPr>
        <p:txBody>
          <a:bodyPr wrap="square">
            <a:spAutoFit/>
          </a:bodyPr>
          <a:lstStyle/>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tab pos="270510" algn="l"/>
                <a:tab pos="457200" algn="l"/>
                <a:tab pos="630555" algn="l"/>
                <a:tab pos="914400" algn="l"/>
                <a:tab pos="1371600" algn="l"/>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Kerncompetentie 1 Presentatie en integratie</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457200" marR="0" lvl="1" indent="0" algn="l" defTabSz="914400" rtl="0" eaLnBrk="1" fontAlgn="auto" latinLnBrk="0" hangingPunct="1">
              <a:lnSpc>
                <a:spcPct val="120000"/>
              </a:lnSpc>
              <a:spcBef>
                <a:spcPts val="0"/>
              </a:spcBef>
              <a:spcAft>
                <a:spcPts val="600"/>
              </a:spcAft>
              <a:buClrTx/>
              <a:buSzTx/>
              <a:buFontTx/>
              <a:buNone/>
              <a:tabLst>
                <a:tab pos="270510" algn="l"/>
                <a:tab pos="457200" algn="l"/>
                <a:tab pos="630555" algn="l"/>
                <a:tab pos="914400" algn="l"/>
                <a:tab pos="1371600" algn="l"/>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Times New Roman" panose="02020603050405020304" pitchFamily="18" charset="0"/>
                <a:cs typeface="Times New Roman" panose="02020603050405020304" pitchFamily="18" charset="0"/>
              </a:rPr>
              <a:t>Realiseren, configureren/inrichten en implementeren van een generieke, overkoepelende presentatievoorziening (gebruikers interface) en/of integratievoorziening, met behulp van het </a:t>
            </a:r>
            <a:r>
              <a:rPr kumimoji="0" lang="nl-NL" sz="1200" b="0" i="0" u="none" strike="noStrike" kern="1200" cap="none" spc="0" normalizeH="0" baseline="0" noProof="0" dirty="0" err="1">
                <a:ln>
                  <a:noFill/>
                </a:ln>
                <a:solidFill>
                  <a:srgbClr val="000000"/>
                </a:solidFill>
                <a:effectLst/>
                <a:uLnTx/>
                <a:uFillTx/>
                <a:latin typeface="Corbel" panose="020B0503020204020204" pitchFamily="34" charset="0"/>
                <a:ea typeface="Times New Roman" panose="02020603050405020304" pitchFamily="18" charset="0"/>
                <a:cs typeface="Times New Roman" panose="02020603050405020304" pitchFamily="18" charset="0"/>
              </a:rPr>
              <a:t>Mendix</a:t>
            </a: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Times New Roman" panose="02020603050405020304" pitchFamily="18" charset="0"/>
                <a:cs typeface="Times New Roman" panose="02020603050405020304" pitchFamily="18" charset="0"/>
              </a:rPr>
              <a:t> platform </a:t>
            </a: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tab pos="270510" algn="l"/>
                <a:tab pos="457200" algn="l"/>
                <a:tab pos="630555" algn="l"/>
                <a:tab pos="914400" algn="l"/>
                <a:tab pos="1371600" algn="l"/>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Kerncompetentie 2 Werk &amp; Participatie</a:t>
            </a:r>
          </a:p>
          <a:p>
            <a:pPr marL="457200" marR="0" lvl="1" indent="0" algn="l" defTabSz="914400" rtl="0" eaLnBrk="1" fontAlgn="auto" latinLnBrk="0" hangingPunct="1">
              <a:lnSpc>
                <a:spcPct val="120000"/>
              </a:lnSpc>
              <a:spcBef>
                <a:spcPts val="0"/>
              </a:spcBef>
              <a:spcAft>
                <a:spcPts val="0"/>
              </a:spcAft>
              <a:buClrTx/>
              <a:buSzTx/>
              <a:buFontTx/>
              <a:buNone/>
              <a:tabLst>
                <a:tab pos="270510" algn="l"/>
                <a:tab pos="457200" algn="l"/>
                <a:tab pos="630555" algn="l"/>
                <a:tab pos="914400" algn="l"/>
                <a:tab pos="1371600" algn="l"/>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Times New Roman" panose="02020603050405020304" pitchFamily="18" charset="0"/>
              </a:rPr>
              <a:t>Leveren, realiseren, configureren/inrichten en implementeren van een specifiek werk en participatiesysteem, dat de volgende mogelijkheden bevat:</a:t>
            </a:r>
          </a:p>
          <a:p>
            <a:pPr marL="742950" marR="0" lvl="1" indent="-285750" algn="l" defTabSz="914400" rtl="0" eaLnBrk="1" fontAlgn="auto" latinLnBrk="0" hangingPunct="1">
              <a:lnSpc>
                <a:spcPct val="120000"/>
              </a:lnSpc>
              <a:spcBef>
                <a:spcPts val="0"/>
              </a:spcBef>
              <a:spcAft>
                <a:spcPts val="300"/>
              </a:spcAft>
              <a:buClrTx/>
              <a:buSzTx/>
              <a:buFont typeface="Wingdings" pitchFamily="2" charset="2"/>
              <a:buChar char="§"/>
              <a:tabLst>
                <a:tab pos="270510" algn="l"/>
                <a:tab pos="457200" algn="l"/>
                <a:tab pos="630555" algn="l"/>
                <a:tab pos="914400" algn="l"/>
                <a:tab pos="1371600" algn="l"/>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ragen voor ondersteuning door inwoners</a:t>
            </a:r>
          </a:p>
          <a:p>
            <a:pPr marL="742950" marR="0" lvl="1" indent="-285750" algn="l" defTabSz="914400" rtl="0" eaLnBrk="1" fontAlgn="auto" latinLnBrk="0" hangingPunct="1">
              <a:lnSpc>
                <a:spcPct val="120000"/>
              </a:lnSpc>
              <a:spcBef>
                <a:spcPts val="0"/>
              </a:spcBef>
              <a:spcAft>
                <a:spcPts val="300"/>
              </a:spcAft>
              <a:buClrTx/>
              <a:buSzTx/>
              <a:buFont typeface="Wingdings" pitchFamily="2" charset="2"/>
              <a:buChar char="§"/>
              <a:tabLst>
                <a:tab pos="270510" algn="l"/>
                <a:tab pos="457200" algn="l"/>
                <a:tab pos="630555" algn="l"/>
                <a:tab pos="914400" algn="l"/>
                <a:tab pos="1371600" algn="l"/>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Het aanmelden van organisaties met vacatures</a:t>
            </a:r>
          </a:p>
          <a:p>
            <a:pPr marL="742950" marR="0" lvl="1" indent="-285750" algn="l" defTabSz="914400" rtl="0" eaLnBrk="1" fontAlgn="auto" latinLnBrk="0" hangingPunct="1">
              <a:lnSpc>
                <a:spcPct val="120000"/>
              </a:lnSpc>
              <a:spcBef>
                <a:spcPts val="0"/>
              </a:spcBef>
              <a:spcAft>
                <a:spcPts val="300"/>
              </a:spcAft>
              <a:buClrTx/>
              <a:buSzTx/>
              <a:buFont typeface="Wingdings" pitchFamily="2" charset="2"/>
              <a:buChar char="§"/>
              <a:tabLst>
                <a:tab pos="270510" algn="l"/>
                <a:tab pos="457200" algn="l"/>
                <a:tab pos="630555" algn="l"/>
                <a:tab pos="914400" algn="l"/>
                <a:tab pos="1371600" algn="l"/>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Het opstellen van een klant werkprofiel</a:t>
            </a:r>
          </a:p>
          <a:p>
            <a:pPr marL="742950" marR="0" lvl="1" indent="-285750" algn="l" defTabSz="914400" rtl="0" eaLnBrk="1" fontAlgn="auto" latinLnBrk="0" hangingPunct="1">
              <a:lnSpc>
                <a:spcPct val="120000"/>
              </a:lnSpc>
              <a:spcBef>
                <a:spcPts val="0"/>
              </a:spcBef>
              <a:spcAft>
                <a:spcPts val="300"/>
              </a:spcAft>
              <a:buClrTx/>
              <a:buSzTx/>
              <a:buFont typeface="Wingdings" pitchFamily="2" charset="2"/>
              <a:buChar char="§"/>
              <a:tabLst>
                <a:tab pos="270510" algn="l"/>
                <a:tab pos="457200" algn="l"/>
                <a:tab pos="630555" algn="l"/>
                <a:tab pos="914400" algn="l"/>
                <a:tab pos="1371600" algn="l"/>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Het matchen van klant werkprofielen met vacatures</a:t>
            </a:r>
          </a:p>
          <a:p>
            <a:pPr marL="742950" marR="0" lvl="1" indent="-285750" algn="l" defTabSz="914400" rtl="0" eaLnBrk="1" fontAlgn="auto" latinLnBrk="0" hangingPunct="1">
              <a:lnSpc>
                <a:spcPct val="120000"/>
              </a:lnSpc>
              <a:spcBef>
                <a:spcPts val="0"/>
              </a:spcBef>
              <a:spcAft>
                <a:spcPts val="300"/>
              </a:spcAft>
              <a:buClrTx/>
              <a:buSzTx/>
              <a:buFont typeface="Wingdings" pitchFamily="2" charset="2"/>
              <a:buChar char="§"/>
              <a:tabLst>
                <a:tab pos="270510" algn="l"/>
                <a:tab pos="457200" algn="l"/>
                <a:tab pos="630555" algn="l"/>
                <a:tab pos="914400" algn="l"/>
                <a:tab pos="1371600" algn="l"/>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Het ondersteunen bij het ontwikkelen van werkvaardigheden</a:t>
            </a:r>
          </a:p>
          <a:p>
            <a:pPr marL="742950" marR="0" lvl="1" indent="-285750" algn="l" defTabSz="914400" rtl="0" eaLnBrk="1" fontAlgn="auto" latinLnBrk="0" hangingPunct="1">
              <a:lnSpc>
                <a:spcPct val="120000"/>
              </a:lnSpc>
              <a:spcBef>
                <a:spcPts val="0"/>
              </a:spcBef>
              <a:spcAft>
                <a:spcPts val="0"/>
              </a:spcAft>
              <a:buClrTx/>
              <a:buSzTx/>
              <a:buFont typeface="Wingdings" pitchFamily="2" charset="2"/>
              <a:buChar char="§"/>
              <a:tabLst>
                <a:tab pos="270510" algn="l"/>
                <a:tab pos="457200" algn="l"/>
                <a:tab pos="630555" algn="l"/>
                <a:tab pos="914400" algn="l"/>
                <a:tab pos="1371600" algn="l"/>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Het toekennen en verstrekken van loonkosten- en </a:t>
            </a:r>
            <a:r>
              <a:rPr kumimoji="0" lang="nl-NL" sz="12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Arial" panose="020B0604020202020204" pitchFamily="34" charset="0"/>
              </a:rPr>
              <a:t>loonwaardesubsidies</a:t>
            </a: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t>
            </a:r>
          </a:p>
          <a:p>
            <a:pPr marL="742950" marR="0" lvl="1" indent="-285750" algn="l" defTabSz="914400" rtl="0" eaLnBrk="1" fontAlgn="auto" latinLnBrk="0" hangingPunct="1">
              <a:lnSpc>
                <a:spcPct val="120000"/>
              </a:lnSpc>
              <a:spcBef>
                <a:spcPts val="0"/>
              </a:spcBef>
              <a:spcAft>
                <a:spcPts val="300"/>
              </a:spcAft>
              <a:buClrTx/>
              <a:buSzTx/>
              <a:buFont typeface="Wingdings" pitchFamily="2" charset="2"/>
              <a:buChar char="§"/>
              <a:tabLst>
                <a:tab pos="270510" algn="l"/>
                <a:tab pos="457200" algn="l"/>
                <a:tab pos="630555" algn="l"/>
                <a:tab pos="914400" algn="l"/>
                <a:tab pos="1371600" algn="l"/>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Het ondersteunen bij het uitvoeren van handhavingsmaatregelen</a:t>
            </a:r>
          </a:p>
          <a:p>
            <a:pPr marL="457200" marR="0" lvl="1" indent="0" algn="l" defTabSz="914400" rtl="0" eaLnBrk="1" fontAlgn="auto" latinLnBrk="0" hangingPunct="1">
              <a:lnSpc>
                <a:spcPct val="120000"/>
              </a:lnSpc>
              <a:spcBef>
                <a:spcPts val="0"/>
              </a:spcBef>
              <a:spcAft>
                <a:spcPts val="600"/>
              </a:spcAft>
              <a:buClrTx/>
              <a:buSzTx/>
              <a:buFontTx/>
              <a:buNone/>
              <a:tabLst>
                <a:tab pos="270510" algn="l"/>
                <a:tab pos="457200" algn="l"/>
                <a:tab pos="630555" algn="l"/>
                <a:tab pos="914400" algn="l"/>
                <a:tab pos="1371600" algn="l"/>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Times New Roman" panose="02020603050405020304" pitchFamily="18" charset="0"/>
              </a:rPr>
              <a:t>NB. Deze kerncompetentie kan worden aangetoond door het overleggen van maximaal drie referenties</a:t>
            </a: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tab pos="270510" algn="l"/>
                <a:tab pos="457200" algn="l"/>
                <a:tab pos="630555" algn="l"/>
                <a:tab pos="914400" algn="l"/>
                <a:tab pos="1371600" algn="l"/>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Kerncompetentie 3 </a:t>
            </a:r>
            <a:r>
              <a:rPr kumimoji="0" lang="nl-NL" sz="1400" b="1" i="0" u="none" strike="noStrike" kern="1200" cap="none" spc="0" normalizeH="0" baseline="0" noProof="0" dirty="0" err="1">
                <a:ln>
                  <a:noFill/>
                </a:ln>
                <a:solidFill>
                  <a:srgbClr val="000000"/>
                </a:solidFill>
                <a:effectLst/>
                <a:uLnTx/>
                <a:uFillTx/>
                <a:latin typeface="Corbel" panose="020B0503020204020204" pitchFamily="34" charset="0"/>
                <a:ea typeface="+mn-ea"/>
                <a:cs typeface="Arial" panose="020B0604020202020204" pitchFamily="34" charset="0"/>
              </a:rPr>
              <a:t>Loonwaardemethodiek</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a:p>
            <a:pPr marL="457200" marR="0" lvl="1" indent="0" algn="l" defTabSz="914400" rtl="0" eaLnBrk="1" fontAlgn="auto" latinLnBrk="0" hangingPunct="1">
              <a:lnSpc>
                <a:spcPct val="120000"/>
              </a:lnSpc>
              <a:spcBef>
                <a:spcPts val="0"/>
              </a:spcBef>
              <a:spcAft>
                <a:spcPts val="600"/>
              </a:spcAft>
              <a:buClrTx/>
              <a:buSzTx/>
              <a:buFontTx/>
              <a:buNone/>
              <a:tabLst>
                <a:tab pos="270510" algn="l"/>
                <a:tab pos="457200" algn="l"/>
                <a:tab pos="630555" algn="l"/>
                <a:tab pos="914400" algn="l"/>
                <a:tab pos="1371600" algn="l"/>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Times New Roman" panose="02020603050405020304" pitchFamily="18" charset="0"/>
              </a:rPr>
              <a:t>Leveren, realiseren, configureren/inrichten en implementeren van een specifiek systeem voor de vigerende, Nationale </a:t>
            </a:r>
            <a:r>
              <a:rPr kumimoji="0" lang="nl-NL" sz="12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Times New Roman" panose="02020603050405020304" pitchFamily="18" charset="0"/>
              </a:rPr>
              <a:t>Loonwaardemethodiek</a:t>
            </a: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Times New Roman" panose="02020603050405020304" pitchFamily="18" charset="0"/>
            </a:endParaRP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tab pos="270510" algn="l"/>
                <a:tab pos="457200" algn="l"/>
                <a:tab pos="630555" algn="l"/>
                <a:tab pos="914400" algn="l"/>
                <a:tab pos="1371600" algn="l"/>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Kerncompetentie 4 Interfaces</a:t>
            </a:r>
          </a:p>
          <a:p>
            <a:pPr marL="457200" marR="0" lvl="1" indent="0" algn="l" defTabSz="914400" rtl="0" eaLnBrk="1" fontAlgn="auto" latinLnBrk="0" hangingPunct="1">
              <a:lnSpc>
                <a:spcPct val="120000"/>
              </a:lnSpc>
              <a:spcBef>
                <a:spcPts val="0"/>
              </a:spcBef>
              <a:spcAft>
                <a:spcPts val="600"/>
              </a:spcAft>
              <a:buClrTx/>
              <a:buSzTx/>
              <a:buFontTx/>
              <a:buNone/>
              <a:tabLst>
                <a:tab pos="270510" algn="l"/>
                <a:tab pos="457200" algn="l"/>
                <a:tab pos="630555" algn="l"/>
                <a:tab pos="914400" algn="l"/>
                <a:tab pos="1371600" algn="l"/>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Times New Roman" panose="02020603050405020304" pitchFamily="18" charset="0"/>
              </a:rPr>
              <a:t>Realiseren, beheren en onderhouden van interfaces/koppelingen</a:t>
            </a:r>
          </a:p>
        </p:txBody>
      </p:sp>
      <p:sp>
        <p:nvSpPr>
          <p:cNvPr id="6" name="Tijdelijke aanduiding voor voettekst 5">
            <a:extLst>
              <a:ext uri="{FF2B5EF4-FFF2-40B4-BE49-F238E27FC236}">
                <a16:creationId xmlns:a16="http://schemas.microsoft.com/office/drawing/2014/main" id="{C59634B3-C37B-490E-B154-3DC574FAB945}"/>
              </a:ext>
            </a:extLst>
          </p:cNvPr>
          <p:cNvSpPr>
            <a:spLocks noGrp="1"/>
          </p:cNvSpPr>
          <p:nvPr>
            <p:ph type="ftr" sz="quarter" idx="11"/>
          </p:nvPr>
        </p:nvSpPr>
        <p:spPr/>
        <p:txBody>
          <a:bodyPr/>
          <a:lstStyle/>
          <a:p>
            <a:r>
              <a:rPr lang="nl-NL"/>
              <a:t>Informatiebijeenkomst 26 juli 2021 Europese Aanbesteding SVWI</a:t>
            </a:r>
          </a:p>
        </p:txBody>
      </p:sp>
    </p:spTree>
    <p:extLst>
      <p:ext uri="{BB962C8B-B14F-4D97-AF65-F5344CB8AC3E}">
        <p14:creationId xmlns:p14="http://schemas.microsoft.com/office/powerpoint/2010/main" val="28736307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A9156C24-65F3-42CD-B239-58543E62D0C6}"/>
              </a:ext>
            </a:extLst>
          </p:cNvPr>
          <p:cNvSpPr>
            <a:spLocks noGrp="1"/>
          </p:cNvSpPr>
          <p:nvPr>
            <p:ph type="sldNum" sz="quarter" idx="12"/>
          </p:nvPr>
        </p:nvSpPr>
        <p:spPr/>
        <p:txBody>
          <a:bodyPr/>
          <a:lstStyle/>
          <a:p>
            <a:fld id="{992CD0B2-8AB2-4C6C-8876-E15753662C9B}" type="slidenum">
              <a:rPr lang="nl-NL" noProof="0" smtClean="0"/>
              <a:pPr/>
              <a:t>14</a:t>
            </a:fld>
            <a:endParaRPr lang="nl-NL" noProof="0"/>
          </a:p>
        </p:txBody>
      </p:sp>
      <p:sp>
        <p:nvSpPr>
          <p:cNvPr id="5" name="Tijdelijke aanduiding voor tekst 4">
            <a:extLst>
              <a:ext uri="{FF2B5EF4-FFF2-40B4-BE49-F238E27FC236}">
                <a16:creationId xmlns:a16="http://schemas.microsoft.com/office/drawing/2014/main" id="{DB770942-F6AE-49BE-B75A-15E7237F85C5}"/>
              </a:ext>
            </a:extLst>
          </p:cNvPr>
          <p:cNvSpPr>
            <a:spLocks noGrp="1"/>
          </p:cNvSpPr>
          <p:nvPr>
            <p:ph type="body" sz="quarter" idx="14"/>
          </p:nvPr>
        </p:nvSpPr>
        <p:spPr/>
        <p:txBody>
          <a:bodyPr/>
          <a:lstStyle/>
          <a:p>
            <a:r>
              <a:rPr lang="nl-NL" dirty="0"/>
              <a:t>Vragen?</a:t>
            </a:r>
          </a:p>
        </p:txBody>
      </p:sp>
      <p:sp>
        <p:nvSpPr>
          <p:cNvPr id="6" name="Tijdelijke aanduiding voor voettekst 5">
            <a:extLst>
              <a:ext uri="{FF2B5EF4-FFF2-40B4-BE49-F238E27FC236}">
                <a16:creationId xmlns:a16="http://schemas.microsoft.com/office/drawing/2014/main" id="{37C873F7-7FD0-446B-9F69-4A7860F67894}"/>
              </a:ext>
            </a:extLst>
          </p:cNvPr>
          <p:cNvSpPr>
            <a:spLocks noGrp="1"/>
          </p:cNvSpPr>
          <p:nvPr>
            <p:ph type="ftr" sz="quarter" idx="11"/>
          </p:nvPr>
        </p:nvSpPr>
        <p:spPr/>
        <p:txBody>
          <a:bodyPr/>
          <a:lstStyle/>
          <a:p>
            <a:r>
              <a:rPr lang="nl-NL"/>
              <a:t>Informatiebijeenkomst 26 juli 2021 Europese Aanbesteding SVWI</a:t>
            </a:r>
          </a:p>
        </p:txBody>
      </p:sp>
    </p:spTree>
    <p:extLst>
      <p:ext uri="{BB962C8B-B14F-4D97-AF65-F5344CB8AC3E}">
        <p14:creationId xmlns:p14="http://schemas.microsoft.com/office/powerpoint/2010/main" val="13659839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A1E606A5-73FA-44E4-95D3-7C20BE1EAAC1}"/>
              </a:ext>
            </a:extLst>
          </p:cNvPr>
          <p:cNvSpPr>
            <a:spLocks noGrp="1"/>
          </p:cNvSpPr>
          <p:nvPr>
            <p:ph type="sldNum" sz="quarter" idx="12"/>
          </p:nvPr>
        </p:nvSpPr>
        <p:spPr/>
        <p:txBody>
          <a:bodyPr/>
          <a:lstStyle/>
          <a:p>
            <a:fld id="{992CD0B2-8AB2-4C6C-8876-E15753662C9B}" type="slidenum">
              <a:rPr lang="nl-NL" noProof="0" smtClean="0"/>
              <a:pPr/>
              <a:t>15</a:t>
            </a:fld>
            <a:endParaRPr lang="nl-NL" noProof="0"/>
          </a:p>
        </p:txBody>
      </p:sp>
      <p:sp>
        <p:nvSpPr>
          <p:cNvPr id="4" name="Tijdelijke aanduiding voor tekst 3">
            <a:extLst>
              <a:ext uri="{FF2B5EF4-FFF2-40B4-BE49-F238E27FC236}">
                <a16:creationId xmlns:a16="http://schemas.microsoft.com/office/drawing/2014/main" id="{E7281550-9388-42B7-B32C-0E7377F0E4DA}"/>
              </a:ext>
            </a:extLst>
          </p:cNvPr>
          <p:cNvSpPr>
            <a:spLocks noGrp="1"/>
          </p:cNvSpPr>
          <p:nvPr>
            <p:ph type="body" sz="quarter" idx="14"/>
          </p:nvPr>
        </p:nvSpPr>
        <p:spPr/>
        <p:txBody>
          <a:bodyPr/>
          <a:lstStyle/>
          <a:p>
            <a:r>
              <a:rPr lang="nl-NL" sz="1400" b="1" dirty="0"/>
              <a:t>Belangrijke data selectiefase Europes</a:t>
            </a:r>
            <a:r>
              <a:rPr lang="nl-NL" b="1" dirty="0"/>
              <a:t>e Aanbesteding SVWI</a:t>
            </a:r>
            <a:endParaRPr lang="nl-NL" sz="1400" b="1" dirty="0"/>
          </a:p>
          <a:p>
            <a:endParaRPr lang="nl-NL" dirty="0"/>
          </a:p>
        </p:txBody>
      </p:sp>
      <p:sp>
        <p:nvSpPr>
          <p:cNvPr id="5" name="Tijdelijke aanduiding voor inhoud 4">
            <a:extLst>
              <a:ext uri="{FF2B5EF4-FFF2-40B4-BE49-F238E27FC236}">
                <a16:creationId xmlns:a16="http://schemas.microsoft.com/office/drawing/2014/main" id="{9D1AB08E-BE8A-47CD-AC2F-A8B70F79A841}"/>
              </a:ext>
            </a:extLst>
          </p:cNvPr>
          <p:cNvSpPr>
            <a:spLocks noGrp="1"/>
          </p:cNvSpPr>
          <p:nvPr>
            <p:ph sz="quarter" idx="18"/>
          </p:nvPr>
        </p:nvSpPr>
        <p:spPr/>
        <p:txBody>
          <a:bodyPr/>
          <a:lstStyle/>
          <a:p>
            <a:r>
              <a:rPr lang="nl-NL" sz="1800" b="1" dirty="0"/>
              <a:t>Eerste Nota van Inlichtingen</a:t>
            </a:r>
          </a:p>
          <a:p>
            <a:pPr marL="285750" indent="-285750">
              <a:buFont typeface="Arial" panose="020B0604020202020204" pitchFamily="34" charset="0"/>
              <a:buChar char="•"/>
            </a:pPr>
            <a:r>
              <a:rPr lang="nl-NL" sz="1800" dirty="0"/>
              <a:t>Uiterste datum stellen van vragen voor de 1</a:t>
            </a:r>
            <a:r>
              <a:rPr lang="nl-NL" sz="1800" baseline="30000" dirty="0"/>
              <a:t>e</a:t>
            </a:r>
            <a:r>
              <a:rPr lang="nl-NL" sz="1800" dirty="0"/>
              <a:t> Nota van Inlichtingen		18-08-2021</a:t>
            </a:r>
          </a:p>
          <a:p>
            <a:pPr marL="285750" indent="-285750">
              <a:buFont typeface="Arial" panose="020B0604020202020204" pitchFamily="34" charset="0"/>
              <a:buChar char="•"/>
            </a:pPr>
            <a:r>
              <a:rPr lang="nl-NL" sz="1800" dirty="0"/>
              <a:t>Publicatie 1e Nota van Inlichtingen op </a:t>
            </a:r>
            <a:r>
              <a:rPr lang="nl-NL" sz="1800" dirty="0" err="1"/>
              <a:t>TenderNed</a:t>
            </a:r>
            <a:r>
              <a:rPr lang="nl-NL" sz="1800" dirty="0"/>
              <a:t>				23-08-2021</a:t>
            </a:r>
          </a:p>
          <a:p>
            <a:r>
              <a:rPr lang="nl-NL" sz="1800" b="1" dirty="0"/>
              <a:t>Tweede Informatiebijeenkomst</a:t>
            </a:r>
          </a:p>
          <a:p>
            <a:pPr marL="285750" indent="-285750">
              <a:buFont typeface="Arial" panose="020B0604020202020204" pitchFamily="34" charset="0"/>
              <a:buChar char="•"/>
            </a:pPr>
            <a:r>
              <a:rPr lang="nl-NL" sz="1800" dirty="0"/>
              <a:t>Aanmelden voor de 2e informatiebijeenkomst					23-08-2021, 16.00 uur</a:t>
            </a:r>
          </a:p>
          <a:p>
            <a:pPr marL="285750" indent="-285750">
              <a:buFont typeface="Arial" panose="020B0604020202020204" pitchFamily="34" charset="0"/>
              <a:buChar char="•"/>
            </a:pPr>
            <a:r>
              <a:rPr lang="nl-NL" sz="1800" dirty="0"/>
              <a:t>Tweede informatiebijeenkomst							26-08-2021, 14.00 uur</a:t>
            </a:r>
          </a:p>
          <a:p>
            <a:r>
              <a:rPr lang="nl-NL" sz="1800" b="1" dirty="0"/>
              <a:t>Tweede Nota van Inlichtingen</a:t>
            </a:r>
            <a:endParaRPr lang="nl-NL" sz="1800" dirty="0"/>
          </a:p>
          <a:p>
            <a:pPr marL="285750" indent="-285750">
              <a:buFont typeface="Arial" panose="020B0604020202020204" pitchFamily="34" charset="0"/>
              <a:buChar char="•"/>
            </a:pPr>
            <a:r>
              <a:rPr lang="nl-NL" sz="1800" dirty="0"/>
              <a:t>Uiterste datum stellen van vragen voor de 2</a:t>
            </a:r>
            <a:r>
              <a:rPr lang="nl-NL" sz="1800" baseline="30000" dirty="0"/>
              <a:t>e</a:t>
            </a:r>
            <a:r>
              <a:rPr lang="nl-NL" sz="1800" dirty="0"/>
              <a:t> Nota van Inlichtingen		12-09-2021</a:t>
            </a:r>
          </a:p>
          <a:p>
            <a:pPr marL="285750" indent="-285750">
              <a:buFont typeface="Arial" panose="020B0604020202020204" pitchFamily="34" charset="0"/>
              <a:buChar char="•"/>
            </a:pPr>
            <a:r>
              <a:rPr lang="nl-NL" sz="1800" dirty="0"/>
              <a:t>Publicatie 2e Nota van Inlichtingen op </a:t>
            </a:r>
            <a:r>
              <a:rPr lang="nl-NL" sz="1800" dirty="0" err="1"/>
              <a:t>TenderNed</a:t>
            </a:r>
            <a:r>
              <a:rPr lang="nl-NL" sz="1800" dirty="0"/>
              <a:t>				17-09-2021</a:t>
            </a:r>
          </a:p>
          <a:p>
            <a:r>
              <a:rPr lang="nl-NL" sz="1800" b="1" dirty="0"/>
              <a:t>Deelname</a:t>
            </a:r>
          </a:p>
          <a:p>
            <a:pPr marL="285750" indent="-285750">
              <a:buFont typeface="Arial" panose="020B0604020202020204" pitchFamily="34" charset="0"/>
              <a:buChar char="•"/>
            </a:pPr>
            <a:r>
              <a:rPr lang="nl-NL" sz="1800" i="0" u="none" strike="noStrike" baseline="0" dirty="0">
                <a:latin typeface="Corbel" panose="020B0503020204020204" pitchFamily="34" charset="0"/>
              </a:rPr>
              <a:t>Indienen verzoek tot Deelname							28-09-2021, 14.00 uur</a:t>
            </a:r>
          </a:p>
          <a:p>
            <a:pPr marL="285750" indent="-285750">
              <a:buFont typeface="Arial" panose="020B0604020202020204" pitchFamily="34" charset="0"/>
              <a:buChar char="•"/>
            </a:pPr>
            <a:r>
              <a:rPr lang="nl-NL" sz="1800" dirty="0"/>
              <a:t>Bekendmaken resultaten selectiefase						18-10-2021</a:t>
            </a:r>
          </a:p>
        </p:txBody>
      </p:sp>
      <p:sp>
        <p:nvSpPr>
          <p:cNvPr id="6" name="Titel 5">
            <a:extLst>
              <a:ext uri="{FF2B5EF4-FFF2-40B4-BE49-F238E27FC236}">
                <a16:creationId xmlns:a16="http://schemas.microsoft.com/office/drawing/2014/main" id="{5C7D0301-E179-4E0D-8E25-691993FFB0EE}"/>
              </a:ext>
            </a:extLst>
          </p:cNvPr>
          <p:cNvSpPr>
            <a:spLocks noGrp="1"/>
          </p:cNvSpPr>
          <p:nvPr>
            <p:ph type="title"/>
          </p:nvPr>
        </p:nvSpPr>
        <p:spPr/>
        <p:txBody>
          <a:bodyPr/>
          <a:lstStyle/>
          <a:p>
            <a:r>
              <a:rPr lang="nl-NL" dirty="0"/>
              <a:t>Tot slot</a:t>
            </a:r>
          </a:p>
        </p:txBody>
      </p:sp>
      <p:sp>
        <p:nvSpPr>
          <p:cNvPr id="7" name="Tijdelijke aanduiding voor voettekst 6">
            <a:extLst>
              <a:ext uri="{FF2B5EF4-FFF2-40B4-BE49-F238E27FC236}">
                <a16:creationId xmlns:a16="http://schemas.microsoft.com/office/drawing/2014/main" id="{982BC47A-634F-4991-A723-9DD87F17750C}"/>
              </a:ext>
            </a:extLst>
          </p:cNvPr>
          <p:cNvSpPr>
            <a:spLocks noGrp="1"/>
          </p:cNvSpPr>
          <p:nvPr>
            <p:ph type="ftr" sz="quarter" idx="11"/>
          </p:nvPr>
        </p:nvSpPr>
        <p:spPr/>
        <p:txBody>
          <a:bodyPr/>
          <a:lstStyle/>
          <a:p>
            <a:r>
              <a:rPr lang="nl-NL"/>
              <a:t>Informatiebijeenkomst 26 juli 2021 Europese Aanbesteding SVWI</a:t>
            </a:r>
          </a:p>
        </p:txBody>
      </p:sp>
    </p:spTree>
    <p:extLst>
      <p:ext uri="{BB962C8B-B14F-4D97-AF65-F5344CB8AC3E}">
        <p14:creationId xmlns:p14="http://schemas.microsoft.com/office/powerpoint/2010/main" val="781913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9CE24D28-399A-475B-B140-4AB8ECE43D10}"/>
              </a:ext>
            </a:extLst>
          </p:cNvPr>
          <p:cNvSpPr>
            <a:spLocks noGrp="1"/>
          </p:cNvSpPr>
          <p:nvPr>
            <p:ph sz="quarter" idx="18"/>
          </p:nvPr>
        </p:nvSpPr>
        <p:spPr>
          <a:xfrm>
            <a:off x="695325" y="1592263"/>
            <a:ext cx="3705226" cy="3959451"/>
          </a:xfrm>
          <a:solidFill>
            <a:schemeClr val="tx2">
              <a:lumMod val="20000"/>
              <a:lumOff val="80000"/>
            </a:schemeClr>
          </a:solidFill>
        </p:spPr>
        <p:txBody>
          <a:bodyPr/>
          <a:lstStyle/>
          <a:p>
            <a:pPr marL="285750" indent="-285750">
              <a:buFont typeface="Arial" panose="020B0604020202020204" pitchFamily="34" charset="0"/>
              <a:buChar char="•"/>
            </a:pPr>
            <a:r>
              <a:rPr lang="nl-NL" sz="1800" dirty="0"/>
              <a:t>Welkom - Bas Hoondert</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Inleiding - Liesbeth Pot</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Vraagstelling - Robert Hausdorfer</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Procedure - Bob Vos</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Vragen</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Afsluiting – Bas Hoondert</a:t>
            </a:r>
          </a:p>
        </p:txBody>
      </p:sp>
      <p:sp>
        <p:nvSpPr>
          <p:cNvPr id="6" name="Tijdelijke aanduiding voor tekst 5">
            <a:extLst>
              <a:ext uri="{FF2B5EF4-FFF2-40B4-BE49-F238E27FC236}">
                <a16:creationId xmlns:a16="http://schemas.microsoft.com/office/drawing/2014/main" id="{DBA03182-873B-4AE9-8669-281DCA1D0AE4}"/>
              </a:ext>
            </a:extLst>
          </p:cNvPr>
          <p:cNvSpPr>
            <a:spLocks noGrp="1"/>
          </p:cNvSpPr>
          <p:nvPr>
            <p:ph sz="quarter" idx="19"/>
          </p:nvPr>
        </p:nvSpPr>
        <p:spPr>
          <a:xfrm>
            <a:off x="4774758" y="1592263"/>
            <a:ext cx="5559868" cy="1836737"/>
          </a:xfrm>
          <a:solidFill>
            <a:schemeClr val="tx2">
              <a:lumMod val="20000"/>
              <a:lumOff val="80000"/>
            </a:schemeClr>
          </a:solidFill>
        </p:spPr>
        <p:txBody>
          <a:bodyPr/>
          <a:lstStyle/>
          <a:p>
            <a:r>
              <a:rPr lang="nl-NL" sz="1800" b="1" dirty="0"/>
              <a:t>Gemeente Amsterdam</a:t>
            </a:r>
          </a:p>
          <a:p>
            <a:r>
              <a:rPr lang="nl-NL" sz="1800" dirty="0"/>
              <a:t>Bas Hoondert – programmamanager SVWI</a:t>
            </a:r>
          </a:p>
          <a:p>
            <a:r>
              <a:rPr lang="nl-NL" sz="1800" dirty="0"/>
              <a:t>Liesbeth Pot – Manager IV cluster Sociaal</a:t>
            </a:r>
          </a:p>
          <a:p>
            <a:r>
              <a:rPr lang="nl-NL" sz="1800" dirty="0"/>
              <a:t>Robert Hausdorfer – projectmanager aanbesteding SVWI</a:t>
            </a:r>
          </a:p>
          <a:p>
            <a:r>
              <a:rPr lang="nl-NL" sz="1800" dirty="0"/>
              <a:t>Bob Vos – lead </a:t>
            </a:r>
            <a:r>
              <a:rPr lang="nl-NL" sz="1800" dirty="0" err="1"/>
              <a:t>buyer</a:t>
            </a:r>
            <a:r>
              <a:rPr lang="nl-NL" sz="1800" dirty="0"/>
              <a:t> ICT</a:t>
            </a:r>
          </a:p>
        </p:txBody>
      </p:sp>
      <p:sp>
        <p:nvSpPr>
          <p:cNvPr id="3" name="Titel 2">
            <a:extLst>
              <a:ext uri="{FF2B5EF4-FFF2-40B4-BE49-F238E27FC236}">
                <a16:creationId xmlns:a16="http://schemas.microsoft.com/office/drawing/2014/main" id="{5F7D321A-ED2D-4E85-84CB-D1C40A2BAC98}"/>
              </a:ext>
            </a:extLst>
          </p:cNvPr>
          <p:cNvSpPr>
            <a:spLocks noGrp="1"/>
          </p:cNvSpPr>
          <p:nvPr>
            <p:ph type="title"/>
          </p:nvPr>
        </p:nvSpPr>
        <p:spPr/>
        <p:txBody>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lang="nl-NL" dirty="0"/>
              <a:t>Agenda</a:t>
            </a:r>
            <a:br>
              <a:rPr lang="nl-NL" dirty="0"/>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formatiebijeenkomst 26 juli 2021 Europese Aanbesteding SVWI</a:t>
            </a:r>
            <a:endParaRPr lang="nl-NL" dirty="0"/>
          </a:p>
        </p:txBody>
      </p:sp>
      <p:sp>
        <p:nvSpPr>
          <p:cNvPr id="11" name="Tijdelijke aanduiding voor tekst 5">
            <a:extLst>
              <a:ext uri="{FF2B5EF4-FFF2-40B4-BE49-F238E27FC236}">
                <a16:creationId xmlns:a16="http://schemas.microsoft.com/office/drawing/2014/main" id="{F335F17F-3320-4CEA-801C-60A4FDE90A8B}"/>
              </a:ext>
            </a:extLst>
          </p:cNvPr>
          <p:cNvSpPr txBox="1">
            <a:spLocks/>
          </p:cNvSpPr>
          <p:nvPr/>
        </p:nvSpPr>
        <p:spPr>
          <a:xfrm>
            <a:off x="6200788" y="3573463"/>
            <a:ext cx="3047988" cy="3017838"/>
          </a:xfrm>
          <a:prstGeom prst="rect">
            <a:avLst/>
          </a:prstGeom>
        </p:spPr>
        <p:txBody>
          <a:bodyPr vert="horz" lIns="72000" tIns="54000" rIns="72000" bIns="54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endParaRPr lang="nl-NL" sz="1800" dirty="0"/>
          </a:p>
          <a:p>
            <a:endParaRPr lang="en-US" sz="1800" dirty="0"/>
          </a:p>
          <a:p>
            <a:endParaRPr lang="nl-NL" sz="1800" dirty="0"/>
          </a:p>
        </p:txBody>
      </p:sp>
      <p:sp>
        <p:nvSpPr>
          <p:cNvPr id="12" name="Tijdelijke aanduiding voor tekst 5">
            <a:extLst>
              <a:ext uri="{FF2B5EF4-FFF2-40B4-BE49-F238E27FC236}">
                <a16:creationId xmlns:a16="http://schemas.microsoft.com/office/drawing/2014/main" id="{C340D35C-B6F6-4C2C-A2D3-7AC8560A60C8}"/>
              </a:ext>
            </a:extLst>
          </p:cNvPr>
          <p:cNvSpPr txBox="1">
            <a:spLocks/>
          </p:cNvSpPr>
          <p:nvPr/>
        </p:nvSpPr>
        <p:spPr>
          <a:xfrm>
            <a:off x="9382138" y="3816351"/>
            <a:ext cx="3047988" cy="3017838"/>
          </a:xfrm>
          <a:prstGeom prst="rect">
            <a:avLst/>
          </a:prstGeom>
        </p:spPr>
        <p:txBody>
          <a:bodyPr vert="horz" lIns="72000" tIns="54000" rIns="72000" bIns="54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endParaRPr lang="nl-NL" sz="1800" dirty="0"/>
          </a:p>
          <a:p>
            <a:endParaRPr lang="en-US" sz="1800" dirty="0"/>
          </a:p>
          <a:p>
            <a:endParaRPr lang="nl-NL" sz="1800" dirty="0"/>
          </a:p>
        </p:txBody>
      </p:sp>
      <p:sp>
        <p:nvSpPr>
          <p:cNvPr id="13" name="Tijdelijke aanduiding voor tekst 5">
            <a:extLst>
              <a:ext uri="{FF2B5EF4-FFF2-40B4-BE49-F238E27FC236}">
                <a16:creationId xmlns:a16="http://schemas.microsoft.com/office/drawing/2014/main" id="{2C8A9B21-C544-480D-9C42-12DA08DA8A62}"/>
              </a:ext>
            </a:extLst>
          </p:cNvPr>
          <p:cNvSpPr txBox="1">
            <a:spLocks/>
          </p:cNvSpPr>
          <p:nvPr/>
        </p:nvSpPr>
        <p:spPr>
          <a:xfrm>
            <a:off x="7324410" y="3506787"/>
            <a:ext cx="2288700" cy="3151187"/>
          </a:xfrm>
          <a:prstGeom prst="rect">
            <a:avLst/>
          </a:prstGeom>
          <a:solidFill>
            <a:srgbClr val="F2F2F2"/>
          </a:solidFill>
        </p:spPr>
        <p:txBody>
          <a:bodyPr vert="horz" lIns="72000" tIns="54000" rIns="72000" bIns="54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endParaRPr lang="en-US" sz="1800" dirty="0"/>
          </a:p>
          <a:p>
            <a:r>
              <a:rPr lang="en-US" sz="1800" dirty="0" err="1"/>
              <a:t>ITvisors</a:t>
            </a:r>
            <a:r>
              <a:rPr lang="en-US" sz="1800" dirty="0"/>
              <a:t> ECM B.V.</a:t>
            </a:r>
          </a:p>
          <a:p>
            <a:r>
              <a:rPr lang="en-US" sz="1800" dirty="0" err="1"/>
              <a:t>Jobport</a:t>
            </a:r>
            <a:endParaRPr lang="en-US" sz="1800" dirty="0"/>
          </a:p>
          <a:p>
            <a:r>
              <a:rPr lang="en-US" sz="1800" dirty="0"/>
              <a:t>Lost Lemon</a:t>
            </a:r>
          </a:p>
          <a:p>
            <a:r>
              <a:rPr lang="en-US" sz="1800" dirty="0"/>
              <a:t>Magnus Green	 </a:t>
            </a:r>
          </a:p>
          <a:p>
            <a:r>
              <a:rPr lang="en-US" sz="1800" dirty="0" err="1"/>
              <a:t>Matchcare</a:t>
            </a:r>
            <a:r>
              <a:rPr lang="en-US" sz="1800" dirty="0"/>
              <a:t>	  </a:t>
            </a:r>
          </a:p>
          <a:p>
            <a:r>
              <a:rPr lang="en-US" sz="1800" dirty="0" err="1"/>
              <a:t>Ordina</a:t>
            </a:r>
            <a:r>
              <a:rPr lang="en-US" sz="1800" dirty="0"/>
              <a:t>    </a:t>
            </a:r>
          </a:p>
          <a:p>
            <a:r>
              <a:rPr lang="en-US" sz="1800" dirty="0" err="1"/>
              <a:t>Pegamento</a:t>
            </a:r>
            <a:endParaRPr lang="en-US" sz="1800" dirty="0"/>
          </a:p>
          <a:p>
            <a:r>
              <a:rPr lang="en-US" sz="1800" dirty="0" err="1"/>
              <a:t>PinkRoccade</a:t>
            </a:r>
            <a:endParaRPr lang="en-US" sz="1800" dirty="0"/>
          </a:p>
          <a:p>
            <a:endParaRPr lang="nl-NL" sz="1800" dirty="0"/>
          </a:p>
        </p:txBody>
      </p:sp>
      <p:sp>
        <p:nvSpPr>
          <p:cNvPr id="14" name="Tijdelijke aanduiding voor tekst 5">
            <a:extLst>
              <a:ext uri="{FF2B5EF4-FFF2-40B4-BE49-F238E27FC236}">
                <a16:creationId xmlns:a16="http://schemas.microsoft.com/office/drawing/2014/main" id="{80D2390A-E626-4E3B-A3FF-94ECBB94F820}"/>
              </a:ext>
            </a:extLst>
          </p:cNvPr>
          <p:cNvSpPr txBox="1">
            <a:spLocks/>
          </p:cNvSpPr>
          <p:nvPr/>
        </p:nvSpPr>
        <p:spPr>
          <a:xfrm>
            <a:off x="4774757" y="3506788"/>
            <a:ext cx="2600324" cy="3151187"/>
          </a:xfrm>
          <a:prstGeom prst="rect">
            <a:avLst/>
          </a:prstGeom>
          <a:solidFill>
            <a:srgbClr val="F2F2F2"/>
          </a:solidFill>
        </p:spPr>
        <p:txBody>
          <a:bodyPr vert="horz" lIns="72000" tIns="54000" rIns="72000" bIns="54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r>
              <a:rPr lang="nl-NL" sz="1800" b="1" dirty="0"/>
              <a:t>Marktpartijen</a:t>
            </a:r>
          </a:p>
          <a:p>
            <a:r>
              <a:rPr lang="en-US" sz="1800" dirty="0"/>
              <a:t>Accenture</a:t>
            </a:r>
          </a:p>
          <a:p>
            <a:r>
              <a:rPr lang="en-US" sz="1800" dirty="0" err="1"/>
              <a:t>Blinqt</a:t>
            </a:r>
            <a:endParaRPr lang="en-US" sz="1800" dirty="0"/>
          </a:p>
          <a:p>
            <a:r>
              <a:rPr lang="en-US" sz="1800" dirty="0"/>
              <a:t>Capgemini Nederland BV</a:t>
            </a:r>
          </a:p>
          <a:p>
            <a:r>
              <a:rPr lang="en-US" sz="1800" dirty="0"/>
              <a:t>Centric Netherlands BV</a:t>
            </a:r>
          </a:p>
          <a:p>
            <a:r>
              <a:rPr lang="en-US" sz="1800" dirty="0"/>
              <a:t>CGI Nederland B.V.	</a:t>
            </a:r>
          </a:p>
          <a:p>
            <a:r>
              <a:rPr lang="en-US" sz="1800" dirty="0" err="1"/>
              <a:t>Clevr</a:t>
            </a:r>
            <a:endParaRPr lang="en-US" sz="1800" dirty="0"/>
          </a:p>
          <a:p>
            <a:r>
              <a:rPr lang="en-US" sz="1800" dirty="0" err="1"/>
              <a:t>CompetenSYS</a:t>
            </a:r>
            <a:endParaRPr lang="en-US" sz="1800" dirty="0"/>
          </a:p>
          <a:p>
            <a:r>
              <a:rPr lang="en-US" sz="1800" dirty="0"/>
              <a:t>Deloitte Consulting BV	</a:t>
            </a:r>
          </a:p>
          <a:p>
            <a:endParaRPr lang="nl-NL" sz="1800" dirty="0"/>
          </a:p>
        </p:txBody>
      </p:sp>
      <p:sp>
        <p:nvSpPr>
          <p:cNvPr id="15" name="Tijdelijke aanduiding voor dianummer 14">
            <a:extLst>
              <a:ext uri="{FF2B5EF4-FFF2-40B4-BE49-F238E27FC236}">
                <a16:creationId xmlns:a16="http://schemas.microsoft.com/office/drawing/2014/main" id="{A97C0319-2F80-46DF-A2C9-778891B0D3AF}"/>
              </a:ext>
            </a:extLst>
          </p:cNvPr>
          <p:cNvSpPr>
            <a:spLocks noGrp="1"/>
          </p:cNvSpPr>
          <p:nvPr>
            <p:ph type="sldNum" sz="quarter" idx="12"/>
          </p:nvPr>
        </p:nvSpPr>
        <p:spPr/>
        <p:txBody>
          <a:bodyPr/>
          <a:lstStyle/>
          <a:p>
            <a:fld id="{992CD0B2-8AB2-4C6C-8876-E15753662C9B}" type="slidenum">
              <a:rPr lang="nl-NL" noProof="0" smtClean="0"/>
              <a:pPr/>
              <a:t>2</a:t>
            </a:fld>
            <a:endParaRPr lang="nl-NL" noProof="0"/>
          </a:p>
        </p:txBody>
      </p:sp>
      <p:sp>
        <p:nvSpPr>
          <p:cNvPr id="16" name="Tijdelijke aanduiding voor voettekst 15">
            <a:extLst>
              <a:ext uri="{FF2B5EF4-FFF2-40B4-BE49-F238E27FC236}">
                <a16:creationId xmlns:a16="http://schemas.microsoft.com/office/drawing/2014/main" id="{3146E325-C9F2-424C-8648-4A88A09D739D}"/>
              </a:ext>
            </a:extLst>
          </p:cNvPr>
          <p:cNvSpPr>
            <a:spLocks noGrp="1"/>
          </p:cNvSpPr>
          <p:nvPr>
            <p:ph type="ftr" sz="quarter" idx="11"/>
          </p:nvPr>
        </p:nvSpPr>
        <p:spPr/>
        <p:txBody>
          <a:bodyPr/>
          <a:lstStyle/>
          <a:p>
            <a:r>
              <a:rPr lang="nl-NL"/>
              <a:t>Informatiebijeenkomst 26 juli 2021 Europese Aanbesteding SVWI</a:t>
            </a:r>
          </a:p>
        </p:txBody>
      </p:sp>
      <p:sp>
        <p:nvSpPr>
          <p:cNvPr id="17" name="Tijdelijke aanduiding voor tekst 5">
            <a:extLst>
              <a:ext uri="{FF2B5EF4-FFF2-40B4-BE49-F238E27FC236}">
                <a16:creationId xmlns:a16="http://schemas.microsoft.com/office/drawing/2014/main" id="{0F437B58-7E9B-4A11-AECA-31A9FA776910}"/>
              </a:ext>
            </a:extLst>
          </p:cNvPr>
          <p:cNvSpPr txBox="1">
            <a:spLocks/>
          </p:cNvSpPr>
          <p:nvPr/>
        </p:nvSpPr>
        <p:spPr>
          <a:xfrm>
            <a:off x="9512934" y="3506787"/>
            <a:ext cx="2355216" cy="3151187"/>
          </a:xfrm>
          <a:prstGeom prst="rect">
            <a:avLst/>
          </a:prstGeom>
          <a:solidFill>
            <a:srgbClr val="F2F2F2"/>
          </a:solidFill>
        </p:spPr>
        <p:txBody>
          <a:bodyPr vert="horz" lIns="72000" tIns="54000" rIns="72000" bIns="54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endParaRPr lang="en-US" sz="1800" dirty="0"/>
          </a:p>
          <a:p>
            <a:r>
              <a:rPr lang="en-US" sz="1800" dirty="0"/>
              <a:t>Salesforce</a:t>
            </a:r>
          </a:p>
          <a:p>
            <a:r>
              <a:rPr lang="en-US" sz="1800" dirty="0" err="1"/>
              <a:t>Skillab</a:t>
            </a:r>
            <a:r>
              <a:rPr lang="en-US" sz="1800"/>
              <a:t> BV</a:t>
            </a:r>
          </a:p>
          <a:p>
            <a:r>
              <a:rPr lang="en-US" sz="1800" dirty="0"/>
              <a:t>Transfer Consulting BV</a:t>
            </a:r>
          </a:p>
          <a:p>
            <a:r>
              <a:rPr lang="en-US" sz="1800" dirty="0" err="1"/>
              <a:t>Werkstap</a:t>
            </a:r>
            <a:endParaRPr lang="en-US" sz="1800" dirty="0"/>
          </a:p>
          <a:p>
            <a:endParaRPr lang="nl-NL" sz="1800" dirty="0"/>
          </a:p>
        </p:txBody>
      </p:sp>
      <p:graphicFrame>
        <p:nvGraphicFramePr>
          <p:cNvPr id="4" name="Tabel 3">
            <a:extLst>
              <a:ext uri="{FF2B5EF4-FFF2-40B4-BE49-F238E27FC236}">
                <a16:creationId xmlns:a16="http://schemas.microsoft.com/office/drawing/2014/main" id="{4A2EF471-88A0-401E-8564-A829E82C8AE2}"/>
              </a:ext>
            </a:extLst>
          </p:cNvPr>
          <p:cNvGraphicFramePr>
            <a:graphicFrameLocks noGrp="1"/>
          </p:cNvGraphicFramePr>
          <p:nvPr/>
        </p:nvGraphicFramePr>
        <p:xfrm>
          <a:off x="0" y="0"/>
          <a:ext cx="1435100" cy="370840"/>
        </p:xfrm>
        <a:graphic>
          <a:graphicData uri="http://schemas.openxmlformats.org/drawingml/2006/table">
            <a:tbl>
              <a:tblPr>
                <a:tableStyleId>{5C22544A-7EE6-4342-B048-85BDC9FD1C3A}</a:tableStyleId>
              </a:tblPr>
              <a:tblGrid>
                <a:gridCol w="1435100">
                  <a:extLst>
                    <a:ext uri="{9D8B030D-6E8A-4147-A177-3AD203B41FA5}">
                      <a16:colId xmlns:a16="http://schemas.microsoft.com/office/drawing/2014/main" val="2858446874"/>
                    </a:ext>
                  </a:extLst>
                </a:gridCol>
              </a:tblGrid>
              <a:tr h="196850">
                <a:tc>
                  <a:txBody>
                    <a:bodyPr/>
                    <a:lstStyle/>
                    <a:p>
                      <a:pPr algn="l" fontAlgn="b"/>
                      <a:r>
                        <a:rPr lang="nl-NL" sz="1200" u="none" strike="noStrike">
                          <a:effectLst/>
                        </a:rPr>
                        <a:t>ITvisors ECM B.V.</a:t>
                      </a:r>
                      <a:endParaRPr lang="nl-NL"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843545326"/>
                  </a:ext>
                </a:extLst>
              </a:tr>
              <a:tr h="0">
                <a:tc>
                  <a:txBody>
                    <a:bodyPr/>
                    <a:lstStyle/>
                    <a:p>
                      <a:pPr algn="l" fontAlgn="t"/>
                      <a:r>
                        <a:rPr lang="nl-NL" sz="1100" u="none" strike="noStrike" dirty="0">
                          <a:effectLst/>
                        </a:rPr>
                        <a:t>Deloitte Consulting BV</a:t>
                      </a:r>
                      <a:endParaRPr lang="nl-NL" sz="1100" b="0" i="0" u="none" strike="noStrike" dirty="0">
                        <a:solidFill>
                          <a:srgbClr val="000000"/>
                        </a:solidFill>
                        <a:effectLst/>
                        <a:latin typeface="Corbel" panose="020B0503020204020204" pitchFamily="34" charset="0"/>
                      </a:endParaRPr>
                    </a:p>
                  </a:txBody>
                  <a:tcPr marL="6350" marR="6350" marT="6350" marB="0"/>
                </a:tc>
                <a:extLst>
                  <a:ext uri="{0D108BD9-81ED-4DB2-BD59-A6C34878D82A}">
                    <a16:rowId xmlns:a16="http://schemas.microsoft.com/office/drawing/2014/main" val="852691584"/>
                  </a:ext>
                </a:extLst>
              </a:tr>
            </a:tbl>
          </a:graphicData>
        </a:graphic>
      </p:graphicFrame>
      <p:graphicFrame>
        <p:nvGraphicFramePr>
          <p:cNvPr id="5" name="Tabel 4">
            <a:extLst>
              <a:ext uri="{FF2B5EF4-FFF2-40B4-BE49-F238E27FC236}">
                <a16:creationId xmlns:a16="http://schemas.microsoft.com/office/drawing/2014/main" id="{45BAE336-7CD6-43F6-BC32-E4527FDBDD96}"/>
              </a:ext>
            </a:extLst>
          </p:cNvPr>
          <p:cNvGraphicFramePr>
            <a:graphicFrameLocks noGrp="1"/>
          </p:cNvGraphicFramePr>
          <p:nvPr/>
        </p:nvGraphicFramePr>
        <p:xfrm>
          <a:off x="0" y="0"/>
          <a:ext cx="1435100" cy="370840"/>
        </p:xfrm>
        <a:graphic>
          <a:graphicData uri="http://schemas.openxmlformats.org/drawingml/2006/table">
            <a:tbl>
              <a:tblPr>
                <a:tableStyleId>{5C22544A-7EE6-4342-B048-85BDC9FD1C3A}</a:tableStyleId>
              </a:tblPr>
              <a:tblGrid>
                <a:gridCol w="1435100">
                  <a:extLst>
                    <a:ext uri="{9D8B030D-6E8A-4147-A177-3AD203B41FA5}">
                      <a16:colId xmlns:a16="http://schemas.microsoft.com/office/drawing/2014/main" val="3842628734"/>
                    </a:ext>
                  </a:extLst>
                </a:gridCol>
              </a:tblGrid>
              <a:tr h="196850">
                <a:tc>
                  <a:txBody>
                    <a:bodyPr/>
                    <a:lstStyle/>
                    <a:p>
                      <a:pPr algn="l" fontAlgn="b"/>
                      <a:r>
                        <a:rPr lang="nl-NL" sz="1200" u="none" strike="noStrike">
                          <a:effectLst/>
                        </a:rPr>
                        <a:t>ITvisors ECM B.V.</a:t>
                      </a:r>
                      <a:endParaRPr lang="nl-NL"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071971032"/>
                  </a:ext>
                </a:extLst>
              </a:tr>
              <a:tr h="0">
                <a:tc>
                  <a:txBody>
                    <a:bodyPr/>
                    <a:lstStyle/>
                    <a:p>
                      <a:pPr algn="l" fontAlgn="t"/>
                      <a:r>
                        <a:rPr lang="nl-NL" sz="1100" u="none" strike="noStrike" dirty="0">
                          <a:effectLst/>
                        </a:rPr>
                        <a:t>Deloitte Consulting BV</a:t>
                      </a:r>
                      <a:endParaRPr lang="nl-NL" sz="1100" b="0" i="0" u="none" strike="noStrike" dirty="0">
                        <a:solidFill>
                          <a:srgbClr val="000000"/>
                        </a:solidFill>
                        <a:effectLst/>
                        <a:latin typeface="Corbel" panose="020B0503020204020204" pitchFamily="34" charset="0"/>
                      </a:endParaRPr>
                    </a:p>
                  </a:txBody>
                  <a:tcPr marL="6350" marR="6350" marT="6350" marB="0"/>
                </a:tc>
                <a:extLst>
                  <a:ext uri="{0D108BD9-81ED-4DB2-BD59-A6C34878D82A}">
                    <a16:rowId xmlns:a16="http://schemas.microsoft.com/office/drawing/2014/main" val="1687348717"/>
                  </a:ext>
                </a:extLst>
              </a:tr>
            </a:tbl>
          </a:graphicData>
        </a:graphic>
      </p:graphicFrame>
    </p:spTree>
    <p:extLst>
      <p:ext uri="{BB962C8B-B14F-4D97-AF65-F5344CB8AC3E}">
        <p14:creationId xmlns:p14="http://schemas.microsoft.com/office/powerpoint/2010/main" val="10442046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E71F54D9-0102-4FE1-AE7A-ACF423D3C3A3}"/>
              </a:ext>
            </a:extLst>
          </p:cNvPr>
          <p:cNvSpPr>
            <a:spLocks noGrp="1"/>
          </p:cNvSpPr>
          <p:nvPr>
            <p:ph type="body" sz="quarter" idx="14"/>
          </p:nvPr>
        </p:nvSpPr>
        <p:spPr>
          <a:xfrm>
            <a:off x="658813" y="2514599"/>
            <a:ext cx="10874374" cy="1175657"/>
          </a:xfrm>
        </p:spPr>
        <p:txBody>
          <a:bodyPr/>
          <a:lstStyle/>
          <a:p>
            <a:r>
              <a:rPr lang="nl-NL" dirty="0"/>
              <a:t>Inleiding</a:t>
            </a:r>
          </a:p>
          <a:p>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rPr>
              <a:t>Liesbeth Pot – manager IV cluster Sociaal</a:t>
            </a:r>
            <a:endParaRPr lang="nl-NL" dirty="0"/>
          </a:p>
        </p:txBody>
      </p:sp>
      <p:sp>
        <p:nvSpPr>
          <p:cNvPr id="2" name="Tijdelijke aanduiding voor dianummer 1">
            <a:extLst>
              <a:ext uri="{FF2B5EF4-FFF2-40B4-BE49-F238E27FC236}">
                <a16:creationId xmlns:a16="http://schemas.microsoft.com/office/drawing/2014/main" id="{54C537B8-3B91-44B0-90CF-C2FD09ECE566}"/>
              </a:ext>
            </a:extLst>
          </p:cNvPr>
          <p:cNvSpPr>
            <a:spLocks noGrp="1"/>
          </p:cNvSpPr>
          <p:nvPr>
            <p:ph type="sldNum" sz="quarter" idx="12"/>
          </p:nvPr>
        </p:nvSpPr>
        <p:spPr/>
        <p:txBody>
          <a:bodyPr/>
          <a:lstStyle/>
          <a:p>
            <a:fld id="{992CD0B2-8AB2-4C6C-8876-E15753662C9B}" type="slidenum">
              <a:rPr lang="nl-NL" noProof="0" smtClean="0"/>
              <a:pPr/>
              <a:t>3</a:t>
            </a:fld>
            <a:endParaRPr lang="nl-NL" noProof="0"/>
          </a:p>
        </p:txBody>
      </p:sp>
      <p:sp>
        <p:nvSpPr>
          <p:cNvPr id="3" name="Tijdelijke aanduiding voor voettekst 2">
            <a:extLst>
              <a:ext uri="{FF2B5EF4-FFF2-40B4-BE49-F238E27FC236}">
                <a16:creationId xmlns:a16="http://schemas.microsoft.com/office/drawing/2014/main" id="{5F1B87FC-22E8-4431-A533-D1D7A779FD1D}"/>
              </a:ext>
            </a:extLst>
          </p:cNvPr>
          <p:cNvSpPr>
            <a:spLocks noGrp="1"/>
          </p:cNvSpPr>
          <p:nvPr>
            <p:ph type="ftr" sz="quarter" idx="11"/>
          </p:nvPr>
        </p:nvSpPr>
        <p:spPr/>
        <p:txBody>
          <a:bodyPr/>
          <a:lstStyle/>
          <a:p>
            <a:r>
              <a:rPr lang="nl-NL"/>
              <a:t>Informatiebijeenkomst 26 juli 2021 Europese Aanbesteding SVWI</a:t>
            </a:r>
          </a:p>
        </p:txBody>
      </p:sp>
    </p:spTree>
    <p:extLst>
      <p:ext uri="{BB962C8B-B14F-4D97-AF65-F5344CB8AC3E}">
        <p14:creationId xmlns:p14="http://schemas.microsoft.com/office/powerpoint/2010/main" val="5588560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50256F-2D70-4F7E-AE96-47633F5678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403" progId="TCLayout.ActiveDocument.1">
                  <p:embed/>
                </p:oleObj>
              </mc:Choice>
              <mc:Fallback>
                <p:oleObj name="think-cell Slide" r:id="rId3" imgW="393" imgH="403" progId="TCLayout.ActiveDocument.1">
                  <p:embed/>
                  <p:pic>
                    <p:nvPicPr>
                      <p:cNvPr id="2" name="Object 1" hidden="1">
                        <a:extLst>
                          <a:ext uri="{FF2B5EF4-FFF2-40B4-BE49-F238E27FC236}">
                            <a16:creationId xmlns:a16="http://schemas.microsoft.com/office/drawing/2014/main" id="{AE50256F-2D70-4F7E-AE96-47633F5678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37B41CC-2747-4E34-A1F7-9FF780CB974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CD0B2-8AB2-4C6C-8876-E15753662C9B}" type="slidenum">
              <a:rPr kumimoji="0" lang="nl-NL" sz="1200" b="0" i="0" u="none" strike="noStrike" kern="1200" cap="none" spc="0" normalizeH="0" baseline="0" noProof="0" smtClean="0">
                <a:ln>
                  <a:noFill/>
                </a:ln>
                <a:solidFill>
                  <a:srgbClr val="000000"/>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200" b="0" i="0" u="none" strike="noStrike" kern="1200" cap="none" spc="0" normalizeH="0" baseline="0" noProof="0" dirty="0">
              <a:ln>
                <a:noFill/>
              </a:ln>
              <a:solidFill>
                <a:srgbClr val="000000"/>
              </a:solidFill>
              <a:effectLst/>
              <a:uLnTx/>
              <a:uFillTx/>
              <a:latin typeface="Corbel"/>
              <a:ea typeface="+mn-ea"/>
              <a:cs typeface="+mn-cs"/>
            </a:endParaRPr>
          </a:p>
        </p:txBody>
      </p:sp>
      <p:sp>
        <p:nvSpPr>
          <p:cNvPr id="45" name="Text Placeholder 3">
            <a:extLst>
              <a:ext uri="{FF2B5EF4-FFF2-40B4-BE49-F238E27FC236}">
                <a16:creationId xmlns:a16="http://schemas.microsoft.com/office/drawing/2014/main" id="{38B2924A-9B45-4643-91C8-F4FE5195DC53}"/>
              </a:ext>
            </a:extLst>
          </p:cNvPr>
          <p:cNvSpPr txBox="1">
            <a:spLocks/>
          </p:cNvSpPr>
          <p:nvPr/>
        </p:nvSpPr>
        <p:spPr>
          <a:xfrm>
            <a:off x="666750" y="848895"/>
            <a:ext cx="10872000" cy="247650"/>
          </a:xfrm>
          <a:prstGeom prst="rect">
            <a:avLst/>
          </a:prstGeom>
        </p:spPr>
        <p:txBody>
          <a:bodyPr vert="horz" lIns="72000" tIns="54000" rIns="72000" bIns="54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Waar werken we gezamenlijk naartoe en hoe ziet dit eruit?</a:t>
            </a:r>
          </a:p>
        </p:txBody>
      </p:sp>
      <p:sp>
        <p:nvSpPr>
          <p:cNvPr id="46" name="Title 5">
            <a:extLst>
              <a:ext uri="{FF2B5EF4-FFF2-40B4-BE49-F238E27FC236}">
                <a16:creationId xmlns:a16="http://schemas.microsoft.com/office/drawing/2014/main" id="{575C6A26-4CC9-4F0F-815D-A26B3B27FE8C}"/>
              </a:ext>
            </a:extLst>
          </p:cNvPr>
          <p:cNvSpPr>
            <a:spLocks noGrp="1"/>
          </p:cNvSpPr>
          <p:nvPr>
            <p:ph type="title"/>
          </p:nvPr>
        </p:nvSpPr>
        <p:spPr>
          <a:xfrm>
            <a:off x="666747" y="266699"/>
            <a:ext cx="10866441" cy="668782"/>
          </a:xfrm>
        </p:spPr>
        <p:txBody>
          <a:bodyPr vert="horz"/>
          <a:lstStyle/>
          <a:p>
            <a:r>
              <a:rPr lang="nl-NL" dirty="0"/>
              <a:t>Missie en strategische doelen</a:t>
            </a:r>
          </a:p>
        </p:txBody>
      </p:sp>
      <p:pic>
        <p:nvPicPr>
          <p:cNvPr id="15" name="Picture 12">
            <a:extLst>
              <a:ext uri="{FF2B5EF4-FFF2-40B4-BE49-F238E27FC236}">
                <a16:creationId xmlns:a16="http://schemas.microsoft.com/office/drawing/2014/main" id="{CBA35AAF-A71E-4524-B4EA-20F8EF43AA86}"/>
              </a:ext>
            </a:extLst>
          </p:cNvPr>
          <p:cNvPicPr>
            <a:picLocks noChangeAspect="1"/>
          </p:cNvPicPr>
          <p:nvPr/>
        </p:nvPicPr>
        <p:blipFill>
          <a:blip r:embed="rId5"/>
          <a:stretch>
            <a:fillRect/>
          </a:stretch>
        </p:blipFill>
        <p:spPr>
          <a:xfrm>
            <a:off x="5791200" y="0"/>
            <a:ext cx="6400800" cy="6991398"/>
          </a:xfrm>
          <a:prstGeom prst="rect">
            <a:avLst/>
          </a:prstGeom>
        </p:spPr>
      </p:pic>
      <p:sp>
        <p:nvSpPr>
          <p:cNvPr id="16" name="Tekstvak 7">
            <a:extLst>
              <a:ext uri="{FF2B5EF4-FFF2-40B4-BE49-F238E27FC236}">
                <a16:creationId xmlns:a16="http://schemas.microsoft.com/office/drawing/2014/main" id="{49902F43-E8D1-44E0-A87E-6DAAE04435F4}"/>
              </a:ext>
            </a:extLst>
          </p:cNvPr>
          <p:cNvSpPr txBox="1"/>
          <p:nvPr/>
        </p:nvSpPr>
        <p:spPr>
          <a:xfrm>
            <a:off x="6591704" y="1545258"/>
            <a:ext cx="3680451" cy="4191514"/>
          </a:xfrm>
          <a:prstGeom prst="rect">
            <a:avLst/>
          </a:prstGeom>
          <a:solidFill>
            <a:srgbClr val="FF0000">
              <a:lumMod val="20000"/>
              <a:lumOff val="80000"/>
            </a:srgbClr>
          </a:solidFill>
        </p:spPr>
        <p:txBody>
          <a:bodyPr vert="horz" wrap="square" lIns="72000" tIns="54000" rIns="72000" bIns="54000" rtlCol="0">
            <a:noAutofit/>
          </a:bodyPr>
          <a:lstStyle/>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100" b="1" i="0" u="none" strike="noStrike" kern="0" cap="none" spc="0" normalizeH="0" baseline="0" noProof="0" dirty="0">
                <a:ln>
                  <a:noFill/>
                </a:ln>
                <a:solidFill>
                  <a:srgbClr val="000000"/>
                </a:solidFill>
                <a:effectLst/>
                <a:uLnTx/>
                <a:uFillTx/>
              </a:rPr>
              <a:t>De Amsterdammer centraal</a:t>
            </a:r>
            <a:r>
              <a:rPr kumimoji="0" lang="nl-NL" sz="1100" b="0" i="0" u="none" strike="noStrike" kern="0" cap="none" spc="0" normalizeH="0" baseline="0" noProof="0" dirty="0">
                <a:ln>
                  <a:noFill/>
                </a:ln>
                <a:solidFill>
                  <a:srgbClr val="000000"/>
                </a:solidFill>
                <a:effectLst/>
                <a:uLnTx/>
                <a:uFillTx/>
              </a:rPr>
              <a:t>. Het uitgangspunt is dat de Amsterdammer maar één keer zijn verhaal hoeft te doen. Professionals uit verschillende disciplines, informele ondersteuners en ambtenaren van de gemeente werken samen aan passende ondersteuning als het even kan in de eigen leefomgeving en zo ‘normaal’ mogelijk.</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100" b="1" i="0" u="none" strike="noStrike" kern="0" cap="none" spc="0" normalizeH="0" baseline="0" noProof="0" dirty="0">
                <a:ln>
                  <a:noFill/>
                </a:ln>
                <a:solidFill>
                  <a:srgbClr val="000000"/>
                </a:solidFill>
                <a:effectLst/>
                <a:uLnTx/>
                <a:uFillTx/>
              </a:rPr>
              <a:t>We sturen op preventie</a:t>
            </a:r>
            <a:r>
              <a:rPr kumimoji="0" lang="nl-NL" sz="1100" b="0" i="0" u="none" strike="noStrike" kern="0" cap="none" spc="0" normalizeH="0" baseline="0" noProof="0" dirty="0">
                <a:ln>
                  <a:noFill/>
                </a:ln>
                <a:solidFill>
                  <a:srgbClr val="000000"/>
                </a:solidFill>
                <a:effectLst/>
                <a:uLnTx/>
                <a:uFillTx/>
              </a:rPr>
              <a:t>. Met een laagdrempelig aanbod van voorzieningen en ondersteuning in de wijk voorkomen we dat kleine problemen groot worden. Samen met partners als het onderwijs, de sportverenigingen en verzekeraar, werken we aan een gezonde leefomgeving en een bewuste leefstijl.</a:t>
            </a:r>
            <a:endParaRPr kumimoji="0" lang="nl-NL" sz="1100" b="1" i="0" u="none" strike="noStrike" kern="0" cap="none" spc="0" normalizeH="0" baseline="0" noProof="0" dirty="0">
              <a:ln>
                <a:noFill/>
              </a:ln>
              <a:solidFill>
                <a:srgbClr val="000000"/>
              </a:solidFill>
              <a:effectLst/>
              <a:uLnTx/>
              <a:uFillTx/>
            </a:endParaRP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100" b="1" i="0" u="none" strike="noStrike" kern="0" cap="none" spc="0" normalizeH="0" baseline="0" noProof="0" dirty="0">
                <a:ln>
                  <a:noFill/>
                </a:ln>
                <a:solidFill>
                  <a:srgbClr val="000000"/>
                </a:solidFill>
                <a:effectLst/>
                <a:uLnTx/>
                <a:uFillTx/>
              </a:rPr>
              <a:t>Keuzes en maatwerk. </a:t>
            </a:r>
            <a:r>
              <a:rPr kumimoji="0" lang="nl-NL" sz="1100" b="0" i="0" u="none" strike="noStrike" kern="0" cap="none" spc="0" normalizeH="0" baseline="0" noProof="0" dirty="0">
                <a:ln>
                  <a:noFill/>
                </a:ln>
                <a:solidFill>
                  <a:srgbClr val="000000"/>
                </a:solidFill>
                <a:effectLst/>
                <a:uLnTx/>
                <a:uFillTx/>
              </a:rPr>
              <a:t>We maken verschil in wat nodig is om maximaal effect te bereiken. Dit doen we om zowel het excelleren te bevorderen als voor het verlenen van de passende ondersteuning. We maken deze keuzes naar aanleiding van individuele casuïstiek en sluiten aan bij verschillen tussen buurten en organisaties. </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100" b="1" i="0" u="none" strike="noStrike" kern="0" cap="none" spc="0" normalizeH="0" baseline="0" noProof="0" dirty="0">
                <a:ln>
                  <a:noFill/>
                </a:ln>
                <a:solidFill>
                  <a:srgbClr val="000000"/>
                </a:solidFill>
                <a:effectLst/>
                <a:uLnTx/>
                <a:uFillTx/>
              </a:rPr>
              <a:t>We organiseren ons eenvoudig</a:t>
            </a:r>
            <a:r>
              <a:rPr kumimoji="0" lang="nl-NL" sz="1100" b="0" i="0" u="none" strike="noStrike" kern="0" cap="none" spc="0" normalizeH="0" baseline="0" noProof="0" dirty="0">
                <a:ln>
                  <a:noFill/>
                </a:ln>
                <a:solidFill>
                  <a:srgbClr val="000000"/>
                </a:solidFill>
                <a:effectLst/>
                <a:uLnTx/>
                <a:uFillTx/>
              </a:rPr>
              <a:t>. We richten ons werk en ons stelsel zo in dat het voor iedere inwoner en professional herkenbaar, overzichtelijk en toegankelijk is. Zo vermijden we onnodige transactiekosten en geven we eerder antwoord op de vraag die ons wordt gesteld</a:t>
            </a:r>
          </a:p>
        </p:txBody>
      </p:sp>
      <p:sp>
        <p:nvSpPr>
          <p:cNvPr id="18" name="Rectangle 13">
            <a:extLst>
              <a:ext uri="{FF2B5EF4-FFF2-40B4-BE49-F238E27FC236}">
                <a16:creationId xmlns:a16="http://schemas.microsoft.com/office/drawing/2014/main" id="{D36DB81A-0F1F-4F9A-95E8-013540A1D12C}"/>
              </a:ext>
            </a:extLst>
          </p:cNvPr>
          <p:cNvSpPr/>
          <p:nvPr/>
        </p:nvSpPr>
        <p:spPr>
          <a:xfrm>
            <a:off x="799571" y="1240614"/>
            <a:ext cx="4802473" cy="464177"/>
          </a:xfrm>
          <a:prstGeom prst="rect">
            <a:avLst/>
          </a:prstGeom>
          <a:solidFill>
            <a:schemeClr val="accent2">
              <a:lumMod val="20000"/>
              <a:lumOff val="80000"/>
            </a:schemeClr>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marR="0" lvl="0" indent="0" algn="ctr" defTabSz="685800" eaLnBrk="1" fontAlgn="auto" latinLnBrk="0" hangingPunct="1">
              <a:lnSpc>
                <a:spcPct val="90000"/>
              </a:lnSpc>
              <a:spcBef>
                <a:spcPts val="375"/>
              </a:spcBef>
              <a:spcAft>
                <a:spcPts val="0"/>
              </a:spcAft>
              <a:buClr>
                <a:srgbClr val="FF0000"/>
              </a:buClr>
              <a:buSzTx/>
              <a:buFontTx/>
              <a:buNone/>
              <a:tabLst/>
              <a:defRPr/>
            </a:pPr>
            <a:r>
              <a:rPr kumimoji="0" lang="nl-NL" sz="1100" b="0" i="1" u="none" strike="noStrike" kern="0" cap="none" spc="0" normalizeH="0" baseline="0" noProof="0" dirty="0">
                <a:ln>
                  <a:noFill/>
                </a:ln>
                <a:solidFill>
                  <a:srgbClr val="000000"/>
                </a:solidFill>
                <a:effectLst/>
                <a:uLnTx/>
                <a:uFillTx/>
              </a:rPr>
              <a:t>Politieke missie</a:t>
            </a:r>
          </a:p>
          <a:p>
            <a:pPr marL="0" marR="0" lvl="0" indent="0" algn="ctr" defTabSz="685800" eaLnBrk="1" fontAlgn="auto" latinLnBrk="0" hangingPunct="1">
              <a:lnSpc>
                <a:spcPct val="90000"/>
              </a:lnSpc>
              <a:spcBef>
                <a:spcPts val="375"/>
              </a:spcBef>
              <a:spcAft>
                <a:spcPts val="0"/>
              </a:spcAft>
              <a:buClr>
                <a:srgbClr val="FF0000"/>
              </a:buClr>
              <a:buSzTx/>
              <a:buFontTx/>
              <a:buNone/>
              <a:tabLst/>
              <a:defRPr/>
            </a:pPr>
            <a:r>
              <a:rPr kumimoji="0" lang="nl-NL" sz="1100" b="1" i="1" u="none" strike="noStrike" kern="0" cap="none" spc="0" normalizeH="0" baseline="0" noProof="0" dirty="0">
                <a:ln>
                  <a:noFill/>
                </a:ln>
                <a:solidFill>
                  <a:srgbClr val="000000"/>
                </a:solidFill>
                <a:effectLst/>
                <a:uLnTx/>
                <a:uFillTx/>
              </a:rPr>
              <a:t>“Volwaardig mee doen zonder schulden.”</a:t>
            </a:r>
            <a:endParaRPr kumimoji="0" lang="nl-NL" sz="1100" b="1" i="1" u="none" strike="noStrike" kern="0" cap="none" spc="0" normalizeH="0" baseline="0" noProof="0" dirty="0" err="1">
              <a:ln>
                <a:noFill/>
              </a:ln>
              <a:solidFill>
                <a:srgbClr val="000000"/>
              </a:solidFill>
              <a:effectLst/>
              <a:uLnTx/>
              <a:uFillTx/>
            </a:endParaRPr>
          </a:p>
        </p:txBody>
      </p:sp>
      <p:sp>
        <p:nvSpPr>
          <p:cNvPr id="19" name="Rectangle 139">
            <a:extLst>
              <a:ext uri="{FF2B5EF4-FFF2-40B4-BE49-F238E27FC236}">
                <a16:creationId xmlns:a16="http://schemas.microsoft.com/office/drawing/2014/main" id="{13FA692D-F04A-4413-B8BA-78A11F9C8C1A}"/>
              </a:ext>
            </a:extLst>
          </p:cNvPr>
          <p:cNvSpPr/>
          <p:nvPr/>
        </p:nvSpPr>
        <p:spPr>
          <a:xfrm>
            <a:off x="795647" y="1748038"/>
            <a:ext cx="4802473" cy="648119"/>
          </a:xfrm>
          <a:prstGeom prst="rect">
            <a:avLst/>
          </a:prstGeom>
          <a:solidFill>
            <a:schemeClr val="accent2">
              <a:lumMod val="20000"/>
              <a:lumOff val="80000"/>
            </a:schemeClr>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marR="0" lvl="0" indent="0" algn="ctr" defTabSz="685800" eaLnBrk="1" fontAlgn="auto" latinLnBrk="0" hangingPunct="1">
              <a:lnSpc>
                <a:spcPct val="90000"/>
              </a:lnSpc>
              <a:spcBef>
                <a:spcPts val="375"/>
              </a:spcBef>
              <a:spcAft>
                <a:spcPts val="0"/>
              </a:spcAft>
              <a:buClr>
                <a:srgbClr val="FF0000"/>
              </a:buClr>
              <a:buSzTx/>
              <a:buFontTx/>
              <a:buNone/>
              <a:tabLst/>
              <a:defRPr/>
            </a:pPr>
            <a:r>
              <a:rPr kumimoji="0" lang="nl-NL" sz="1100" b="0" i="1" u="none" strike="noStrike" kern="0" cap="none" spc="0" normalizeH="0" baseline="0" noProof="0" dirty="0">
                <a:ln>
                  <a:noFill/>
                </a:ln>
                <a:solidFill>
                  <a:srgbClr val="000000"/>
                </a:solidFill>
                <a:effectLst/>
                <a:uLnTx/>
                <a:uFillTx/>
              </a:rPr>
              <a:t>Strategische opgave</a:t>
            </a:r>
          </a:p>
          <a:p>
            <a:pPr marL="0" marR="0" lvl="0" indent="0" algn="ctr" defTabSz="685800" eaLnBrk="1" fontAlgn="auto" latinLnBrk="0" hangingPunct="1">
              <a:lnSpc>
                <a:spcPct val="90000"/>
              </a:lnSpc>
              <a:spcBef>
                <a:spcPts val="375"/>
              </a:spcBef>
              <a:spcAft>
                <a:spcPts val="0"/>
              </a:spcAft>
              <a:buClr>
                <a:srgbClr val="FF0000"/>
              </a:buClr>
              <a:buSzTx/>
              <a:buFontTx/>
              <a:buNone/>
              <a:tabLst/>
              <a:defRPr/>
            </a:pPr>
            <a:r>
              <a:rPr kumimoji="0" lang="nl-NL" sz="1100" b="1" i="1" u="none" strike="noStrike" kern="0" cap="none" spc="0" normalizeH="0" baseline="0" noProof="0" dirty="0">
                <a:ln>
                  <a:noFill/>
                </a:ln>
                <a:solidFill>
                  <a:srgbClr val="000000"/>
                </a:solidFill>
                <a:effectLst/>
                <a:uLnTx/>
                <a:uFillTx/>
              </a:rPr>
              <a:t>“Elke Amsterdammer is financieel gezond. Elke Amsterdammer werkt, participeert of leert.”</a:t>
            </a:r>
          </a:p>
        </p:txBody>
      </p:sp>
      <p:sp>
        <p:nvSpPr>
          <p:cNvPr id="20" name="Rectangle 139">
            <a:extLst>
              <a:ext uri="{FF2B5EF4-FFF2-40B4-BE49-F238E27FC236}">
                <a16:creationId xmlns:a16="http://schemas.microsoft.com/office/drawing/2014/main" id="{BD426A4D-5874-48AB-B429-D8476F9E18E0}"/>
              </a:ext>
            </a:extLst>
          </p:cNvPr>
          <p:cNvSpPr/>
          <p:nvPr/>
        </p:nvSpPr>
        <p:spPr>
          <a:xfrm>
            <a:off x="780868" y="2439404"/>
            <a:ext cx="4840119" cy="825860"/>
          </a:xfrm>
          <a:prstGeom prst="rect">
            <a:avLst/>
          </a:prstGeom>
          <a:solidFill>
            <a:schemeClr val="accent2">
              <a:lumMod val="20000"/>
              <a:lumOff val="80000"/>
            </a:schemeClr>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marR="0" lvl="0" indent="0" algn="ctr" defTabSz="685800" eaLnBrk="1" fontAlgn="auto" latinLnBrk="0" hangingPunct="1">
              <a:lnSpc>
                <a:spcPct val="90000"/>
              </a:lnSpc>
              <a:spcBef>
                <a:spcPts val="375"/>
              </a:spcBef>
              <a:spcAft>
                <a:spcPts val="0"/>
              </a:spcAft>
              <a:buClr>
                <a:srgbClr val="FF0000"/>
              </a:buClr>
              <a:buSzTx/>
              <a:buFontTx/>
              <a:buNone/>
              <a:tabLst/>
              <a:defRPr/>
            </a:pPr>
            <a:r>
              <a:rPr kumimoji="0" lang="nl-NL" sz="1100" b="0" i="1" u="none" strike="noStrike" kern="0" cap="none" spc="0" normalizeH="0" baseline="0" noProof="0" dirty="0">
                <a:ln>
                  <a:noFill/>
                </a:ln>
                <a:solidFill>
                  <a:srgbClr val="000000"/>
                </a:solidFill>
                <a:effectLst/>
                <a:uLnTx/>
                <a:uFillTx/>
              </a:rPr>
              <a:t>Missie WPI</a:t>
            </a:r>
          </a:p>
          <a:p>
            <a:pPr marL="0" marR="0" lvl="0" indent="0" algn="ctr" defTabSz="685800" eaLnBrk="1" fontAlgn="auto" latinLnBrk="0" hangingPunct="1">
              <a:lnSpc>
                <a:spcPct val="90000"/>
              </a:lnSpc>
              <a:spcBef>
                <a:spcPts val="375"/>
              </a:spcBef>
              <a:spcAft>
                <a:spcPts val="0"/>
              </a:spcAft>
              <a:buClr>
                <a:srgbClr val="FF0000"/>
              </a:buClr>
              <a:buSzTx/>
              <a:buFontTx/>
              <a:buNone/>
              <a:tabLst/>
              <a:defRPr/>
            </a:pPr>
            <a:r>
              <a:rPr kumimoji="0" lang="nl-NL" sz="1100" b="1" i="1" u="none" strike="noStrike" kern="0" cap="none" spc="0" normalizeH="0" baseline="0" noProof="0" dirty="0">
                <a:ln>
                  <a:noFill/>
                </a:ln>
                <a:solidFill>
                  <a:srgbClr val="000000"/>
                </a:solidFill>
                <a:effectLst/>
                <a:uLnTx/>
                <a:uFillTx/>
              </a:rPr>
              <a:t>De dienstverlening aan Amsterdammers: eenvoudig, toegankelijk en effectief door een wendbare, gezonde en succesvolle organisatie die de maatschappelijke opgave maximaal en in samenhang met partners faciliteert. </a:t>
            </a:r>
          </a:p>
          <a:p>
            <a:pPr marL="0" marR="0" lvl="0" indent="0" algn="ctr" defTabSz="685800" eaLnBrk="1" fontAlgn="auto" latinLnBrk="0" hangingPunct="1">
              <a:lnSpc>
                <a:spcPct val="90000"/>
              </a:lnSpc>
              <a:spcBef>
                <a:spcPts val="375"/>
              </a:spcBef>
              <a:spcAft>
                <a:spcPts val="0"/>
              </a:spcAft>
              <a:buClr>
                <a:srgbClr val="FF0000"/>
              </a:buClr>
              <a:buSzTx/>
              <a:buFontTx/>
              <a:buNone/>
              <a:tabLst/>
              <a:defRPr/>
            </a:pPr>
            <a:endParaRPr kumimoji="0" lang="nl-NL" sz="1400" b="1" i="1" u="none" strike="noStrike" kern="0" cap="none" spc="0" normalizeH="0" baseline="0" noProof="0" dirty="0">
              <a:ln>
                <a:noFill/>
              </a:ln>
              <a:solidFill>
                <a:srgbClr val="000000"/>
              </a:solidFill>
              <a:effectLst/>
              <a:uLnTx/>
              <a:uFillTx/>
            </a:endParaRPr>
          </a:p>
        </p:txBody>
      </p:sp>
      <p:sp>
        <p:nvSpPr>
          <p:cNvPr id="21" name="Rectangle 139">
            <a:extLst>
              <a:ext uri="{FF2B5EF4-FFF2-40B4-BE49-F238E27FC236}">
                <a16:creationId xmlns:a16="http://schemas.microsoft.com/office/drawing/2014/main" id="{5C1E92E4-2B47-4E4E-9C20-C347072CF9B0}"/>
              </a:ext>
            </a:extLst>
          </p:cNvPr>
          <p:cNvSpPr/>
          <p:nvPr/>
        </p:nvSpPr>
        <p:spPr>
          <a:xfrm>
            <a:off x="794128" y="3308511"/>
            <a:ext cx="4810710" cy="1380614"/>
          </a:xfrm>
          <a:prstGeom prst="rect">
            <a:avLst/>
          </a:prstGeom>
          <a:solidFill>
            <a:schemeClr val="accent2">
              <a:lumMod val="20000"/>
              <a:lumOff val="80000"/>
            </a:schemeClr>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marR="0" lvl="0" indent="0" algn="ctr" defTabSz="685800" eaLnBrk="1" fontAlgn="auto" latinLnBrk="0" hangingPunct="1">
              <a:lnSpc>
                <a:spcPct val="90000"/>
              </a:lnSpc>
              <a:spcBef>
                <a:spcPts val="375"/>
              </a:spcBef>
              <a:spcAft>
                <a:spcPts val="0"/>
              </a:spcAft>
              <a:buClr>
                <a:srgbClr val="FF0000"/>
              </a:buClr>
              <a:buSzTx/>
              <a:buFontTx/>
              <a:buNone/>
              <a:tabLst/>
              <a:defRPr/>
            </a:pPr>
            <a:r>
              <a:rPr kumimoji="0" lang="nl-NL" sz="1100" b="0" i="1" u="none" strike="noStrike" kern="0" cap="none" spc="0" normalizeH="0" baseline="0" noProof="0" dirty="0">
                <a:ln>
                  <a:noFill/>
                </a:ln>
                <a:solidFill>
                  <a:srgbClr val="000000"/>
                </a:solidFill>
                <a:effectLst/>
                <a:uLnTx/>
                <a:uFillTx/>
              </a:rPr>
              <a:t>Visie WPI</a:t>
            </a:r>
          </a:p>
          <a:p>
            <a:pPr marL="0" marR="0" lvl="0" indent="0" algn="ctr" defTabSz="685800" eaLnBrk="1" fontAlgn="auto" latinLnBrk="0" hangingPunct="1">
              <a:lnSpc>
                <a:spcPct val="90000"/>
              </a:lnSpc>
              <a:spcBef>
                <a:spcPts val="375"/>
              </a:spcBef>
              <a:spcAft>
                <a:spcPts val="0"/>
              </a:spcAft>
              <a:buClr>
                <a:srgbClr val="FF0000"/>
              </a:buClr>
              <a:buSzTx/>
              <a:buFontTx/>
              <a:buNone/>
              <a:tabLst/>
              <a:defRPr/>
            </a:pPr>
            <a:r>
              <a:rPr kumimoji="0" lang="nl-NL" sz="1100" b="1" i="1" u="none" strike="noStrike" kern="0" cap="none" spc="0" normalizeH="0" baseline="0" noProof="0" dirty="0">
                <a:ln>
                  <a:noFill/>
                </a:ln>
                <a:solidFill>
                  <a:srgbClr val="000000"/>
                </a:solidFill>
                <a:effectLst/>
                <a:uLnTx/>
                <a:uFillTx/>
              </a:rPr>
              <a:t>Werk, Participatie en Inkomen (WPI) helpt Amsterdammers die onvoldoende inkomen hebben zelfredzaam te worden. We gaan uit van de eigen kracht van burgers: betaald werk is de beste manier om armoede te voorkomen. Daarom begeleiden we onze klanten bij het vinden van een baan. Als dat echt niet mogelijk is, verlichten we financiële nood en denken we mee over andere manieren van participatie. Alle Amsterdammers doen (volwaardig) mee! </a:t>
            </a:r>
          </a:p>
          <a:p>
            <a:pPr marL="0" marR="0" lvl="0" indent="0" algn="ctr" defTabSz="685800" eaLnBrk="1" fontAlgn="auto" latinLnBrk="0" hangingPunct="1">
              <a:lnSpc>
                <a:spcPct val="90000"/>
              </a:lnSpc>
              <a:spcBef>
                <a:spcPts val="375"/>
              </a:spcBef>
              <a:spcAft>
                <a:spcPts val="0"/>
              </a:spcAft>
              <a:buClr>
                <a:srgbClr val="FF0000"/>
              </a:buClr>
              <a:buSzTx/>
              <a:buFontTx/>
              <a:buNone/>
              <a:tabLst/>
              <a:defRPr/>
            </a:pPr>
            <a:endParaRPr kumimoji="0" lang="nl-NL" sz="1400" b="1" i="1" u="none" strike="noStrike" kern="0" cap="none" spc="0" normalizeH="0" baseline="0" noProof="0" dirty="0">
              <a:ln>
                <a:noFill/>
              </a:ln>
              <a:solidFill>
                <a:srgbClr val="000000"/>
              </a:solidFill>
              <a:effectLst/>
              <a:uLnTx/>
              <a:uFillTx/>
            </a:endParaRPr>
          </a:p>
        </p:txBody>
      </p:sp>
      <p:sp>
        <p:nvSpPr>
          <p:cNvPr id="22" name="Rectangle 139">
            <a:extLst>
              <a:ext uri="{FF2B5EF4-FFF2-40B4-BE49-F238E27FC236}">
                <a16:creationId xmlns:a16="http://schemas.microsoft.com/office/drawing/2014/main" id="{E4FB4E7A-4078-4B4C-A81E-2AA0A31686AE}"/>
              </a:ext>
            </a:extLst>
          </p:cNvPr>
          <p:cNvSpPr/>
          <p:nvPr/>
        </p:nvSpPr>
        <p:spPr>
          <a:xfrm>
            <a:off x="790946" y="4732372"/>
            <a:ext cx="4810710" cy="1380614"/>
          </a:xfrm>
          <a:prstGeom prst="rect">
            <a:avLst/>
          </a:prstGeom>
          <a:solidFill>
            <a:schemeClr val="accent2">
              <a:lumMod val="20000"/>
              <a:lumOff val="80000"/>
            </a:schemeClr>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marR="0" lvl="0" indent="0" algn="ctr" defTabSz="685800" eaLnBrk="1" fontAlgn="auto" latinLnBrk="0" hangingPunct="1">
              <a:lnSpc>
                <a:spcPct val="90000"/>
              </a:lnSpc>
              <a:spcBef>
                <a:spcPts val="375"/>
              </a:spcBef>
              <a:spcAft>
                <a:spcPts val="0"/>
              </a:spcAft>
              <a:buClr>
                <a:srgbClr val="FF0000"/>
              </a:buClr>
              <a:buSzTx/>
              <a:buFontTx/>
              <a:buNone/>
              <a:tabLst/>
              <a:defRPr/>
            </a:pPr>
            <a:r>
              <a:rPr kumimoji="0" lang="nl-NL" sz="1100" b="0" i="1" u="none" strike="noStrike" kern="0" cap="none" spc="0" normalizeH="0" baseline="0" noProof="0" dirty="0">
                <a:ln>
                  <a:noFill/>
                </a:ln>
                <a:solidFill>
                  <a:srgbClr val="000000"/>
                </a:solidFill>
                <a:effectLst/>
                <a:uLnTx/>
                <a:uFillTx/>
              </a:rPr>
              <a:t>Leidende principes WPI</a:t>
            </a:r>
          </a:p>
          <a:p>
            <a:pPr marL="0" marR="0" lvl="0" indent="0" algn="ctr" defTabSz="685800" eaLnBrk="1" fontAlgn="auto" latinLnBrk="0" hangingPunct="1">
              <a:lnSpc>
                <a:spcPct val="90000"/>
              </a:lnSpc>
              <a:spcBef>
                <a:spcPts val="375"/>
              </a:spcBef>
              <a:spcAft>
                <a:spcPts val="0"/>
              </a:spcAft>
              <a:buClr>
                <a:srgbClr val="FF0000"/>
              </a:buClr>
              <a:buSzTx/>
              <a:buFontTx/>
              <a:buNone/>
              <a:tabLst/>
              <a:defRPr/>
            </a:pPr>
            <a:endParaRPr kumimoji="0" lang="nl-NL" sz="1100" b="0" i="1" u="none" strike="noStrike" kern="0" cap="none" spc="0" normalizeH="0" baseline="0" noProof="0" dirty="0">
              <a:ln>
                <a:noFill/>
              </a:ln>
              <a:solidFill>
                <a:srgbClr val="000000"/>
              </a:solidFill>
              <a:effectLst/>
              <a:uLnTx/>
              <a:uFillTx/>
            </a:endParaRPr>
          </a:p>
          <a:p>
            <a:pPr marL="0" marR="0" lvl="0" indent="0" algn="ctr" defTabSz="685800" eaLnBrk="1" fontAlgn="auto" latinLnBrk="0" hangingPunct="1">
              <a:lnSpc>
                <a:spcPct val="90000"/>
              </a:lnSpc>
              <a:spcBef>
                <a:spcPts val="375"/>
              </a:spcBef>
              <a:spcAft>
                <a:spcPts val="0"/>
              </a:spcAft>
              <a:buClr>
                <a:srgbClr val="FF0000"/>
              </a:buClr>
              <a:buSzTx/>
              <a:buFontTx/>
              <a:buNone/>
              <a:tabLst/>
              <a:defRPr/>
            </a:pPr>
            <a:r>
              <a:rPr kumimoji="0" lang="nl-NL" sz="1100" b="1" i="1" u="none" strike="noStrike" kern="0" cap="none" spc="0" normalizeH="0" baseline="0" noProof="0" dirty="0">
                <a:ln>
                  <a:noFill/>
                </a:ln>
                <a:solidFill>
                  <a:srgbClr val="000000"/>
                </a:solidFill>
                <a:effectLst/>
                <a:uLnTx/>
                <a:uFillTx/>
              </a:rPr>
              <a:t>De Amsterdammer centraal</a:t>
            </a:r>
          </a:p>
          <a:p>
            <a:pPr marL="0" marR="0" lvl="0" indent="0" algn="ctr" defTabSz="685800" eaLnBrk="1" fontAlgn="auto" latinLnBrk="0" hangingPunct="1">
              <a:lnSpc>
                <a:spcPct val="90000"/>
              </a:lnSpc>
              <a:spcBef>
                <a:spcPts val="375"/>
              </a:spcBef>
              <a:spcAft>
                <a:spcPts val="0"/>
              </a:spcAft>
              <a:buClr>
                <a:srgbClr val="FF0000"/>
              </a:buClr>
              <a:buSzTx/>
              <a:buFontTx/>
              <a:buNone/>
              <a:tabLst/>
              <a:defRPr/>
            </a:pPr>
            <a:r>
              <a:rPr kumimoji="0" lang="nl-NL" sz="1100" b="1" i="1" u="none" strike="noStrike" kern="0" cap="none" spc="0" normalizeH="0" baseline="0" noProof="0" dirty="0">
                <a:ln>
                  <a:noFill/>
                </a:ln>
                <a:solidFill>
                  <a:srgbClr val="000000"/>
                </a:solidFill>
                <a:effectLst/>
                <a:uLnTx/>
                <a:uFillTx/>
              </a:rPr>
              <a:t>We sturen op preventie</a:t>
            </a:r>
          </a:p>
          <a:p>
            <a:pPr marL="0" marR="0" lvl="0" indent="0" algn="ctr" defTabSz="685800" eaLnBrk="1" fontAlgn="auto" latinLnBrk="0" hangingPunct="1">
              <a:lnSpc>
                <a:spcPct val="90000"/>
              </a:lnSpc>
              <a:spcBef>
                <a:spcPts val="375"/>
              </a:spcBef>
              <a:spcAft>
                <a:spcPts val="0"/>
              </a:spcAft>
              <a:buClr>
                <a:srgbClr val="FF0000"/>
              </a:buClr>
              <a:buSzTx/>
              <a:buFontTx/>
              <a:buNone/>
              <a:tabLst/>
              <a:defRPr/>
            </a:pPr>
            <a:r>
              <a:rPr kumimoji="0" lang="nl-NL" sz="1100" b="1" i="1" u="none" strike="noStrike" kern="0" cap="none" spc="0" normalizeH="0" baseline="0" noProof="0" dirty="0">
                <a:ln>
                  <a:noFill/>
                </a:ln>
                <a:solidFill>
                  <a:srgbClr val="000000"/>
                </a:solidFill>
                <a:effectLst/>
                <a:uLnTx/>
                <a:uFillTx/>
              </a:rPr>
              <a:t>Keuzes en maatwerk</a:t>
            </a:r>
          </a:p>
          <a:p>
            <a:pPr marL="0" marR="0" lvl="0" indent="0" algn="ctr" defTabSz="685800" eaLnBrk="1" fontAlgn="auto" latinLnBrk="0" hangingPunct="1">
              <a:lnSpc>
                <a:spcPct val="90000"/>
              </a:lnSpc>
              <a:spcBef>
                <a:spcPts val="375"/>
              </a:spcBef>
              <a:spcAft>
                <a:spcPts val="0"/>
              </a:spcAft>
              <a:buClr>
                <a:srgbClr val="FF0000"/>
              </a:buClr>
              <a:buSzTx/>
              <a:buFontTx/>
              <a:buNone/>
              <a:tabLst/>
              <a:defRPr/>
            </a:pPr>
            <a:r>
              <a:rPr kumimoji="0" lang="nl-NL" sz="1100" b="1" i="1" u="none" strike="noStrike" kern="0" cap="none" spc="0" normalizeH="0" baseline="0" noProof="0" dirty="0">
                <a:ln>
                  <a:noFill/>
                </a:ln>
                <a:solidFill>
                  <a:srgbClr val="000000"/>
                </a:solidFill>
                <a:effectLst/>
                <a:uLnTx/>
                <a:uFillTx/>
              </a:rPr>
              <a:t>We organiseren eenvoudig </a:t>
            </a:r>
          </a:p>
          <a:p>
            <a:pPr marL="0" marR="0" lvl="0" indent="0" algn="ctr" defTabSz="685800" eaLnBrk="1" fontAlgn="auto" latinLnBrk="0" hangingPunct="1">
              <a:lnSpc>
                <a:spcPct val="90000"/>
              </a:lnSpc>
              <a:spcBef>
                <a:spcPts val="375"/>
              </a:spcBef>
              <a:spcAft>
                <a:spcPts val="0"/>
              </a:spcAft>
              <a:buClr>
                <a:srgbClr val="FF0000"/>
              </a:buClr>
              <a:buSzTx/>
              <a:buFontTx/>
              <a:buNone/>
              <a:tabLst/>
              <a:defRPr/>
            </a:pPr>
            <a:endParaRPr kumimoji="0" lang="nl-NL" sz="1400" b="1" i="1" u="none" strike="noStrike" kern="0" cap="none" spc="0" normalizeH="0" baseline="0" noProof="0" dirty="0">
              <a:ln>
                <a:noFill/>
              </a:ln>
              <a:solidFill>
                <a:srgbClr val="000000"/>
              </a:solidFill>
              <a:effectLst/>
              <a:uLnTx/>
              <a:uFillTx/>
            </a:endParaRPr>
          </a:p>
        </p:txBody>
      </p:sp>
      <p:sp>
        <p:nvSpPr>
          <p:cNvPr id="4" name="Isosceles Triangle 3">
            <a:extLst>
              <a:ext uri="{FF2B5EF4-FFF2-40B4-BE49-F238E27FC236}">
                <a16:creationId xmlns:a16="http://schemas.microsoft.com/office/drawing/2014/main" id="{E50ECD41-C137-4DA8-A889-7D0ADDF91B8B}"/>
              </a:ext>
            </a:extLst>
          </p:cNvPr>
          <p:cNvSpPr/>
          <p:nvPr/>
        </p:nvSpPr>
        <p:spPr>
          <a:xfrm rot="16200000">
            <a:off x="4085925" y="3364695"/>
            <a:ext cx="4191515" cy="552637"/>
          </a:xfrm>
          <a:prstGeom prst="triangle">
            <a:avLst>
              <a:gd name="adj" fmla="val 50000"/>
            </a:avLst>
          </a:prstGeom>
          <a:solidFill>
            <a:schemeClr val="bg1">
              <a:lumMod val="85000"/>
            </a:schemeClr>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pPr>
            <a:endParaRPr kumimoji="0" lang="nl-NL" sz="14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endParaRPr>
          </a:p>
        </p:txBody>
      </p:sp>
      <p:sp>
        <p:nvSpPr>
          <p:cNvPr id="5" name="Tijdelijke aanduiding voor voettekst 4">
            <a:extLst>
              <a:ext uri="{FF2B5EF4-FFF2-40B4-BE49-F238E27FC236}">
                <a16:creationId xmlns:a16="http://schemas.microsoft.com/office/drawing/2014/main" id="{E3027733-6EFF-46CE-91ED-B0E7AEA873B7}"/>
              </a:ext>
            </a:extLst>
          </p:cNvPr>
          <p:cNvSpPr>
            <a:spLocks noGrp="1"/>
          </p:cNvSpPr>
          <p:nvPr>
            <p:ph type="ftr" sz="quarter" idx="11"/>
          </p:nvPr>
        </p:nvSpPr>
        <p:spPr/>
        <p:txBody>
          <a:bodyPr/>
          <a:lstStyle/>
          <a:p>
            <a:r>
              <a:rPr lang="nl-NL"/>
              <a:t>Informatiebijeenkomst 26 juli 2021 Europese Aanbesteding SVWI</a:t>
            </a:r>
          </a:p>
        </p:txBody>
      </p:sp>
    </p:spTree>
    <p:extLst>
      <p:ext uri="{BB962C8B-B14F-4D97-AF65-F5344CB8AC3E}">
        <p14:creationId xmlns:p14="http://schemas.microsoft.com/office/powerpoint/2010/main" val="9083698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50256F-2D70-4F7E-AE96-47633F5678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403" progId="TCLayout.ActiveDocument.1">
                  <p:embed/>
                </p:oleObj>
              </mc:Choice>
              <mc:Fallback>
                <p:oleObj name="think-cell Slide" r:id="rId3" imgW="393" imgH="403" progId="TCLayout.ActiveDocument.1">
                  <p:embed/>
                  <p:pic>
                    <p:nvPicPr>
                      <p:cNvPr id="2" name="Object 1" hidden="1">
                        <a:extLst>
                          <a:ext uri="{FF2B5EF4-FFF2-40B4-BE49-F238E27FC236}">
                            <a16:creationId xmlns:a16="http://schemas.microsoft.com/office/drawing/2014/main" id="{AE50256F-2D70-4F7E-AE96-47633F5678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Rectangle 55">
            <a:extLst>
              <a:ext uri="{FF2B5EF4-FFF2-40B4-BE49-F238E27FC236}">
                <a16:creationId xmlns:a16="http://schemas.microsoft.com/office/drawing/2014/main" id="{BF8F0602-B842-47CA-BEC6-931A52313DF3}"/>
              </a:ext>
            </a:extLst>
          </p:cNvPr>
          <p:cNvSpPr/>
          <p:nvPr/>
        </p:nvSpPr>
        <p:spPr>
          <a:xfrm>
            <a:off x="2650359" y="1764825"/>
            <a:ext cx="2214299" cy="4652553"/>
          </a:xfrm>
          <a:prstGeom prst="rect">
            <a:avLst/>
          </a:prstGeom>
          <a:solidFill>
            <a:schemeClr val="bg1">
              <a:lumMod val="95000"/>
            </a:schemeClr>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90000"/>
              </a:lnSpc>
              <a:spcBef>
                <a:spcPts val="375"/>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a:ln>
                <a:noFill/>
              </a:ln>
              <a:solidFill>
                <a:srgbClr val="000000"/>
              </a:solidFill>
              <a:effectLst/>
              <a:uLnTx/>
              <a:uFillTx/>
              <a:latin typeface="Corbel"/>
              <a:ea typeface="+mn-ea"/>
              <a:cs typeface="+mn-cs"/>
            </a:endParaRPr>
          </a:p>
        </p:txBody>
      </p:sp>
      <p:sp>
        <p:nvSpPr>
          <p:cNvPr id="98" name="Rectangle 97">
            <a:extLst>
              <a:ext uri="{FF2B5EF4-FFF2-40B4-BE49-F238E27FC236}">
                <a16:creationId xmlns:a16="http://schemas.microsoft.com/office/drawing/2014/main" id="{6D124EA7-6512-4704-B9B1-FC4AEE36F08F}"/>
              </a:ext>
            </a:extLst>
          </p:cNvPr>
          <p:cNvSpPr/>
          <p:nvPr/>
        </p:nvSpPr>
        <p:spPr>
          <a:xfrm>
            <a:off x="4995207" y="1754584"/>
            <a:ext cx="2214299" cy="4625174"/>
          </a:xfrm>
          <a:prstGeom prst="rect">
            <a:avLst/>
          </a:prstGeom>
          <a:solidFill>
            <a:schemeClr val="bg1">
              <a:lumMod val="95000"/>
            </a:schemeClr>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90000"/>
              </a:lnSpc>
              <a:spcBef>
                <a:spcPts val="375"/>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p:txBody>
      </p:sp>
      <p:sp>
        <p:nvSpPr>
          <p:cNvPr id="107" name="Rectangle 106">
            <a:extLst>
              <a:ext uri="{FF2B5EF4-FFF2-40B4-BE49-F238E27FC236}">
                <a16:creationId xmlns:a16="http://schemas.microsoft.com/office/drawing/2014/main" id="{9F1EA6E5-AFA9-416D-B727-4519829A40E6}"/>
              </a:ext>
            </a:extLst>
          </p:cNvPr>
          <p:cNvSpPr/>
          <p:nvPr/>
        </p:nvSpPr>
        <p:spPr>
          <a:xfrm>
            <a:off x="5154122" y="2979117"/>
            <a:ext cx="1920032" cy="12212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a:ea typeface="+mn-ea"/>
                <a:cs typeface="+mn-cs"/>
              </a:rPr>
              <a:t>De Amsterdammer heeft de mogelijkheid om de professional te machtigen om hem of haar te helpen waardoor de professional via allerlei kanalen de Amsterdammer kan ondersteune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srgbClr val="000000"/>
              </a:solidFill>
              <a:effectLst/>
              <a:uLnTx/>
              <a:uFillTx/>
              <a:latin typeface="Corbel"/>
              <a:ea typeface="+mn-ea"/>
              <a:cs typeface="+mn-cs"/>
            </a:endParaRPr>
          </a:p>
        </p:txBody>
      </p:sp>
      <p:sp>
        <p:nvSpPr>
          <p:cNvPr id="108" name="Rectangle 107">
            <a:extLst>
              <a:ext uri="{FF2B5EF4-FFF2-40B4-BE49-F238E27FC236}">
                <a16:creationId xmlns:a16="http://schemas.microsoft.com/office/drawing/2014/main" id="{642B1A24-69A4-48C7-A014-718C604C97DB}"/>
              </a:ext>
            </a:extLst>
          </p:cNvPr>
          <p:cNvSpPr/>
          <p:nvPr/>
        </p:nvSpPr>
        <p:spPr>
          <a:xfrm>
            <a:off x="4937476" y="2401339"/>
            <a:ext cx="2353324" cy="560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rgbClr val="FF0000"/>
                </a:solidFill>
                <a:effectLst/>
                <a:uLnTx/>
                <a:uFillTx/>
                <a:latin typeface="Corbel"/>
                <a:ea typeface="+mn-ea"/>
                <a:cs typeface="+mn-cs"/>
              </a:rPr>
              <a:t>Multichannel dienstverlening</a:t>
            </a:r>
          </a:p>
        </p:txBody>
      </p:sp>
      <p:grpSp>
        <p:nvGrpSpPr>
          <p:cNvPr id="201" name="Group 40">
            <a:extLst>
              <a:ext uri="{FF2B5EF4-FFF2-40B4-BE49-F238E27FC236}">
                <a16:creationId xmlns:a16="http://schemas.microsoft.com/office/drawing/2014/main" id="{74E5B313-2938-4F53-838A-4246CBD38BB4}"/>
              </a:ext>
            </a:extLst>
          </p:cNvPr>
          <p:cNvGrpSpPr>
            <a:grpSpLocks noChangeAspect="1"/>
          </p:cNvGrpSpPr>
          <p:nvPr/>
        </p:nvGrpSpPr>
        <p:grpSpPr bwMode="auto">
          <a:xfrm>
            <a:off x="5893089" y="1978364"/>
            <a:ext cx="500694" cy="434924"/>
            <a:chOff x="3439" y="479"/>
            <a:chExt cx="429" cy="348"/>
          </a:xfrm>
          <a:solidFill>
            <a:schemeClr val="tx1"/>
          </a:solidFill>
        </p:grpSpPr>
        <p:sp>
          <p:nvSpPr>
            <p:cNvPr id="202" name="Freeform 41">
              <a:extLst>
                <a:ext uri="{FF2B5EF4-FFF2-40B4-BE49-F238E27FC236}">
                  <a16:creationId xmlns:a16="http://schemas.microsoft.com/office/drawing/2014/main" id="{5C7FAA9B-2AFB-41F7-8AA1-B04297C07BCA}"/>
                </a:ext>
              </a:extLst>
            </p:cNvPr>
            <p:cNvSpPr>
              <a:spLocks noEditPoints="1"/>
            </p:cNvSpPr>
            <p:nvPr/>
          </p:nvSpPr>
          <p:spPr bwMode="auto">
            <a:xfrm>
              <a:off x="3486" y="479"/>
              <a:ext cx="89" cy="117"/>
            </a:xfrm>
            <a:custGeom>
              <a:avLst/>
              <a:gdLst>
                <a:gd name="T0" fmla="*/ 30 w 60"/>
                <a:gd name="T1" fmla="*/ 0 h 79"/>
                <a:gd name="T2" fmla="*/ 0 w 60"/>
                <a:gd name="T3" fmla="*/ 30 h 79"/>
                <a:gd name="T4" fmla="*/ 26 w 60"/>
                <a:gd name="T5" fmla="*/ 77 h 79"/>
                <a:gd name="T6" fmla="*/ 30 w 60"/>
                <a:gd name="T7" fmla="*/ 79 h 79"/>
                <a:gd name="T8" fmla="*/ 34 w 60"/>
                <a:gd name="T9" fmla="*/ 77 h 79"/>
                <a:gd name="T10" fmla="*/ 60 w 60"/>
                <a:gd name="T11" fmla="*/ 30 h 79"/>
                <a:gd name="T12" fmla="*/ 30 w 60"/>
                <a:gd name="T13" fmla="*/ 0 h 79"/>
                <a:gd name="T14" fmla="*/ 30 w 60"/>
                <a:gd name="T15" fmla="*/ 66 h 79"/>
                <a:gd name="T16" fmla="*/ 30 w 60"/>
                <a:gd name="T17" fmla="*/ 66 h 79"/>
                <a:gd name="T18" fmla="*/ 30 w 60"/>
                <a:gd name="T19" fmla="*/ 66 h 79"/>
                <a:gd name="T20" fmla="*/ 10 w 60"/>
                <a:gd name="T21" fmla="*/ 30 h 79"/>
                <a:gd name="T22" fmla="*/ 30 w 60"/>
                <a:gd name="T23" fmla="*/ 9 h 79"/>
                <a:gd name="T24" fmla="*/ 51 w 60"/>
                <a:gd name="T25" fmla="*/ 30 h 79"/>
                <a:gd name="T26" fmla="*/ 30 w 60"/>
                <a:gd name="T27" fmla="*/ 6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79">
                  <a:moveTo>
                    <a:pt x="30" y="0"/>
                  </a:moveTo>
                  <a:cubicBezTo>
                    <a:pt x="14" y="0"/>
                    <a:pt x="0" y="13"/>
                    <a:pt x="0" y="30"/>
                  </a:cubicBezTo>
                  <a:cubicBezTo>
                    <a:pt x="0" y="45"/>
                    <a:pt x="24" y="74"/>
                    <a:pt x="26" y="77"/>
                  </a:cubicBezTo>
                  <a:cubicBezTo>
                    <a:pt x="27" y="78"/>
                    <a:pt x="29" y="79"/>
                    <a:pt x="30" y="79"/>
                  </a:cubicBezTo>
                  <a:cubicBezTo>
                    <a:pt x="31" y="79"/>
                    <a:pt x="33" y="78"/>
                    <a:pt x="34" y="77"/>
                  </a:cubicBezTo>
                  <a:cubicBezTo>
                    <a:pt x="36" y="74"/>
                    <a:pt x="60" y="45"/>
                    <a:pt x="60" y="30"/>
                  </a:cubicBezTo>
                  <a:cubicBezTo>
                    <a:pt x="60" y="13"/>
                    <a:pt x="47" y="0"/>
                    <a:pt x="30" y="0"/>
                  </a:cubicBezTo>
                  <a:close/>
                  <a:moveTo>
                    <a:pt x="30" y="66"/>
                  </a:moveTo>
                  <a:cubicBezTo>
                    <a:pt x="30" y="66"/>
                    <a:pt x="30" y="66"/>
                    <a:pt x="30" y="66"/>
                  </a:cubicBezTo>
                  <a:cubicBezTo>
                    <a:pt x="30" y="66"/>
                    <a:pt x="30" y="66"/>
                    <a:pt x="30" y="66"/>
                  </a:cubicBezTo>
                  <a:cubicBezTo>
                    <a:pt x="20" y="53"/>
                    <a:pt x="10" y="37"/>
                    <a:pt x="10" y="30"/>
                  </a:cubicBezTo>
                  <a:cubicBezTo>
                    <a:pt x="10" y="19"/>
                    <a:pt x="19" y="9"/>
                    <a:pt x="30" y="9"/>
                  </a:cubicBezTo>
                  <a:cubicBezTo>
                    <a:pt x="41" y="9"/>
                    <a:pt x="51" y="19"/>
                    <a:pt x="51" y="30"/>
                  </a:cubicBezTo>
                  <a:cubicBezTo>
                    <a:pt x="51" y="37"/>
                    <a:pt x="40" y="53"/>
                    <a:pt x="30"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203" name="Freeform 42">
              <a:extLst>
                <a:ext uri="{FF2B5EF4-FFF2-40B4-BE49-F238E27FC236}">
                  <a16:creationId xmlns:a16="http://schemas.microsoft.com/office/drawing/2014/main" id="{8D63A647-5BE9-46DC-A1E8-7B2F92E7E0E0}"/>
                </a:ext>
              </a:extLst>
            </p:cNvPr>
            <p:cNvSpPr>
              <a:spLocks noEditPoints="1"/>
            </p:cNvSpPr>
            <p:nvPr/>
          </p:nvSpPr>
          <p:spPr bwMode="auto">
            <a:xfrm>
              <a:off x="3513" y="505"/>
              <a:ext cx="35" cy="36"/>
            </a:xfrm>
            <a:custGeom>
              <a:avLst/>
              <a:gdLst>
                <a:gd name="T0" fmla="*/ 12 w 24"/>
                <a:gd name="T1" fmla="*/ 0 h 24"/>
                <a:gd name="T2" fmla="*/ 0 w 24"/>
                <a:gd name="T3" fmla="*/ 12 h 24"/>
                <a:gd name="T4" fmla="*/ 12 w 24"/>
                <a:gd name="T5" fmla="*/ 24 h 24"/>
                <a:gd name="T6" fmla="*/ 24 w 24"/>
                <a:gd name="T7" fmla="*/ 12 h 24"/>
                <a:gd name="T8" fmla="*/ 12 w 24"/>
                <a:gd name="T9" fmla="*/ 0 h 24"/>
                <a:gd name="T10" fmla="*/ 12 w 24"/>
                <a:gd name="T11" fmla="*/ 16 h 24"/>
                <a:gd name="T12" fmla="*/ 8 w 24"/>
                <a:gd name="T13" fmla="*/ 12 h 24"/>
                <a:gd name="T14" fmla="*/ 12 w 24"/>
                <a:gd name="T15" fmla="*/ 8 h 24"/>
                <a:gd name="T16" fmla="*/ 16 w 24"/>
                <a:gd name="T17" fmla="*/ 12 h 24"/>
                <a:gd name="T18" fmla="*/ 12 w 24"/>
                <a:gd name="T1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0"/>
                  </a:moveTo>
                  <a:cubicBezTo>
                    <a:pt x="5" y="0"/>
                    <a:pt x="0" y="5"/>
                    <a:pt x="0" y="12"/>
                  </a:cubicBezTo>
                  <a:cubicBezTo>
                    <a:pt x="0" y="19"/>
                    <a:pt x="5" y="24"/>
                    <a:pt x="12" y="24"/>
                  </a:cubicBezTo>
                  <a:cubicBezTo>
                    <a:pt x="19" y="24"/>
                    <a:pt x="24" y="19"/>
                    <a:pt x="24" y="12"/>
                  </a:cubicBezTo>
                  <a:cubicBezTo>
                    <a:pt x="24" y="5"/>
                    <a:pt x="19" y="0"/>
                    <a:pt x="12" y="0"/>
                  </a:cubicBezTo>
                  <a:close/>
                  <a:moveTo>
                    <a:pt x="12" y="16"/>
                  </a:moveTo>
                  <a:cubicBezTo>
                    <a:pt x="10" y="16"/>
                    <a:pt x="8" y="14"/>
                    <a:pt x="8" y="12"/>
                  </a:cubicBezTo>
                  <a:cubicBezTo>
                    <a:pt x="8" y="10"/>
                    <a:pt x="10" y="8"/>
                    <a:pt x="12" y="8"/>
                  </a:cubicBezTo>
                  <a:cubicBezTo>
                    <a:pt x="14" y="8"/>
                    <a:pt x="16" y="10"/>
                    <a:pt x="16" y="12"/>
                  </a:cubicBezTo>
                  <a:cubicBezTo>
                    <a:pt x="16" y="14"/>
                    <a:pt x="14" y="16"/>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204" name="Freeform 43">
              <a:extLst>
                <a:ext uri="{FF2B5EF4-FFF2-40B4-BE49-F238E27FC236}">
                  <a16:creationId xmlns:a16="http://schemas.microsoft.com/office/drawing/2014/main" id="{AA4AADF2-671B-4B1A-985E-774B7142450F}"/>
                </a:ext>
              </a:extLst>
            </p:cNvPr>
            <p:cNvSpPr>
              <a:spLocks noEditPoints="1"/>
            </p:cNvSpPr>
            <p:nvPr/>
          </p:nvSpPr>
          <p:spPr bwMode="auto">
            <a:xfrm>
              <a:off x="3606" y="585"/>
              <a:ext cx="222" cy="137"/>
            </a:xfrm>
            <a:custGeom>
              <a:avLst/>
              <a:gdLst>
                <a:gd name="T0" fmla="*/ 144 w 150"/>
                <a:gd name="T1" fmla="*/ 0 h 92"/>
                <a:gd name="T2" fmla="*/ 6 w 150"/>
                <a:gd name="T3" fmla="*/ 0 h 92"/>
                <a:gd name="T4" fmla="*/ 0 w 150"/>
                <a:gd name="T5" fmla="*/ 6 h 92"/>
                <a:gd name="T6" fmla="*/ 0 w 150"/>
                <a:gd name="T7" fmla="*/ 87 h 92"/>
                <a:gd name="T8" fmla="*/ 6 w 150"/>
                <a:gd name="T9" fmla="*/ 92 h 92"/>
                <a:gd name="T10" fmla="*/ 144 w 150"/>
                <a:gd name="T11" fmla="*/ 92 h 92"/>
                <a:gd name="T12" fmla="*/ 150 w 150"/>
                <a:gd name="T13" fmla="*/ 87 h 92"/>
                <a:gd name="T14" fmla="*/ 150 w 150"/>
                <a:gd name="T15" fmla="*/ 6 h 92"/>
                <a:gd name="T16" fmla="*/ 144 w 150"/>
                <a:gd name="T17" fmla="*/ 0 h 92"/>
                <a:gd name="T18" fmla="*/ 139 w 150"/>
                <a:gd name="T19" fmla="*/ 81 h 92"/>
                <a:gd name="T20" fmla="*/ 11 w 150"/>
                <a:gd name="T21" fmla="*/ 81 h 92"/>
                <a:gd name="T22" fmla="*/ 11 w 150"/>
                <a:gd name="T23" fmla="*/ 11 h 92"/>
                <a:gd name="T24" fmla="*/ 139 w 150"/>
                <a:gd name="T25" fmla="*/ 11 h 92"/>
                <a:gd name="T26" fmla="*/ 139 w 150"/>
                <a:gd name="T27" fmla="*/ 8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92">
                  <a:moveTo>
                    <a:pt x="144" y="0"/>
                  </a:moveTo>
                  <a:cubicBezTo>
                    <a:pt x="6" y="0"/>
                    <a:pt x="6" y="0"/>
                    <a:pt x="6" y="0"/>
                  </a:cubicBezTo>
                  <a:cubicBezTo>
                    <a:pt x="3" y="0"/>
                    <a:pt x="0" y="3"/>
                    <a:pt x="0" y="6"/>
                  </a:cubicBezTo>
                  <a:cubicBezTo>
                    <a:pt x="0" y="87"/>
                    <a:pt x="0" y="87"/>
                    <a:pt x="0" y="87"/>
                  </a:cubicBezTo>
                  <a:cubicBezTo>
                    <a:pt x="0" y="90"/>
                    <a:pt x="3" y="92"/>
                    <a:pt x="6" y="92"/>
                  </a:cubicBezTo>
                  <a:cubicBezTo>
                    <a:pt x="144" y="92"/>
                    <a:pt x="144" y="92"/>
                    <a:pt x="144" y="92"/>
                  </a:cubicBezTo>
                  <a:cubicBezTo>
                    <a:pt x="147" y="92"/>
                    <a:pt x="150" y="90"/>
                    <a:pt x="150" y="87"/>
                  </a:cubicBezTo>
                  <a:cubicBezTo>
                    <a:pt x="150" y="6"/>
                    <a:pt x="150" y="6"/>
                    <a:pt x="150" y="6"/>
                  </a:cubicBezTo>
                  <a:cubicBezTo>
                    <a:pt x="150" y="3"/>
                    <a:pt x="147" y="0"/>
                    <a:pt x="144" y="0"/>
                  </a:cubicBezTo>
                  <a:close/>
                  <a:moveTo>
                    <a:pt x="139" y="81"/>
                  </a:moveTo>
                  <a:cubicBezTo>
                    <a:pt x="11" y="81"/>
                    <a:pt x="11" y="81"/>
                    <a:pt x="11" y="81"/>
                  </a:cubicBezTo>
                  <a:cubicBezTo>
                    <a:pt x="11" y="11"/>
                    <a:pt x="11" y="11"/>
                    <a:pt x="11" y="11"/>
                  </a:cubicBezTo>
                  <a:cubicBezTo>
                    <a:pt x="139" y="11"/>
                    <a:pt x="139" y="11"/>
                    <a:pt x="139" y="11"/>
                  </a:cubicBezTo>
                  <a:lnTo>
                    <a:pt x="139"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205" name="Freeform 44">
              <a:extLst>
                <a:ext uri="{FF2B5EF4-FFF2-40B4-BE49-F238E27FC236}">
                  <a16:creationId xmlns:a16="http://schemas.microsoft.com/office/drawing/2014/main" id="{F10F49F9-D596-4D60-8F4D-3DFF4282B45B}"/>
                </a:ext>
              </a:extLst>
            </p:cNvPr>
            <p:cNvSpPr>
              <a:spLocks noEditPoints="1"/>
            </p:cNvSpPr>
            <p:nvPr/>
          </p:nvSpPr>
          <p:spPr bwMode="auto">
            <a:xfrm>
              <a:off x="3566" y="559"/>
              <a:ext cx="302" cy="228"/>
            </a:xfrm>
            <a:custGeom>
              <a:avLst/>
              <a:gdLst>
                <a:gd name="T0" fmla="*/ 199 w 204"/>
                <a:gd name="T1" fmla="*/ 118 h 154"/>
                <a:gd name="T2" fmla="*/ 196 w 204"/>
                <a:gd name="T3" fmla="*/ 118 h 154"/>
                <a:gd name="T4" fmla="*/ 196 w 204"/>
                <a:gd name="T5" fmla="*/ 18 h 154"/>
                <a:gd name="T6" fmla="*/ 178 w 204"/>
                <a:gd name="T7" fmla="*/ 0 h 154"/>
                <a:gd name="T8" fmla="*/ 26 w 204"/>
                <a:gd name="T9" fmla="*/ 0 h 154"/>
                <a:gd name="T10" fmla="*/ 8 w 204"/>
                <a:gd name="T11" fmla="*/ 18 h 154"/>
                <a:gd name="T12" fmla="*/ 8 w 204"/>
                <a:gd name="T13" fmla="*/ 118 h 154"/>
                <a:gd name="T14" fmla="*/ 5 w 204"/>
                <a:gd name="T15" fmla="*/ 118 h 154"/>
                <a:gd name="T16" fmla="*/ 0 w 204"/>
                <a:gd name="T17" fmla="*/ 123 h 154"/>
                <a:gd name="T18" fmla="*/ 0 w 204"/>
                <a:gd name="T19" fmla="*/ 140 h 154"/>
                <a:gd name="T20" fmla="*/ 13 w 204"/>
                <a:gd name="T21" fmla="*/ 154 h 154"/>
                <a:gd name="T22" fmla="*/ 190 w 204"/>
                <a:gd name="T23" fmla="*/ 154 h 154"/>
                <a:gd name="T24" fmla="*/ 204 w 204"/>
                <a:gd name="T25" fmla="*/ 140 h 154"/>
                <a:gd name="T26" fmla="*/ 204 w 204"/>
                <a:gd name="T27" fmla="*/ 123 h 154"/>
                <a:gd name="T28" fmla="*/ 199 w 204"/>
                <a:gd name="T29" fmla="*/ 118 h 154"/>
                <a:gd name="T30" fmla="*/ 19 w 204"/>
                <a:gd name="T31" fmla="*/ 18 h 154"/>
                <a:gd name="T32" fmla="*/ 26 w 204"/>
                <a:gd name="T33" fmla="*/ 11 h 154"/>
                <a:gd name="T34" fmla="*/ 178 w 204"/>
                <a:gd name="T35" fmla="*/ 11 h 154"/>
                <a:gd name="T36" fmla="*/ 185 w 204"/>
                <a:gd name="T37" fmla="*/ 18 h 154"/>
                <a:gd name="T38" fmla="*/ 185 w 204"/>
                <a:gd name="T39" fmla="*/ 118 h 154"/>
                <a:gd name="T40" fmla="*/ 123 w 204"/>
                <a:gd name="T41" fmla="*/ 118 h 154"/>
                <a:gd name="T42" fmla="*/ 117 w 204"/>
                <a:gd name="T43" fmla="*/ 123 h 154"/>
                <a:gd name="T44" fmla="*/ 117 w 204"/>
                <a:gd name="T45" fmla="*/ 126 h 154"/>
                <a:gd name="T46" fmla="*/ 86 w 204"/>
                <a:gd name="T47" fmla="*/ 126 h 154"/>
                <a:gd name="T48" fmla="*/ 86 w 204"/>
                <a:gd name="T49" fmla="*/ 123 h 154"/>
                <a:gd name="T50" fmla="*/ 81 w 204"/>
                <a:gd name="T51" fmla="*/ 118 h 154"/>
                <a:gd name="T52" fmla="*/ 19 w 204"/>
                <a:gd name="T53" fmla="*/ 118 h 154"/>
                <a:gd name="T54" fmla="*/ 19 w 204"/>
                <a:gd name="T55" fmla="*/ 18 h 154"/>
                <a:gd name="T56" fmla="*/ 193 w 204"/>
                <a:gd name="T57" fmla="*/ 140 h 154"/>
                <a:gd name="T58" fmla="*/ 190 w 204"/>
                <a:gd name="T59" fmla="*/ 143 h 154"/>
                <a:gd name="T60" fmla="*/ 13 w 204"/>
                <a:gd name="T61" fmla="*/ 143 h 154"/>
                <a:gd name="T62" fmla="*/ 11 w 204"/>
                <a:gd name="T63" fmla="*/ 140 h 154"/>
                <a:gd name="T64" fmla="*/ 11 w 204"/>
                <a:gd name="T65" fmla="*/ 129 h 154"/>
                <a:gd name="T66" fmla="*/ 75 w 204"/>
                <a:gd name="T67" fmla="*/ 129 h 154"/>
                <a:gd name="T68" fmla="*/ 75 w 204"/>
                <a:gd name="T69" fmla="*/ 132 h 154"/>
                <a:gd name="T70" fmla="*/ 81 w 204"/>
                <a:gd name="T71" fmla="*/ 137 h 154"/>
                <a:gd name="T72" fmla="*/ 123 w 204"/>
                <a:gd name="T73" fmla="*/ 137 h 154"/>
                <a:gd name="T74" fmla="*/ 128 w 204"/>
                <a:gd name="T75" fmla="*/ 132 h 154"/>
                <a:gd name="T76" fmla="*/ 128 w 204"/>
                <a:gd name="T77" fmla="*/ 129 h 154"/>
                <a:gd name="T78" fmla="*/ 193 w 204"/>
                <a:gd name="T79" fmla="*/ 129 h 154"/>
                <a:gd name="T80" fmla="*/ 193 w 204"/>
                <a:gd name="T81" fmla="*/ 1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4" h="154">
                  <a:moveTo>
                    <a:pt x="199" y="118"/>
                  </a:moveTo>
                  <a:cubicBezTo>
                    <a:pt x="196" y="118"/>
                    <a:pt x="196" y="118"/>
                    <a:pt x="196" y="118"/>
                  </a:cubicBezTo>
                  <a:cubicBezTo>
                    <a:pt x="196" y="18"/>
                    <a:pt x="196" y="18"/>
                    <a:pt x="196" y="18"/>
                  </a:cubicBezTo>
                  <a:cubicBezTo>
                    <a:pt x="196" y="8"/>
                    <a:pt x="188" y="0"/>
                    <a:pt x="178" y="0"/>
                  </a:cubicBezTo>
                  <a:cubicBezTo>
                    <a:pt x="26" y="0"/>
                    <a:pt x="26" y="0"/>
                    <a:pt x="26" y="0"/>
                  </a:cubicBezTo>
                  <a:cubicBezTo>
                    <a:pt x="16" y="0"/>
                    <a:pt x="8" y="8"/>
                    <a:pt x="8" y="18"/>
                  </a:cubicBezTo>
                  <a:cubicBezTo>
                    <a:pt x="8" y="118"/>
                    <a:pt x="8" y="118"/>
                    <a:pt x="8" y="118"/>
                  </a:cubicBezTo>
                  <a:cubicBezTo>
                    <a:pt x="5" y="118"/>
                    <a:pt x="5" y="118"/>
                    <a:pt x="5" y="118"/>
                  </a:cubicBezTo>
                  <a:cubicBezTo>
                    <a:pt x="2" y="118"/>
                    <a:pt x="0" y="120"/>
                    <a:pt x="0" y="123"/>
                  </a:cubicBezTo>
                  <a:cubicBezTo>
                    <a:pt x="0" y="140"/>
                    <a:pt x="0" y="140"/>
                    <a:pt x="0" y="140"/>
                  </a:cubicBezTo>
                  <a:cubicBezTo>
                    <a:pt x="0" y="148"/>
                    <a:pt x="6" y="154"/>
                    <a:pt x="13" y="154"/>
                  </a:cubicBezTo>
                  <a:cubicBezTo>
                    <a:pt x="190" y="154"/>
                    <a:pt x="190" y="154"/>
                    <a:pt x="190" y="154"/>
                  </a:cubicBezTo>
                  <a:cubicBezTo>
                    <a:pt x="198" y="154"/>
                    <a:pt x="204" y="148"/>
                    <a:pt x="204" y="140"/>
                  </a:cubicBezTo>
                  <a:cubicBezTo>
                    <a:pt x="204" y="123"/>
                    <a:pt x="204" y="123"/>
                    <a:pt x="204" y="123"/>
                  </a:cubicBezTo>
                  <a:cubicBezTo>
                    <a:pt x="204" y="120"/>
                    <a:pt x="202" y="118"/>
                    <a:pt x="199" y="118"/>
                  </a:cubicBezTo>
                  <a:close/>
                  <a:moveTo>
                    <a:pt x="19" y="18"/>
                  </a:moveTo>
                  <a:cubicBezTo>
                    <a:pt x="19" y="14"/>
                    <a:pt x="22" y="11"/>
                    <a:pt x="26" y="11"/>
                  </a:cubicBezTo>
                  <a:cubicBezTo>
                    <a:pt x="178" y="11"/>
                    <a:pt x="178" y="11"/>
                    <a:pt x="178" y="11"/>
                  </a:cubicBezTo>
                  <a:cubicBezTo>
                    <a:pt x="182" y="11"/>
                    <a:pt x="185" y="14"/>
                    <a:pt x="185" y="18"/>
                  </a:cubicBezTo>
                  <a:cubicBezTo>
                    <a:pt x="185" y="118"/>
                    <a:pt x="185" y="118"/>
                    <a:pt x="185" y="118"/>
                  </a:cubicBezTo>
                  <a:cubicBezTo>
                    <a:pt x="123" y="118"/>
                    <a:pt x="123" y="118"/>
                    <a:pt x="123" y="118"/>
                  </a:cubicBezTo>
                  <a:cubicBezTo>
                    <a:pt x="120" y="118"/>
                    <a:pt x="117" y="120"/>
                    <a:pt x="117" y="123"/>
                  </a:cubicBezTo>
                  <a:cubicBezTo>
                    <a:pt x="117" y="126"/>
                    <a:pt x="117" y="126"/>
                    <a:pt x="117" y="126"/>
                  </a:cubicBezTo>
                  <a:cubicBezTo>
                    <a:pt x="86" y="126"/>
                    <a:pt x="86" y="126"/>
                    <a:pt x="86" y="126"/>
                  </a:cubicBezTo>
                  <a:cubicBezTo>
                    <a:pt x="86" y="123"/>
                    <a:pt x="86" y="123"/>
                    <a:pt x="86" y="123"/>
                  </a:cubicBezTo>
                  <a:cubicBezTo>
                    <a:pt x="86" y="120"/>
                    <a:pt x="84" y="118"/>
                    <a:pt x="81" y="118"/>
                  </a:cubicBezTo>
                  <a:cubicBezTo>
                    <a:pt x="19" y="118"/>
                    <a:pt x="19" y="118"/>
                    <a:pt x="19" y="118"/>
                  </a:cubicBezTo>
                  <a:lnTo>
                    <a:pt x="19" y="18"/>
                  </a:lnTo>
                  <a:close/>
                  <a:moveTo>
                    <a:pt x="193" y="140"/>
                  </a:moveTo>
                  <a:cubicBezTo>
                    <a:pt x="193" y="142"/>
                    <a:pt x="192" y="143"/>
                    <a:pt x="190" y="143"/>
                  </a:cubicBezTo>
                  <a:cubicBezTo>
                    <a:pt x="13" y="143"/>
                    <a:pt x="13" y="143"/>
                    <a:pt x="13" y="143"/>
                  </a:cubicBezTo>
                  <a:cubicBezTo>
                    <a:pt x="12" y="143"/>
                    <a:pt x="11" y="142"/>
                    <a:pt x="11" y="140"/>
                  </a:cubicBezTo>
                  <a:cubicBezTo>
                    <a:pt x="11" y="129"/>
                    <a:pt x="11" y="129"/>
                    <a:pt x="11" y="129"/>
                  </a:cubicBezTo>
                  <a:cubicBezTo>
                    <a:pt x="75" y="129"/>
                    <a:pt x="75" y="129"/>
                    <a:pt x="75" y="129"/>
                  </a:cubicBezTo>
                  <a:cubicBezTo>
                    <a:pt x="75" y="132"/>
                    <a:pt x="75" y="132"/>
                    <a:pt x="75" y="132"/>
                  </a:cubicBezTo>
                  <a:cubicBezTo>
                    <a:pt x="75" y="135"/>
                    <a:pt x="78" y="137"/>
                    <a:pt x="81" y="137"/>
                  </a:cubicBezTo>
                  <a:cubicBezTo>
                    <a:pt x="123" y="137"/>
                    <a:pt x="123" y="137"/>
                    <a:pt x="123" y="137"/>
                  </a:cubicBezTo>
                  <a:cubicBezTo>
                    <a:pt x="126" y="137"/>
                    <a:pt x="128" y="135"/>
                    <a:pt x="128" y="132"/>
                  </a:cubicBezTo>
                  <a:cubicBezTo>
                    <a:pt x="128" y="129"/>
                    <a:pt x="128" y="129"/>
                    <a:pt x="128" y="129"/>
                  </a:cubicBezTo>
                  <a:cubicBezTo>
                    <a:pt x="193" y="129"/>
                    <a:pt x="193" y="129"/>
                    <a:pt x="193" y="129"/>
                  </a:cubicBezTo>
                  <a:lnTo>
                    <a:pt x="193"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206" name="Freeform 45">
              <a:extLst>
                <a:ext uri="{FF2B5EF4-FFF2-40B4-BE49-F238E27FC236}">
                  <a16:creationId xmlns:a16="http://schemas.microsoft.com/office/drawing/2014/main" id="{ABEC1711-B796-43F8-8797-950189D9E2C9}"/>
                </a:ext>
              </a:extLst>
            </p:cNvPr>
            <p:cNvSpPr>
              <a:spLocks noEditPoints="1"/>
            </p:cNvSpPr>
            <p:nvPr/>
          </p:nvSpPr>
          <p:spPr bwMode="auto">
            <a:xfrm>
              <a:off x="3685" y="612"/>
              <a:ext cx="65" cy="86"/>
            </a:xfrm>
            <a:custGeom>
              <a:avLst/>
              <a:gdLst>
                <a:gd name="T0" fmla="*/ 22 w 44"/>
                <a:gd name="T1" fmla="*/ 0 h 58"/>
                <a:gd name="T2" fmla="*/ 0 w 44"/>
                <a:gd name="T3" fmla="*/ 23 h 58"/>
                <a:gd name="T4" fmla="*/ 18 w 44"/>
                <a:gd name="T5" fmla="*/ 56 h 58"/>
                <a:gd name="T6" fmla="*/ 22 w 44"/>
                <a:gd name="T7" fmla="*/ 58 h 58"/>
                <a:gd name="T8" fmla="*/ 26 w 44"/>
                <a:gd name="T9" fmla="*/ 56 h 58"/>
                <a:gd name="T10" fmla="*/ 44 w 44"/>
                <a:gd name="T11" fmla="*/ 23 h 58"/>
                <a:gd name="T12" fmla="*/ 22 w 44"/>
                <a:gd name="T13" fmla="*/ 0 h 58"/>
                <a:gd name="T14" fmla="*/ 22 w 44"/>
                <a:gd name="T15" fmla="*/ 45 h 58"/>
                <a:gd name="T16" fmla="*/ 22 w 44"/>
                <a:gd name="T17" fmla="*/ 46 h 58"/>
                <a:gd name="T18" fmla="*/ 22 w 44"/>
                <a:gd name="T19" fmla="*/ 45 h 58"/>
                <a:gd name="T20" fmla="*/ 9 w 44"/>
                <a:gd name="T21" fmla="*/ 23 h 58"/>
                <a:gd name="T22" fmla="*/ 22 w 44"/>
                <a:gd name="T23" fmla="*/ 10 h 58"/>
                <a:gd name="T24" fmla="*/ 35 w 44"/>
                <a:gd name="T25" fmla="*/ 23 h 58"/>
                <a:gd name="T26" fmla="*/ 22 w 44"/>
                <a:gd name="T27" fmla="*/ 4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8">
                  <a:moveTo>
                    <a:pt x="22" y="0"/>
                  </a:moveTo>
                  <a:cubicBezTo>
                    <a:pt x="10" y="0"/>
                    <a:pt x="0" y="10"/>
                    <a:pt x="0" y="23"/>
                  </a:cubicBezTo>
                  <a:cubicBezTo>
                    <a:pt x="0" y="34"/>
                    <a:pt x="15" y="53"/>
                    <a:pt x="18" y="56"/>
                  </a:cubicBezTo>
                  <a:cubicBezTo>
                    <a:pt x="19" y="57"/>
                    <a:pt x="20" y="58"/>
                    <a:pt x="22" y="58"/>
                  </a:cubicBezTo>
                  <a:cubicBezTo>
                    <a:pt x="23" y="58"/>
                    <a:pt x="25" y="57"/>
                    <a:pt x="26" y="56"/>
                  </a:cubicBezTo>
                  <a:cubicBezTo>
                    <a:pt x="29" y="53"/>
                    <a:pt x="44" y="33"/>
                    <a:pt x="44" y="23"/>
                  </a:cubicBezTo>
                  <a:cubicBezTo>
                    <a:pt x="44" y="10"/>
                    <a:pt x="34" y="0"/>
                    <a:pt x="22" y="0"/>
                  </a:cubicBezTo>
                  <a:close/>
                  <a:moveTo>
                    <a:pt x="22" y="45"/>
                  </a:moveTo>
                  <a:cubicBezTo>
                    <a:pt x="22" y="46"/>
                    <a:pt x="22" y="46"/>
                    <a:pt x="22" y="46"/>
                  </a:cubicBezTo>
                  <a:cubicBezTo>
                    <a:pt x="22" y="45"/>
                    <a:pt x="22" y="45"/>
                    <a:pt x="22" y="45"/>
                  </a:cubicBezTo>
                  <a:cubicBezTo>
                    <a:pt x="14" y="35"/>
                    <a:pt x="9" y="26"/>
                    <a:pt x="9" y="23"/>
                  </a:cubicBezTo>
                  <a:cubicBezTo>
                    <a:pt x="9" y="16"/>
                    <a:pt x="15" y="10"/>
                    <a:pt x="22" y="10"/>
                  </a:cubicBezTo>
                  <a:cubicBezTo>
                    <a:pt x="29" y="10"/>
                    <a:pt x="35" y="16"/>
                    <a:pt x="35" y="23"/>
                  </a:cubicBezTo>
                  <a:cubicBezTo>
                    <a:pt x="35" y="27"/>
                    <a:pt x="28" y="37"/>
                    <a:pt x="22"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207" name="Oval 46">
              <a:extLst>
                <a:ext uri="{FF2B5EF4-FFF2-40B4-BE49-F238E27FC236}">
                  <a16:creationId xmlns:a16="http://schemas.microsoft.com/office/drawing/2014/main" id="{02AFBDCC-012C-4E2E-8A41-31922AC55257}"/>
                </a:ext>
              </a:extLst>
            </p:cNvPr>
            <p:cNvSpPr>
              <a:spLocks noChangeArrowheads="1"/>
            </p:cNvSpPr>
            <p:nvPr/>
          </p:nvSpPr>
          <p:spPr bwMode="auto">
            <a:xfrm>
              <a:off x="3708" y="637"/>
              <a:ext cx="18" cy="1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208" name="Freeform 47">
              <a:extLst>
                <a:ext uri="{FF2B5EF4-FFF2-40B4-BE49-F238E27FC236}">
                  <a16:creationId xmlns:a16="http://schemas.microsoft.com/office/drawing/2014/main" id="{D23058CB-631A-446E-8962-09B97A4F3C74}"/>
                </a:ext>
              </a:extLst>
            </p:cNvPr>
            <p:cNvSpPr>
              <a:spLocks noEditPoints="1"/>
            </p:cNvSpPr>
            <p:nvPr/>
          </p:nvSpPr>
          <p:spPr bwMode="auto">
            <a:xfrm>
              <a:off x="3439" y="671"/>
              <a:ext cx="117" cy="156"/>
            </a:xfrm>
            <a:custGeom>
              <a:avLst/>
              <a:gdLst>
                <a:gd name="T0" fmla="*/ 39 w 79"/>
                <a:gd name="T1" fmla="*/ 0 h 105"/>
                <a:gd name="T2" fmla="*/ 0 w 79"/>
                <a:gd name="T3" fmla="*/ 40 h 105"/>
                <a:gd name="T4" fmla="*/ 35 w 79"/>
                <a:gd name="T5" fmla="*/ 103 h 105"/>
                <a:gd name="T6" fmla="*/ 39 w 79"/>
                <a:gd name="T7" fmla="*/ 105 h 105"/>
                <a:gd name="T8" fmla="*/ 43 w 79"/>
                <a:gd name="T9" fmla="*/ 103 h 105"/>
                <a:gd name="T10" fmla="*/ 79 w 79"/>
                <a:gd name="T11" fmla="*/ 40 h 105"/>
                <a:gd name="T12" fmla="*/ 39 w 79"/>
                <a:gd name="T13" fmla="*/ 0 h 105"/>
                <a:gd name="T14" fmla="*/ 39 w 79"/>
                <a:gd name="T15" fmla="*/ 90 h 105"/>
                <a:gd name="T16" fmla="*/ 39 w 79"/>
                <a:gd name="T17" fmla="*/ 90 h 105"/>
                <a:gd name="T18" fmla="*/ 39 w 79"/>
                <a:gd name="T19" fmla="*/ 90 h 105"/>
                <a:gd name="T20" fmla="*/ 11 w 79"/>
                <a:gd name="T21" fmla="*/ 40 h 105"/>
                <a:gd name="T22" fmla="*/ 39 w 79"/>
                <a:gd name="T23" fmla="*/ 11 h 105"/>
                <a:gd name="T24" fmla="*/ 68 w 79"/>
                <a:gd name="T25" fmla="*/ 40 h 105"/>
                <a:gd name="T26" fmla="*/ 39 w 79"/>
                <a:gd name="T27" fmla="*/ 9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105">
                  <a:moveTo>
                    <a:pt x="39" y="0"/>
                  </a:moveTo>
                  <a:cubicBezTo>
                    <a:pt x="17" y="0"/>
                    <a:pt x="0" y="18"/>
                    <a:pt x="0" y="40"/>
                  </a:cubicBezTo>
                  <a:cubicBezTo>
                    <a:pt x="0" y="60"/>
                    <a:pt x="31" y="98"/>
                    <a:pt x="35" y="103"/>
                  </a:cubicBezTo>
                  <a:cubicBezTo>
                    <a:pt x="36" y="104"/>
                    <a:pt x="37" y="105"/>
                    <a:pt x="39" y="105"/>
                  </a:cubicBezTo>
                  <a:cubicBezTo>
                    <a:pt x="41" y="105"/>
                    <a:pt x="42" y="104"/>
                    <a:pt x="43" y="103"/>
                  </a:cubicBezTo>
                  <a:cubicBezTo>
                    <a:pt x="47" y="98"/>
                    <a:pt x="79" y="60"/>
                    <a:pt x="79" y="40"/>
                  </a:cubicBezTo>
                  <a:cubicBezTo>
                    <a:pt x="79" y="18"/>
                    <a:pt x="61" y="0"/>
                    <a:pt x="39" y="0"/>
                  </a:cubicBezTo>
                  <a:close/>
                  <a:moveTo>
                    <a:pt x="39" y="90"/>
                  </a:moveTo>
                  <a:cubicBezTo>
                    <a:pt x="39" y="90"/>
                    <a:pt x="39" y="90"/>
                    <a:pt x="39" y="90"/>
                  </a:cubicBezTo>
                  <a:cubicBezTo>
                    <a:pt x="39" y="90"/>
                    <a:pt x="39" y="90"/>
                    <a:pt x="39" y="90"/>
                  </a:cubicBezTo>
                  <a:cubicBezTo>
                    <a:pt x="25" y="72"/>
                    <a:pt x="11" y="50"/>
                    <a:pt x="11" y="40"/>
                  </a:cubicBezTo>
                  <a:cubicBezTo>
                    <a:pt x="11" y="24"/>
                    <a:pt x="23" y="11"/>
                    <a:pt x="39" y="11"/>
                  </a:cubicBezTo>
                  <a:cubicBezTo>
                    <a:pt x="55" y="11"/>
                    <a:pt x="68" y="24"/>
                    <a:pt x="68" y="40"/>
                  </a:cubicBezTo>
                  <a:cubicBezTo>
                    <a:pt x="68" y="50"/>
                    <a:pt x="53" y="72"/>
                    <a:pt x="39"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209" name="Freeform 48">
              <a:extLst>
                <a:ext uri="{FF2B5EF4-FFF2-40B4-BE49-F238E27FC236}">
                  <a16:creationId xmlns:a16="http://schemas.microsoft.com/office/drawing/2014/main" id="{4557BE69-29C6-43F1-8430-EE49D03F1139}"/>
                </a:ext>
              </a:extLst>
            </p:cNvPr>
            <p:cNvSpPr>
              <a:spLocks noEditPoints="1"/>
            </p:cNvSpPr>
            <p:nvPr/>
          </p:nvSpPr>
          <p:spPr bwMode="auto">
            <a:xfrm>
              <a:off x="3470" y="702"/>
              <a:ext cx="53" cy="55"/>
            </a:xfrm>
            <a:custGeom>
              <a:avLst/>
              <a:gdLst>
                <a:gd name="T0" fmla="*/ 18 w 36"/>
                <a:gd name="T1" fmla="*/ 0 h 37"/>
                <a:gd name="T2" fmla="*/ 0 w 36"/>
                <a:gd name="T3" fmla="*/ 19 h 37"/>
                <a:gd name="T4" fmla="*/ 18 w 36"/>
                <a:gd name="T5" fmla="*/ 37 h 37"/>
                <a:gd name="T6" fmla="*/ 36 w 36"/>
                <a:gd name="T7" fmla="*/ 19 h 37"/>
                <a:gd name="T8" fmla="*/ 18 w 36"/>
                <a:gd name="T9" fmla="*/ 0 h 37"/>
                <a:gd name="T10" fmla="*/ 18 w 36"/>
                <a:gd name="T11" fmla="*/ 26 h 37"/>
                <a:gd name="T12" fmla="*/ 11 w 36"/>
                <a:gd name="T13" fmla="*/ 19 h 37"/>
                <a:gd name="T14" fmla="*/ 18 w 36"/>
                <a:gd name="T15" fmla="*/ 11 h 37"/>
                <a:gd name="T16" fmla="*/ 25 w 36"/>
                <a:gd name="T17" fmla="*/ 19 h 37"/>
                <a:gd name="T18" fmla="*/ 18 w 36"/>
                <a:gd name="T19" fmla="*/ 2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7">
                  <a:moveTo>
                    <a:pt x="18" y="0"/>
                  </a:moveTo>
                  <a:cubicBezTo>
                    <a:pt x="8" y="0"/>
                    <a:pt x="0" y="8"/>
                    <a:pt x="0" y="19"/>
                  </a:cubicBezTo>
                  <a:cubicBezTo>
                    <a:pt x="0" y="29"/>
                    <a:pt x="8" y="37"/>
                    <a:pt x="18" y="37"/>
                  </a:cubicBezTo>
                  <a:cubicBezTo>
                    <a:pt x="28" y="37"/>
                    <a:pt x="36" y="29"/>
                    <a:pt x="36" y="19"/>
                  </a:cubicBezTo>
                  <a:cubicBezTo>
                    <a:pt x="36" y="8"/>
                    <a:pt x="28" y="0"/>
                    <a:pt x="18" y="0"/>
                  </a:cubicBezTo>
                  <a:close/>
                  <a:moveTo>
                    <a:pt x="18" y="26"/>
                  </a:moveTo>
                  <a:cubicBezTo>
                    <a:pt x="14" y="26"/>
                    <a:pt x="11" y="23"/>
                    <a:pt x="11" y="19"/>
                  </a:cubicBezTo>
                  <a:cubicBezTo>
                    <a:pt x="11" y="15"/>
                    <a:pt x="14" y="11"/>
                    <a:pt x="18" y="11"/>
                  </a:cubicBezTo>
                  <a:cubicBezTo>
                    <a:pt x="22" y="11"/>
                    <a:pt x="25" y="15"/>
                    <a:pt x="25" y="19"/>
                  </a:cubicBezTo>
                  <a:cubicBezTo>
                    <a:pt x="25" y="23"/>
                    <a:pt x="22"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210" name="Freeform 49">
              <a:extLst>
                <a:ext uri="{FF2B5EF4-FFF2-40B4-BE49-F238E27FC236}">
                  <a16:creationId xmlns:a16="http://schemas.microsoft.com/office/drawing/2014/main" id="{747E94BA-7989-436C-AE72-23CBE53802FD}"/>
                </a:ext>
              </a:extLst>
            </p:cNvPr>
            <p:cNvSpPr>
              <a:spLocks/>
            </p:cNvSpPr>
            <p:nvPr/>
          </p:nvSpPr>
          <p:spPr bwMode="auto">
            <a:xfrm>
              <a:off x="3525" y="788"/>
              <a:ext cx="43" cy="33"/>
            </a:xfrm>
            <a:custGeom>
              <a:avLst/>
              <a:gdLst>
                <a:gd name="T0" fmla="*/ 0 w 29"/>
                <a:gd name="T1" fmla="*/ 15 h 22"/>
                <a:gd name="T2" fmla="*/ 1 w 29"/>
                <a:gd name="T3" fmla="*/ 19 h 22"/>
                <a:gd name="T4" fmla="*/ 5 w 29"/>
                <a:gd name="T5" fmla="*/ 22 h 22"/>
                <a:gd name="T6" fmla="*/ 8 w 29"/>
                <a:gd name="T7" fmla="*/ 21 h 22"/>
                <a:gd name="T8" fmla="*/ 26 w 29"/>
                <a:gd name="T9" fmla="*/ 10 h 22"/>
                <a:gd name="T10" fmla="*/ 28 w 29"/>
                <a:gd name="T11" fmla="*/ 2 h 22"/>
                <a:gd name="T12" fmla="*/ 23 w 29"/>
                <a:gd name="T13" fmla="*/ 0 h 22"/>
                <a:gd name="T14" fmla="*/ 20 w 29"/>
                <a:gd name="T15" fmla="*/ 0 h 22"/>
                <a:gd name="T16" fmla="*/ 2 w 29"/>
                <a:gd name="T17" fmla="*/ 12 h 22"/>
                <a:gd name="T18" fmla="*/ 0 w 29"/>
                <a:gd name="T19" fmla="*/ 1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2">
                  <a:moveTo>
                    <a:pt x="0" y="15"/>
                  </a:moveTo>
                  <a:cubicBezTo>
                    <a:pt x="0" y="16"/>
                    <a:pt x="0" y="18"/>
                    <a:pt x="1" y="19"/>
                  </a:cubicBezTo>
                  <a:cubicBezTo>
                    <a:pt x="2" y="21"/>
                    <a:pt x="3" y="22"/>
                    <a:pt x="5" y="22"/>
                  </a:cubicBezTo>
                  <a:cubicBezTo>
                    <a:pt x="6" y="22"/>
                    <a:pt x="7" y="21"/>
                    <a:pt x="8" y="21"/>
                  </a:cubicBezTo>
                  <a:cubicBezTo>
                    <a:pt x="26" y="10"/>
                    <a:pt x="26" y="10"/>
                    <a:pt x="26" y="10"/>
                  </a:cubicBezTo>
                  <a:cubicBezTo>
                    <a:pt x="29" y="8"/>
                    <a:pt x="29" y="5"/>
                    <a:pt x="28" y="2"/>
                  </a:cubicBezTo>
                  <a:cubicBezTo>
                    <a:pt x="27" y="1"/>
                    <a:pt x="25" y="0"/>
                    <a:pt x="23" y="0"/>
                  </a:cubicBezTo>
                  <a:cubicBezTo>
                    <a:pt x="22" y="0"/>
                    <a:pt x="21" y="0"/>
                    <a:pt x="20" y="0"/>
                  </a:cubicBezTo>
                  <a:cubicBezTo>
                    <a:pt x="2" y="12"/>
                    <a:pt x="2" y="12"/>
                    <a:pt x="2" y="12"/>
                  </a:cubicBezTo>
                  <a:cubicBezTo>
                    <a:pt x="1" y="12"/>
                    <a:pt x="0" y="14"/>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211" name="Freeform 50">
              <a:extLst>
                <a:ext uri="{FF2B5EF4-FFF2-40B4-BE49-F238E27FC236}">
                  <a16:creationId xmlns:a16="http://schemas.microsoft.com/office/drawing/2014/main" id="{33A3CF5A-984E-4F82-ACB4-7F7346E5116D}"/>
                </a:ext>
              </a:extLst>
            </p:cNvPr>
            <p:cNvSpPr>
              <a:spLocks/>
            </p:cNvSpPr>
            <p:nvPr/>
          </p:nvSpPr>
          <p:spPr bwMode="auto">
            <a:xfrm>
              <a:off x="3630" y="649"/>
              <a:ext cx="19" cy="18"/>
            </a:xfrm>
            <a:custGeom>
              <a:avLst/>
              <a:gdLst>
                <a:gd name="T0" fmla="*/ 0 w 13"/>
                <a:gd name="T1" fmla="*/ 6 h 12"/>
                <a:gd name="T2" fmla="*/ 3 w 13"/>
                <a:gd name="T3" fmla="*/ 10 h 12"/>
                <a:gd name="T4" fmla="*/ 4 w 13"/>
                <a:gd name="T5" fmla="*/ 11 h 12"/>
                <a:gd name="T6" fmla="*/ 7 w 13"/>
                <a:gd name="T7" fmla="*/ 12 h 12"/>
                <a:gd name="T8" fmla="*/ 12 w 13"/>
                <a:gd name="T9" fmla="*/ 9 h 12"/>
                <a:gd name="T10" fmla="*/ 10 w 13"/>
                <a:gd name="T11" fmla="*/ 2 h 12"/>
                <a:gd name="T12" fmla="*/ 9 w 13"/>
                <a:gd name="T13" fmla="*/ 1 h 12"/>
                <a:gd name="T14" fmla="*/ 6 w 13"/>
                <a:gd name="T15" fmla="*/ 0 h 12"/>
                <a:gd name="T16" fmla="*/ 1 w 13"/>
                <a:gd name="T17" fmla="*/ 2 h 12"/>
                <a:gd name="T18" fmla="*/ 0 w 13"/>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2">
                  <a:moveTo>
                    <a:pt x="0" y="6"/>
                  </a:moveTo>
                  <a:cubicBezTo>
                    <a:pt x="1" y="8"/>
                    <a:pt x="2" y="9"/>
                    <a:pt x="3" y="10"/>
                  </a:cubicBezTo>
                  <a:cubicBezTo>
                    <a:pt x="4" y="11"/>
                    <a:pt x="4" y="11"/>
                    <a:pt x="4" y="11"/>
                  </a:cubicBezTo>
                  <a:cubicBezTo>
                    <a:pt x="5" y="11"/>
                    <a:pt x="6" y="12"/>
                    <a:pt x="7" y="12"/>
                  </a:cubicBezTo>
                  <a:cubicBezTo>
                    <a:pt x="9" y="12"/>
                    <a:pt x="11" y="11"/>
                    <a:pt x="12" y="9"/>
                  </a:cubicBezTo>
                  <a:cubicBezTo>
                    <a:pt x="13" y="7"/>
                    <a:pt x="13" y="4"/>
                    <a:pt x="10" y="2"/>
                  </a:cubicBezTo>
                  <a:cubicBezTo>
                    <a:pt x="9" y="1"/>
                    <a:pt x="9" y="1"/>
                    <a:pt x="9" y="1"/>
                  </a:cubicBezTo>
                  <a:cubicBezTo>
                    <a:pt x="8" y="0"/>
                    <a:pt x="7" y="0"/>
                    <a:pt x="6" y="0"/>
                  </a:cubicBezTo>
                  <a:cubicBezTo>
                    <a:pt x="4" y="0"/>
                    <a:pt x="2" y="1"/>
                    <a:pt x="1" y="2"/>
                  </a:cubicBezTo>
                  <a:cubicBezTo>
                    <a:pt x="1" y="3"/>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212" name="Freeform 51">
              <a:extLst>
                <a:ext uri="{FF2B5EF4-FFF2-40B4-BE49-F238E27FC236}">
                  <a16:creationId xmlns:a16="http://schemas.microsoft.com/office/drawing/2014/main" id="{43278B96-6D78-4105-B3E4-DFC01ADA89AA}"/>
                </a:ext>
              </a:extLst>
            </p:cNvPr>
            <p:cNvSpPr>
              <a:spLocks/>
            </p:cNvSpPr>
            <p:nvPr/>
          </p:nvSpPr>
          <p:spPr bwMode="auto">
            <a:xfrm>
              <a:off x="3650" y="664"/>
              <a:ext cx="21" cy="18"/>
            </a:xfrm>
            <a:custGeom>
              <a:avLst/>
              <a:gdLst>
                <a:gd name="T0" fmla="*/ 11 w 14"/>
                <a:gd name="T1" fmla="*/ 2 h 12"/>
                <a:gd name="T2" fmla="*/ 9 w 14"/>
                <a:gd name="T3" fmla="*/ 1 h 12"/>
                <a:gd name="T4" fmla="*/ 6 w 14"/>
                <a:gd name="T5" fmla="*/ 0 h 12"/>
                <a:gd name="T6" fmla="*/ 5 w 14"/>
                <a:gd name="T7" fmla="*/ 0 h 12"/>
                <a:gd name="T8" fmla="*/ 2 w 14"/>
                <a:gd name="T9" fmla="*/ 2 h 12"/>
                <a:gd name="T10" fmla="*/ 3 w 14"/>
                <a:gd name="T11" fmla="*/ 10 h 12"/>
                <a:gd name="T12" fmla="*/ 5 w 14"/>
                <a:gd name="T13" fmla="*/ 11 h 12"/>
                <a:gd name="T14" fmla="*/ 8 w 14"/>
                <a:gd name="T15" fmla="*/ 12 h 12"/>
                <a:gd name="T16" fmla="*/ 12 w 14"/>
                <a:gd name="T17" fmla="*/ 10 h 12"/>
                <a:gd name="T18" fmla="*/ 11 w 14"/>
                <a:gd name="T1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2">
                  <a:moveTo>
                    <a:pt x="11" y="2"/>
                  </a:moveTo>
                  <a:cubicBezTo>
                    <a:pt x="9" y="1"/>
                    <a:pt x="9" y="1"/>
                    <a:pt x="9" y="1"/>
                  </a:cubicBezTo>
                  <a:cubicBezTo>
                    <a:pt x="8" y="0"/>
                    <a:pt x="7" y="0"/>
                    <a:pt x="6" y="0"/>
                  </a:cubicBezTo>
                  <a:cubicBezTo>
                    <a:pt x="6" y="0"/>
                    <a:pt x="5" y="0"/>
                    <a:pt x="5" y="0"/>
                  </a:cubicBezTo>
                  <a:cubicBezTo>
                    <a:pt x="4" y="0"/>
                    <a:pt x="2" y="1"/>
                    <a:pt x="2" y="2"/>
                  </a:cubicBezTo>
                  <a:cubicBezTo>
                    <a:pt x="0" y="5"/>
                    <a:pt x="0" y="8"/>
                    <a:pt x="3" y="10"/>
                  </a:cubicBezTo>
                  <a:cubicBezTo>
                    <a:pt x="5" y="11"/>
                    <a:pt x="5" y="11"/>
                    <a:pt x="5" y="11"/>
                  </a:cubicBezTo>
                  <a:cubicBezTo>
                    <a:pt x="5" y="12"/>
                    <a:pt x="7" y="12"/>
                    <a:pt x="8" y="12"/>
                  </a:cubicBezTo>
                  <a:cubicBezTo>
                    <a:pt x="9" y="12"/>
                    <a:pt x="11" y="11"/>
                    <a:pt x="12" y="10"/>
                  </a:cubicBezTo>
                  <a:cubicBezTo>
                    <a:pt x="14" y="7"/>
                    <a:pt x="13" y="4"/>
                    <a:pt x="1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213" name="Freeform 52">
              <a:extLst>
                <a:ext uri="{FF2B5EF4-FFF2-40B4-BE49-F238E27FC236}">
                  <a16:creationId xmlns:a16="http://schemas.microsoft.com/office/drawing/2014/main" id="{4997D3FF-F9AC-411E-AB0C-84D54BB0906D}"/>
                </a:ext>
              </a:extLst>
            </p:cNvPr>
            <p:cNvSpPr>
              <a:spLocks/>
            </p:cNvSpPr>
            <p:nvPr/>
          </p:nvSpPr>
          <p:spPr bwMode="auto">
            <a:xfrm>
              <a:off x="3673" y="679"/>
              <a:ext cx="19" cy="17"/>
            </a:xfrm>
            <a:custGeom>
              <a:avLst/>
              <a:gdLst>
                <a:gd name="T0" fmla="*/ 0 w 13"/>
                <a:gd name="T1" fmla="*/ 6 h 12"/>
                <a:gd name="T2" fmla="*/ 2 w 13"/>
                <a:gd name="T3" fmla="*/ 10 h 12"/>
                <a:gd name="T4" fmla="*/ 4 w 13"/>
                <a:gd name="T5" fmla="*/ 11 h 12"/>
                <a:gd name="T6" fmla="*/ 7 w 13"/>
                <a:gd name="T7" fmla="*/ 12 h 12"/>
                <a:gd name="T8" fmla="*/ 11 w 13"/>
                <a:gd name="T9" fmla="*/ 10 h 12"/>
                <a:gd name="T10" fmla="*/ 10 w 13"/>
                <a:gd name="T11" fmla="*/ 2 h 12"/>
                <a:gd name="T12" fmla="*/ 9 w 13"/>
                <a:gd name="T13" fmla="*/ 1 h 12"/>
                <a:gd name="T14" fmla="*/ 6 w 13"/>
                <a:gd name="T15" fmla="*/ 0 h 12"/>
                <a:gd name="T16" fmla="*/ 1 w 13"/>
                <a:gd name="T17" fmla="*/ 2 h 12"/>
                <a:gd name="T18" fmla="*/ 0 w 13"/>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2">
                  <a:moveTo>
                    <a:pt x="0" y="6"/>
                  </a:moveTo>
                  <a:cubicBezTo>
                    <a:pt x="0" y="8"/>
                    <a:pt x="1" y="9"/>
                    <a:pt x="2" y="10"/>
                  </a:cubicBezTo>
                  <a:cubicBezTo>
                    <a:pt x="4" y="11"/>
                    <a:pt x="4" y="11"/>
                    <a:pt x="4" y="11"/>
                  </a:cubicBezTo>
                  <a:cubicBezTo>
                    <a:pt x="5" y="12"/>
                    <a:pt x="6" y="12"/>
                    <a:pt x="7" y="12"/>
                  </a:cubicBezTo>
                  <a:cubicBezTo>
                    <a:pt x="9" y="12"/>
                    <a:pt x="10" y="11"/>
                    <a:pt x="11" y="10"/>
                  </a:cubicBezTo>
                  <a:cubicBezTo>
                    <a:pt x="13" y="7"/>
                    <a:pt x="13" y="4"/>
                    <a:pt x="10" y="2"/>
                  </a:cubicBezTo>
                  <a:cubicBezTo>
                    <a:pt x="9" y="1"/>
                    <a:pt x="9" y="1"/>
                    <a:pt x="9" y="1"/>
                  </a:cubicBezTo>
                  <a:cubicBezTo>
                    <a:pt x="8" y="0"/>
                    <a:pt x="7" y="0"/>
                    <a:pt x="6" y="0"/>
                  </a:cubicBezTo>
                  <a:cubicBezTo>
                    <a:pt x="4" y="0"/>
                    <a:pt x="2" y="1"/>
                    <a:pt x="1" y="2"/>
                  </a:cubicBezTo>
                  <a:cubicBezTo>
                    <a:pt x="0" y="4"/>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214" name="Freeform 53">
              <a:extLst>
                <a:ext uri="{FF2B5EF4-FFF2-40B4-BE49-F238E27FC236}">
                  <a16:creationId xmlns:a16="http://schemas.microsoft.com/office/drawing/2014/main" id="{EAFB42E1-E5CA-4935-8ED6-4E52BB41D774}"/>
                </a:ext>
              </a:extLst>
            </p:cNvPr>
            <p:cNvSpPr>
              <a:spLocks/>
            </p:cNvSpPr>
            <p:nvPr/>
          </p:nvSpPr>
          <p:spPr bwMode="auto">
            <a:xfrm>
              <a:off x="3544" y="588"/>
              <a:ext cx="27" cy="24"/>
            </a:xfrm>
            <a:custGeom>
              <a:avLst/>
              <a:gdLst>
                <a:gd name="T0" fmla="*/ 0 w 18"/>
                <a:gd name="T1" fmla="*/ 6 h 16"/>
                <a:gd name="T2" fmla="*/ 2 w 18"/>
                <a:gd name="T3" fmla="*/ 10 h 16"/>
                <a:gd name="T4" fmla="*/ 10 w 18"/>
                <a:gd name="T5" fmla="*/ 15 h 16"/>
                <a:gd name="T6" fmla="*/ 13 w 18"/>
                <a:gd name="T7" fmla="*/ 16 h 16"/>
                <a:gd name="T8" fmla="*/ 17 w 18"/>
                <a:gd name="T9" fmla="*/ 14 h 16"/>
                <a:gd name="T10" fmla="*/ 18 w 18"/>
                <a:gd name="T11" fmla="*/ 10 h 16"/>
                <a:gd name="T12" fmla="*/ 16 w 18"/>
                <a:gd name="T13" fmla="*/ 6 h 16"/>
                <a:gd name="T14" fmla="*/ 8 w 18"/>
                <a:gd name="T15" fmla="*/ 1 h 16"/>
                <a:gd name="T16" fmla="*/ 5 w 18"/>
                <a:gd name="T17" fmla="*/ 0 h 16"/>
                <a:gd name="T18" fmla="*/ 1 w 18"/>
                <a:gd name="T19" fmla="*/ 2 h 16"/>
                <a:gd name="T20" fmla="*/ 0 w 18"/>
                <a:gd name="T21"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6">
                  <a:moveTo>
                    <a:pt x="0" y="6"/>
                  </a:moveTo>
                  <a:cubicBezTo>
                    <a:pt x="0" y="8"/>
                    <a:pt x="1" y="9"/>
                    <a:pt x="2" y="10"/>
                  </a:cubicBezTo>
                  <a:cubicBezTo>
                    <a:pt x="10" y="15"/>
                    <a:pt x="10" y="15"/>
                    <a:pt x="10" y="15"/>
                  </a:cubicBezTo>
                  <a:cubicBezTo>
                    <a:pt x="11" y="16"/>
                    <a:pt x="12" y="16"/>
                    <a:pt x="13" y="16"/>
                  </a:cubicBezTo>
                  <a:cubicBezTo>
                    <a:pt x="15" y="16"/>
                    <a:pt x="16" y="15"/>
                    <a:pt x="17" y="14"/>
                  </a:cubicBezTo>
                  <a:cubicBezTo>
                    <a:pt x="18" y="13"/>
                    <a:pt x="18" y="11"/>
                    <a:pt x="18" y="10"/>
                  </a:cubicBezTo>
                  <a:cubicBezTo>
                    <a:pt x="18" y="8"/>
                    <a:pt x="17" y="7"/>
                    <a:pt x="16" y="6"/>
                  </a:cubicBezTo>
                  <a:cubicBezTo>
                    <a:pt x="8" y="1"/>
                    <a:pt x="8" y="1"/>
                    <a:pt x="8" y="1"/>
                  </a:cubicBezTo>
                  <a:cubicBezTo>
                    <a:pt x="8" y="0"/>
                    <a:pt x="6" y="0"/>
                    <a:pt x="5" y="0"/>
                  </a:cubicBezTo>
                  <a:cubicBezTo>
                    <a:pt x="4" y="0"/>
                    <a:pt x="2" y="1"/>
                    <a:pt x="1" y="2"/>
                  </a:cubicBezTo>
                  <a:cubicBezTo>
                    <a:pt x="0" y="4"/>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grpSp>
      <p:sp>
        <p:nvSpPr>
          <p:cNvPr id="3" name="Slide Number Placeholder 2">
            <a:extLst>
              <a:ext uri="{FF2B5EF4-FFF2-40B4-BE49-F238E27FC236}">
                <a16:creationId xmlns:a16="http://schemas.microsoft.com/office/drawing/2014/main" id="{E37B41CC-2747-4E34-A1F7-9FF780CB974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CD0B2-8AB2-4C6C-8876-E15753662C9B}" type="slidenum">
              <a:rPr kumimoji="0" lang="nl-NL" sz="1200" b="0" i="0" u="none" strike="noStrike" kern="1200" cap="none" spc="0" normalizeH="0" baseline="0" noProof="0" smtClean="0">
                <a:ln>
                  <a:noFill/>
                </a:ln>
                <a:solidFill>
                  <a:srgbClr val="000000"/>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200" b="0" i="0" u="none" strike="noStrike" kern="1200" cap="none" spc="0" normalizeH="0" baseline="0" noProof="0" dirty="0">
              <a:ln>
                <a:noFill/>
              </a:ln>
              <a:solidFill>
                <a:srgbClr val="000000"/>
              </a:solidFill>
              <a:effectLst/>
              <a:uLnTx/>
              <a:uFillTx/>
              <a:latin typeface="Corbel"/>
              <a:ea typeface="+mn-ea"/>
              <a:cs typeface="+mn-cs"/>
            </a:endParaRPr>
          </a:p>
        </p:txBody>
      </p:sp>
      <p:sp>
        <p:nvSpPr>
          <p:cNvPr id="45" name="Text Placeholder 3">
            <a:extLst>
              <a:ext uri="{FF2B5EF4-FFF2-40B4-BE49-F238E27FC236}">
                <a16:creationId xmlns:a16="http://schemas.microsoft.com/office/drawing/2014/main" id="{38B2924A-9B45-4643-91C8-F4FE5195DC53}"/>
              </a:ext>
            </a:extLst>
          </p:cNvPr>
          <p:cNvSpPr txBox="1">
            <a:spLocks/>
          </p:cNvSpPr>
          <p:nvPr/>
        </p:nvSpPr>
        <p:spPr>
          <a:xfrm>
            <a:off x="666750" y="848895"/>
            <a:ext cx="10872000" cy="247650"/>
          </a:xfrm>
          <a:prstGeom prst="rect">
            <a:avLst/>
          </a:prstGeom>
        </p:spPr>
        <p:txBody>
          <a:bodyPr vert="horz" lIns="72000" tIns="54000" rIns="72000" bIns="54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ormen de basis voor het hoofdproces</a:t>
            </a:r>
          </a:p>
        </p:txBody>
      </p:sp>
      <p:sp>
        <p:nvSpPr>
          <p:cNvPr id="46" name="Title 5">
            <a:extLst>
              <a:ext uri="{FF2B5EF4-FFF2-40B4-BE49-F238E27FC236}">
                <a16:creationId xmlns:a16="http://schemas.microsoft.com/office/drawing/2014/main" id="{575C6A26-4CC9-4F0F-815D-A26B3B27FE8C}"/>
              </a:ext>
            </a:extLst>
          </p:cNvPr>
          <p:cNvSpPr>
            <a:spLocks noGrp="1"/>
          </p:cNvSpPr>
          <p:nvPr>
            <p:ph type="title"/>
          </p:nvPr>
        </p:nvSpPr>
        <p:spPr>
          <a:xfrm>
            <a:off x="666747" y="266699"/>
            <a:ext cx="10866441" cy="668782"/>
          </a:xfrm>
        </p:spPr>
        <p:txBody>
          <a:bodyPr vert="horz"/>
          <a:lstStyle/>
          <a:p>
            <a:r>
              <a:rPr lang="nl-NL" dirty="0"/>
              <a:t>Uitgangspunten Digitale dienstverlening </a:t>
            </a:r>
          </a:p>
        </p:txBody>
      </p:sp>
      <p:sp>
        <p:nvSpPr>
          <p:cNvPr id="53" name="Rectangle 52">
            <a:extLst>
              <a:ext uri="{FF2B5EF4-FFF2-40B4-BE49-F238E27FC236}">
                <a16:creationId xmlns:a16="http://schemas.microsoft.com/office/drawing/2014/main" id="{2990BC1F-AB6E-4FBA-9A71-162D5ACD59F5}"/>
              </a:ext>
            </a:extLst>
          </p:cNvPr>
          <p:cNvSpPr/>
          <p:nvPr/>
        </p:nvSpPr>
        <p:spPr>
          <a:xfrm>
            <a:off x="7331738" y="1764822"/>
            <a:ext cx="2214299" cy="4625173"/>
          </a:xfrm>
          <a:prstGeom prst="rect">
            <a:avLst/>
          </a:prstGeom>
          <a:solidFill>
            <a:schemeClr val="bg1">
              <a:lumMod val="95000"/>
            </a:schemeClr>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90000"/>
              </a:lnSpc>
              <a:spcBef>
                <a:spcPts val="375"/>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p:txBody>
      </p:sp>
      <p:sp>
        <p:nvSpPr>
          <p:cNvPr id="54" name="Rectangle 53">
            <a:extLst>
              <a:ext uri="{FF2B5EF4-FFF2-40B4-BE49-F238E27FC236}">
                <a16:creationId xmlns:a16="http://schemas.microsoft.com/office/drawing/2014/main" id="{FBEB4F0D-FEEC-4B83-91FD-D9BFE26A2345}"/>
              </a:ext>
            </a:extLst>
          </p:cNvPr>
          <p:cNvSpPr/>
          <p:nvPr/>
        </p:nvSpPr>
        <p:spPr>
          <a:xfrm>
            <a:off x="2822525" y="2979117"/>
            <a:ext cx="1920032" cy="12340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a:ea typeface="+mn-ea"/>
                <a:cs typeface="+mn-cs"/>
              </a:rPr>
              <a:t>De Amsterdammer heeft zelf de regie over zijn/haar dossier en bepaalt wanneer een professional toegang krijgt tot zijn dossier om hem/haar te ondersteunen. De Amsterdammer kan zelf sturen en zelf informatie invullen. Belangrijk hierbij is dat het vertrouwen in Amsterdammers centraal wordt gesteld. Aanvullend wordt transparantie geboden richting de Amsterdammer om hem/haar inzicht te bieden in het proces en de keuzes &amp; besluitvorming. Doordat de Amsterdammer meer zelfregie neemt worden uitvoeringskosten verlaagd.</a:t>
            </a:r>
          </a:p>
        </p:txBody>
      </p:sp>
      <p:grpSp>
        <p:nvGrpSpPr>
          <p:cNvPr id="109" name="Group 71">
            <a:extLst>
              <a:ext uri="{FF2B5EF4-FFF2-40B4-BE49-F238E27FC236}">
                <a16:creationId xmlns:a16="http://schemas.microsoft.com/office/drawing/2014/main" id="{81FD8894-60FF-4646-B075-46F72BF367CD}"/>
              </a:ext>
            </a:extLst>
          </p:cNvPr>
          <p:cNvGrpSpPr>
            <a:grpSpLocks noChangeAspect="1"/>
          </p:cNvGrpSpPr>
          <p:nvPr/>
        </p:nvGrpSpPr>
        <p:grpSpPr bwMode="auto">
          <a:xfrm>
            <a:off x="3543953" y="2011250"/>
            <a:ext cx="509826" cy="434924"/>
            <a:chOff x="-1377" y="1427"/>
            <a:chExt cx="307" cy="304"/>
          </a:xfrm>
          <a:solidFill>
            <a:schemeClr val="tx1">
              <a:lumMod val="95000"/>
              <a:lumOff val="5000"/>
            </a:schemeClr>
          </a:solidFill>
        </p:grpSpPr>
        <p:sp>
          <p:nvSpPr>
            <p:cNvPr id="110" name="Freeform 72">
              <a:extLst>
                <a:ext uri="{FF2B5EF4-FFF2-40B4-BE49-F238E27FC236}">
                  <a16:creationId xmlns:a16="http://schemas.microsoft.com/office/drawing/2014/main" id="{09B4576F-478A-4AEA-94BC-C91283B0B075}"/>
                </a:ext>
              </a:extLst>
            </p:cNvPr>
            <p:cNvSpPr>
              <a:spLocks noEditPoints="1"/>
            </p:cNvSpPr>
            <p:nvPr/>
          </p:nvSpPr>
          <p:spPr bwMode="auto">
            <a:xfrm>
              <a:off x="-1353" y="1427"/>
              <a:ext cx="105" cy="102"/>
            </a:xfrm>
            <a:custGeom>
              <a:avLst/>
              <a:gdLst>
                <a:gd name="T0" fmla="*/ 106 w 211"/>
                <a:gd name="T1" fmla="*/ 206 h 206"/>
                <a:gd name="T2" fmla="*/ 211 w 211"/>
                <a:gd name="T3" fmla="*/ 103 h 206"/>
                <a:gd name="T4" fmla="*/ 106 w 211"/>
                <a:gd name="T5" fmla="*/ 0 h 206"/>
                <a:gd name="T6" fmla="*/ 0 w 211"/>
                <a:gd name="T7" fmla="*/ 103 h 206"/>
                <a:gd name="T8" fmla="*/ 106 w 211"/>
                <a:gd name="T9" fmla="*/ 206 h 206"/>
                <a:gd name="T10" fmla="*/ 106 w 211"/>
                <a:gd name="T11" fmla="*/ 26 h 206"/>
                <a:gd name="T12" fmla="*/ 185 w 211"/>
                <a:gd name="T13" fmla="*/ 103 h 206"/>
                <a:gd name="T14" fmla="*/ 106 w 211"/>
                <a:gd name="T15" fmla="*/ 180 h 206"/>
                <a:gd name="T16" fmla="*/ 26 w 211"/>
                <a:gd name="T17" fmla="*/ 103 h 206"/>
                <a:gd name="T18" fmla="*/ 106 w 211"/>
                <a:gd name="T19"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206">
                  <a:moveTo>
                    <a:pt x="106" y="206"/>
                  </a:moveTo>
                  <a:cubicBezTo>
                    <a:pt x="163" y="206"/>
                    <a:pt x="211" y="161"/>
                    <a:pt x="211" y="103"/>
                  </a:cubicBezTo>
                  <a:cubicBezTo>
                    <a:pt x="211" y="47"/>
                    <a:pt x="163" y="0"/>
                    <a:pt x="106" y="0"/>
                  </a:cubicBezTo>
                  <a:cubicBezTo>
                    <a:pt x="46" y="0"/>
                    <a:pt x="0" y="47"/>
                    <a:pt x="0" y="103"/>
                  </a:cubicBezTo>
                  <a:cubicBezTo>
                    <a:pt x="0" y="161"/>
                    <a:pt x="46" y="206"/>
                    <a:pt x="106" y="206"/>
                  </a:cubicBezTo>
                  <a:close/>
                  <a:moveTo>
                    <a:pt x="106" y="26"/>
                  </a:moveTo>
                  <a:cubicBezTo>
                    <a:pt x="150" y="26"/>
                    <a:pt x="185" y="60"/>
                    <a:pt x="185" y="103"/>
                  </a:cubicBezTo>
                  <a:cubicBezTo>
                    <a:pt x="185" y="146"/>
                    <a:pt x="150" y="180"/>
                    <a:pt x="106" y="180"/>
                  </a:cubicBezTo>
                  <a:cubicBezTo>
                    <a:pt x="62" y="180"/>
                    <a:pt x="26" y="146"/>
                    <a:pt x="26" y="103"/>
                  </a:cubicBezTo>
                  <a:cubicBezTo>
                    <a:pt x="26" y="60"/>
                    <a:pt x="62" y="26"/>
                    <a:pt x="10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11" name="Freeform 73">
              <a:extLst>
                <a:ext uri="{FF2B5EF4-FFF2-40B4-BE49-F238E27FC236}">
                  <a16:creationId xmlns:a16="http://schemas.microsoft.com/office/drawing/2014/main" id="{E807823C-F6AB-4439-9CDA-AE6937AF5832}"/>
                </a:ext>
              </a:extLst>
            </p:cNvPr>
            <p:cNvSpPr>
              <a:spLocks noEditPoints="1"/>
            </p:cNvSpPr>
            <p:nvPr/>
          </p:nvSpPr>
          <p:spPr bwMode="auto">
            <a:xfrm>
              <a:off x="-1377" y="1541"/>
              <a:ext cx="156" cy="190"/>
            </a:xfrm>
            <a:custGeom>
              <a:avLst/>
              <a:gdLst>
                <a:gd name="T0" fmla="*/ 301 w 314"/>
                <a:gd name="T1" fmla="*/ 0 h 381"/>
                <a:gd name="T2" fmla="*/ 13 w 314"/>
                <a:gd name="T3" fmla="*/ 0 h 381"/>
                <a:gd name="T4" fmla="*/ 0 w 314"/>
                <a:gd name="T5" fmla="*/ 13 h 381"/>
                <a:gd name="T6" fmla="*/ 91 w 314"/>
                <a:gd name="T7" fmla="*/ 209 h 381"/>
                <a:gd name="T8" fmla="*/ 91 w 314"/>
                <a:gd name="T9" fmla="*/ 368 h 381"/>
                <a:gd name="T10" fmla="*/ 104 w 314"/>
                <a:gd name="T11" fmla="*/ 381 h 381"/>
                <a:gd name="T12" fmla="*/ 209 w 314"/>
                <a:gd name="T13" fmla="*/ 381 h 381"/>
                <a:gd name="T14" fmla="*/ 222 w 314"/>
                <a:gd name="T15" fmla="*/ 368 h 381"/>
                <a:gd name="T16" fmla="*/ 222 w 314"/>
                <a:gd name="T17" fmla="*/ 209 h 381"/>
                <a:gd name="T18" fmla="*/ 314 w 314"/>
                <a:gd name="T19" fmla="*/ 13 h 381"/>
                <a:gd name="T20" fmla="*/ 301 w 314"/>
                <a:gd name="T21" fmla="*/ 0 h 381"/>
                <a:gd name="T22" fmla="*/ 203 w 314"/>
                <a:gd name="T23" fmla="*/ 192 h 381"/>
                <a:gd name="T24" fmla="*/ 196 w 314"/>
                <a:gd name="T25" fmla="*/ 203 h 381"/>
                <a:gd name="T26" fmla="*/ 196 w 314"/>
                <a:gd name="T27" fmla="*/ 355 h 381"/>
                <a:gd name="T28" fmla="*/ 117 w 314"/>
                <a:gd name="T29" fmla="*/ 355 h 381"/>
                <a:gd name="T30" fmla="*/ 117 w 314"/>
                <a:gd name="T31" fmla="*/ 203 h 381"/>
                <a:gd name="T32" fmla="*/ 111 w 314"/>
                <a:gd name="T33" fmla="*/ 192 h 381"/>
                <a:gd name="T34" fmla="*/ 26 w 314"/>
                <a:gd name="T35" fmla="*/ 25 h 381"/>
                <a:gd name="T36" fmla="*/ 288 w 314"/>
                <a:gd name="T37" fmla="*/ 25 h 381"/>
                <a:gd name="T38" fmla="*/ 203 w 314"/>
                <a:gd name="T39" fmla="*/ 192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4" h="381">
                  <a:moveTo>
                    <a:pt x="301" y="0"/>
                  </a:moveTo>
                  <a:cubicBezTo>
                    <a:pt x="301" y="0"/>
                    <a:pt x="301" y="0"/>
                    <a:pt x="13" y="0"/>
                  </a:cubicBezTo>
                  <a:cubicBezTo>
                    <a:pt x="4" y="0"/>
                    <a:pt x="0" y="6"/>
                    <a:pt x="0" y="13"/>
                  </a:cubicBezTo>
                  <a:cubicBezTo>
                    <a:pt x="0" y="103"/>
                    <a:pt x="32" y="173"/>
                    <a:pt x="91" y="209"/>
                  </a:cubicBezTo>
                  <a:cubicBezTo>
                    <a:pt x="91" y="209"/>
                    <a:pt x="91" y="209"/>
                    <a:pt x="91" y="368"/>
                  </a:cubicBezTo>
                  <a:cubicBezTo>
                    <a:pt x="91" y="374"/>
                    <a:pt x="96" y="381"/>
                    <a:pt x="104" y="381"/>
                  </a:cubicBezTo>
                  <a:cubicBezTo>
                    <a:pt x="104" y="381"/>
                    <a:pt x="104" y="381"/>
                    <a:pt x="209" y="381"/>
                  </a:cubicBezTo>
                  <a:cubicBezTo>
                    <a:pt x="216" y="381"/>
                    <a:pt x="222" y="374"/>
                    <a:pt x="222" y="368"/>
                  </a:cubicBezTo>
                  <a:cubicBezTo>
                    <a:pt x="222" y="368"/>
                    <a:pt x="222" y="368"/>
                    <a:pt x="222" y="209"/>
                  </a:cubicBezTo>
                  <a:cubicBezTo>
                    <a:pt x="279" y="173"/>
                    <a:pt x="314" y="103"/>
                    <a:pt x="314" y="13"/>
                  </a:cubicBezTo>
                  <a:cubicBezTo>
                    <a:pt x="314" y="6"/>
                    <a:pt x="307" y="0"/>
                    <a:pt x="301" y="0"/>
                  </a:cubicBezTo>
                  <a:close/>
                  <a:moveTo>
                    <a:pt x="203" y="192"/>
                  </a:moveTo>
                  <a:cubicBezTo>
                    <a:pt x="198" y="194"/>
                    <a:pt x="196" y="199"/>
                    <a:pt x="196" y="203"/>
                  </a:cubicBezTo>
                  <a:cubicBezTo>
                    <a:pt x="196" y="203"/>
                    <a:pt x="196" y="203"/>
                    <a:pt x="196" y="355"/>
                  </a:cubicBezTo>
                  <a:cubicBezTo>
                    <a:pt x="196" y="355"/>
                    <a:pt x="196" y="355"/>
                    <a:pt x="117" y="355"/>
                  </a:cubicBezTo>
                  <a:cubicBezTo>
                    <a:pt x="117" y="203"/>
                    <a:pt x="117" y="203"/>
                    <a:pt x="117" y="203"/>
                  </a:cubicBezTo>
                  <a:cubicBezTo>
                    <a:pt x="117" y="199"/>
                    <a:pt x="115" y="194"/>
                    <a:pt x="111" y="192"/>
                  </a:cubicBezTo>
                  <a:cubicBezTo>
                    <a:pt x="59" y="163"/>
                    <a:pt x="28" y="103"/>
                    <a:pt x="26" y="25"/>
                  </a:cubicBezTo>
                  <a:cubicBezTo>
                    <a:pt x="26" y="25"/>
                    <a:pt x="26" y="25"/>
                    <a:pt x="288" y="25"/>
                  </a:cubicBezTo>
                  <a:cubicBezTo>
                    <a:pt x="283" y="103"/>
                    <a:pt x="253" y="163"/>
                    <a:pt x="203"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12" name="Freeform 74">
              <a:extLst>
                <a:ext uri="{FF2B5EF4-FFF2-40B4-BE49-F238E27FC236}">
                  <a16:creationId xmlns:a16="http://schemas.microsoft.com/office/drawing/2014/main" id="{0C1A9B0D-6AB8-4673-A593-344649AD7252}"/>
                </a:ext>
              </a:extLst>
            </p:cNvPr>
            <p:cNvSpPr>
              <a:spLocks noEditPoints="1"/>
            </p:cNvSpPr>
            <p:nvPr/>
          </p:nvSpPr>
          <p:spPr bwMode="auto">
            <a:xfrm>
              <a:off x="-1230" y="1580"/>
              <a:ext cx="160" cy="151"/>
            </a:xfrm>
            <a:custGeom>
              <a:avLst/>
              <a:gdLst>
                <a:gd name="T0" fmla="*/ 289 w 320"/>
                <a:gd name="T1" fmla="*/ 166 h 303"/>
                <a:gd name="T2" fmla="*/ 289 w 320"/>
                <a:gd name="T3" fmla="*/ 137 h 303"/>
                <a:gd name="T4" fmla="*/ 318 w 320"/>
                <a:gd name="T5" fmla="*/ 118 h 303"/>
                <a:gd name="T6" fmla="*/ 276 w 320"/>
                <a:gd name="T7" fmla="*/ 42 h 303"/>
                <a:gd name="T8" fmla="*/ 259 w 320"/>
                <a:gd name="T9" fmla="*/ 38 h 303"/>
                <a:gd name="T10" fmla="*/ 213 w 320"/>
                <a:gd name="T11" fmla="*/ 36 h 303"/>
                <a:gd name="T12" fmla="*/ 199 w 320"/>
                <a:gd name="T13" fmla="*/ 0 h 303"/>
                <a:gd name="T14" fmla="*/ 107 w 320"/>
                <a:gd name="T15" fmla="*/ 13 h 303"/>
                <a:gd name="T16" fmla="*/ 81 w 320"/>
                <a:gd name="T17" fmla="*/ 51 h 303"/>
                <a:gd name="T18" fmla="*/ 41 w 320"/>
                <a:gd name="T19" fmla="*/ 42 h 303"/>
                <a:gd name="T20" fmla="*/ 2 w 320"/>
                <a:gd name="T21" fmla="*/ 118 h 303"/>
                <a:gd name="T22" fmla="*/ 28 w 320"/>
                <a:gd name="T23" fmla="*/ 137 h 303"/>
                <a:gd name="T24" fmla="*/ 28 w 320"/>
                <a:gd name="T25" fmla="*/ 166 h 303"/>
                <a:gd name="T26" fmla="*/ 2 w 320"/>
                <a:gd name="T27" fmla="*/ 193 h 303"/>
                <a:gd name="T28" fmla="*/ 61 w 320"/>
                <a:gd name="T29" fmla="*/ 265 h 303"/>
                <a:gd name="T30" fmla="*/ 107 w 320"/>
                <a:gd name="T31" fmla="*/ 267 h 303"/>
                <a:gd name="T32" fmla="*/ 120 w 320"/>
                <a:gd name="T33" fmla="*/ 303 h 303"/>
                <a:gd name="T34" fmla="*/ 213 w 320"/>
                <a:gd name="T35" fmla="*/ 290 h 303"/>
                <a:gd name="T36" fmla="*/ 237 w 320"/>
                <a:gd name="T37" fmla="*/ 252 h 303"/>
                <a:gd name="T38" fmla="*/ 267 w 320"/>
                <a:gd name="T39" fmla="*/ 265 h 303"/>
                <a:gd name="T40" fmla="*/ 316 w 320"/>
                <a:gd name="T41" fmla="*/ 193 h 303"/>
                <a:gd name="T42" fmla="*/ 263 w 320"/>
                <a:gd name="T43" fmla="*/ 133 h 303"/>
                <a:gd name="T44" fmla="*/ 263 w 320"/>
                <a:gd name="T45" fmla="*/ 170 h 303"/>
                <a:gd name="T46" fmla="*/ 287 w 320"/>
                <a:gd name="T47" fmla="*/ 193 h 303"/>
                <a:gd name="T48" fmla="*/ 243 w 320"/>
                <a:gd name="T49" fmla="*/ 227 h 303"/>
                <a:gd name="T50" fmla="*/ 195 w 320"/>
                <a:gd name="T51" fmla="*/ 246 h 303"/>
                <a:gd name="T52" fmla="*/ 186 w 320"/>
                <a:gd name="T53" fmla="*/ 277 h 303"/>
                <a:gd name="T54" fmla="*/ 134 w 320"/>
                <a:gd name="T55" fmla="*/ 259 h 303"/>
                <a:gd name="T56" fmla="*/ 92 w 320"/>
                <a:gd name="T57" fmla="*/ 229 h 303"/>
                <a:gd name="T58" fmla="*/ 59 w 320"/>
                <a:gd name="T59" fmla="*/ 235 h 303"/>
                <a:gd name="T60" fmla="*/ 50 w 320"/>
                <a:gd name="T61" fmla="*/ 183 h 303"/>
                <a:gd name="T62" fmla="*/ 55 w 320"/>
                <a:gd name="T63" fmla="*/ 152 h 303"/>
                <a:gd name="T64" fmla="*/ 50 w 320"/>
                <a:gd name="T65" fmla="*/ 120 h 303"/>
                <a:gd name="T66" fmla="*/ 59 w 320"/>
                <a:gd name="T67" fmla="*/ 68 h 303"/>
                <a:gd name="T68" fmla="*/ 92 w 320"/>
                <a:gd name="T69" fmla="*/ 76 h 303"/>
                <a:gd name="T70" fmla="*/ 134 w 320"/>
                <a:gd name="T71" fmla="*/ 44 h 303"/>
                <a:gd name="T72" fmla="*/ 186 w 320"/>
                <a:gd name="T73" fmla="*/ 26 h 303"/>
                <a:gd name="T74" fmla="*/ 195 w 320"/>
                <a:gd name="T75" fmla="*/ 57 h 303"/>
                <a:gd name="T76" fmla="*/ 243 w 320"/>
                <a:gd name="T77" fmla="*/ 76 h 303"/>
                <a:gd name="T78" fmla="*/ 287 w 320"/>
                <a:gd name="T79" fmla="*/ 110 h 303"/>
                <a:gd name="T80" fmla="*/ 263 w 320"/>
                <a:gd name="T81"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03">
                  <a:moveTo>
                    <a:pt x="311" y="177"/>
                  </a:moveTo>
                  <a:cubicBezTo>
                    <a:pt x="311" y="177"/>
                    <a:pt x="311" y="177"/>
                    <a:pt x="289" y="166"/>
                  </a:cubicBezTo>
                  <a:cubicBezTo>
                    <a:pt x="292" y="160"/>
                    <a:pt x="292" y="156"/>
                    <a:pt x="292" y="152"/>
                  </a:cubicBezTo>
                  <a:cubicBezTo>
                    <a:pt x="292" y="147"/>
                    <a:pt x="292" y="143"/>
                    <a:pt x="289" y="137"/>
                  </a:cubicBezTo>
                  <a:cubicBezTo>
                    <a:pt x="289" y="137"/>
                    <a:pt x="289" y="137"/>
                    <a:pt x="311" y="126"/>
                  </a:cubicBezTo>
                  <a:cubicBezTo>
                    <a:pt x="314" y="124"/>
                    <a:pt x="316" y="122"/>
                    <a:pt x="318" y="118"/>
                  </a:cubicBezTo>
                  <a:cubicBezTo>
                    <a:pt x="318" y="116"/>
                    <a:pt x="318" y="112"/>
                    <a:pt x="316" y="110"/>
                  </a:cubicBezTo>
                  <a:cubicBezTo>
                    <a:pt x="316" y="110"/>
                    <a:pt x="316" y="110"/>
                    <a:pt x="276" y="42"/>
                  </a:cubicBezTo>
                  <a:cubicBezTo>
                    <a:pt x="274" y="40"/>
                    <a:pt x="272" y="38"/>
                    <a:pt x="267" y="38"/>
                  </a:cubicBezTo>
                  <a:cubicBezTo>
                    <a:pt x="265" y="36"/>
                    <a:pt x="261" y="36"/>
                    <a:pt x="259" y="38"/>
                  </a:cubicBezTo>
                  <a:cubicBezTo>
                    <a:pt x="259" y="38"/>
                    <a:pt x="259" y="38"/>
                    <a:pt x="237" y="51"/>
                  </a:cubicBezTo>
                  <a:cubicBezTo>
                    <a:pt x="230" y="44"/>
                    <a:pt x="221" y="40"/>
                    <a:pt x="213" y="36"/>
                  </a:cubicBezTo>
                  <a:cubicBezTo>
                    <a:pt x="213" y="36"/>
                    <a:pt x="213" y="36"/>
                    <a:pt x="213" y="13"/>
                  </a:cubicBezTo>
                  <a:cubicBezTo>
                    <a:pt x="213" y="7"/>
                    <a:pt x="206" y="0"/>
                    <a:pt x="199" y="0"/>
                  </a:cubicBezTo>
                  <a:cubicBezTo>
                    <a:pt x="199" y="0"/>
                    <a:pt x="199" y="0"/>
                    <a:pt x="120" y="0"/>
                  </a:cubicBezTo>
                  <a:cubicBezTo>
                    <a:pt x="114" y="0"/>
                    <a:pt x="107" y="7"/>
                    <a:pt x="107" y="13"/>
                  </a:cubicBezTo>
                  <a:cubicBezTo>
                    <a:pt x="107" y="13"/>
                    <a:pt x="107" y="13"/>
                    <a:pt x="107" y="36"/>
                  </a:cubicBezTo>
                  <a:cubicBezTo>
                    <a:pt x="98" y="40"/>
                    <a:pt x="90" y="44"/>
                    <a:pt x="81" y="51"/>
                  </a:cubicBezTo>
                  <a:cubicBezTo>
                    <a:pt x="81" y="51"/>
                    <a:pt x="81" y="51"/>
                    <a:pt x="61" y="38"/>
                  </a:cubicBezTo>
                  <a:cubicBezTo>
                    <a:pt x="55" y="36"/>
                    <a:pt x="46" y="38"/>
                    <a:pt x="41" y="42"/>
                  </a:cubicBezTo>
                  <a:cubicBezTo>
                    <a:pt x="41" y="42"/>
                    <a:pt x="41" y="42"/>
                    <a:pt x="2" y="110"/>
                  </a:cubicBezTo>
                  <a:cubicBezTo>
                    <a:pt x="2" y="112"/>
                    <a:pt x="0" y="116"/>
                    <a:pt x="2" y="118"/>
                  </a:cubicBezTo>
                  <a:cubicBezTo>
                    <a:pt x="2" y="122"/>
                    <a:pt x="4" y="124"/>
                    <a:pt x="9" y="126"/>
                  </a:cubicBezTo>
                  <a:cubicBezTo>
                    <a:pt x="9" y="126"/>
                    <a:pt x="9" y="126"/>
                    <a:pt x="28" y="137"/>
                  </a:cubicBezTo>
                  <a:cubicBezTo>
                    <a:pt x="28" y="143"/>
                    <a:pt x="28" y="147"/>
                    <a:pt x="28" y="152"/>
                  </a:cubicBezTo>
                  <a:cubicBezTo>
                    <a:pt x="28" y="156"/>
                    <a:pt x="28" y="160"/>
                    <a:pt x="28" y="166"/>
                  </a:cubicBezTo>
                  <a:cubicBezTo>
                    <a:pt x="28" y="166"/>
                    <a:pt x="28" y="166"/>
                    <a:pt x="9" y="177"/>
                  </a:cubicBezTo>
                  <a:cubicBezTo>
                    <a:pt x="2" y="181"/>
                    <a:pt x="0" y="189"/>
                    <a:pt x="2" y="193"/>
                  </a:cubicBezTo>
                  <a:cubicBezTo>
                    <a:pt x="2" y="193"/>
                    <a:pt x="2" y="193"/>
                    <a:pt x="41" y="261"/>
                  </a:cubicBezTo>
                  <a:cubicBezTo>
                    <a:pt x="46" y="267"/>
                    <a:pt x="55" y="267"/>
                    <a:pt x="61" y="265"/>
                  </a:cubicBezTo>
                  <a:cubicBezTo>
                    <a:pt x="61" y="265"/>
                    <a:pt x="61" y="265"/>
                    <a:pt x="81" y="252"/>
                  </a:cubicBezTo>
                  <a:cubicBezTo>
                    <a:pt x="90" y="259"/>
                    <a:pt x="98" y="263"/>
                    <a:pt x="107" y="267"/>
                  </a:cubicBezTo>
                  <a:cubicBezTo>
                    <a:pt x="107" y="267"/>
                    <a:pt x="107" y="267"/>
                    <a:pt x="107" y="290"/>
                  </a:cubicBezTo>
                  <a:cubicBezTo>
                    <a:pt x="107" y="296"/>
                    <a:pt x="114" y="303"/>
                    <a:pt x="120" y="303"/>
                  </a:cubicBezTo>
                  <a:cubicBezTo>
                    <a:pt x="120" y="303"/>
                    <a:pt x="120" y="303"/>
                    <a:pt x="199" y="303"/>
                  </a:cubicBezTo>
                  <a:cubicBezTo>
                    <a:pt x="206" y="303"/>
                    <a:pt x="213" y="296"/>
                    <a:pt x="213" y="290"/>
                  </a:cubicBezTo>
                  <a:cubicBezTo>
                    <a:pt x="213" y="290"/>
                    <a:pt x="213" y="290"/>
                    <a:pt x="213" y="267"/>
                  </a:cubicBezTo>
                  <a:cubicBezTo>
                    <a:pt x="221" y="263"/>
                    <a:pt x="230" y="259"/>
                    <a:pt x="237" y="252"/>
                  </a:cubicBezTo>
                  <a:cubicBezTo>
                    <a:pt x="237" y="252"/>
                    <a:pt x="237" y="252"/>
                    <a:pt x="259" y="265"/>
                  </a:cubicBezTo>
                  <a:cubicBezTo>
                    <a:pt x="261" y="267"/>
                    <a:pt x="265" y="267"/>
                    <a:pt x="267" y="265"/>
                  </a:cubicBezTo>
                  <a:cubicBezTo>
                    <a:pt x="272" y="265"/>
                    <a:pt x="274" y="263"/>
                    <a:pt x="276" y="261"/>
                  </a:cubicBezTo>
                  <a:cubicBezTo>
                    <a:pt x="276" y="261"/>
                    <a:pt x="276" y="261"/>
                    <a:pt x="316" y="193"/>
                  </a:cubicBezTo>
                  <a:cubicBezTo>
                    <a:pt x="320" y="189"/>
                    <a:pt x="318" y="181"/>
                    <a:pt x="311" y="177"/>
                  </a:cubicBezTo>
                  <a:close/>
                  <a:moveTo>
                    <a:pt x="263" y="133"/>
                  </a:moveTo>
                  <a:cubicBezTo>
                    <a:pt x="263" y="139"/>
                    <a:pt x="265" y="145"/>
                    <a:pt x="265" y="152"/>
                  </a:cubicBezTo>
                  <a:cubicBezTo>
                    <a:pt x="265" y="158"/>
                    <a:pt x="263" y="164"/>
                    <a:pt x="263" y="170"/>
                  </a:cubicBezTo>
                  <a:cubicBezTo>
                    <a:pt x="261" y="175"/>
                    <a:pt x="265" y="181"/>
                    <a:pt x="270" y="183"/>
                  </a:cubicBezTo>
                  <a:cubicBezTo>
                    <a:pt x="270" y="183"/>
                    <a:pt x="270" y="183"/>
                    <a:pt x="287" y="193"/>
                  </a:cubicBezTo>
                  <a:cubicBezTo>
                    <a:pt x="287" y="193"/>
                    <a:pt x="287" y="193"/>
                    <a:pt x="261" y="235"/>
                  </a:cubicBezTo>
                  <a:cubicBezTo>
                    <a:pt x="261" y="235"/>
                    <a:pt x="261" y="235"/>
                    <a:pt x="243" y="227"/>
                  </a:cubicBezTo>
                  <a:cubicBezTo>
                    <a:pt x="239" y="225"/>
                    <a:pt x="232" y="225"/>
                    <a:pt x="228" y="227"/>
                  </a:cubicBezTo>
                  <a:cubicBezTo>
                    <a:pt x="219" y="235"/>
                    <a:pt x="206" y="242"/>
                    <a:pt x="195" y="246"/>
                  </a:cubicBezTo>
                  <a:cubicBezTo>
                    <a:pt x="188" y="248"/>
                    <a:pt x="186" y="252"/>
                    <a:pt x="186" y="259"/>
                  </a:cubicBezTo>
                  <a:cubicBezTo>
                    <a:pt x="186" y="259"/>
                    <a:pt x="186" y="259"/>
                    <a:pt x="186" y="277"/>
                  </a:cubicBezTo>
                  <a:cubicBezTo>
                    <a:pt x="186" y="277"/>
                    <a:pt x="186" y="277"/>
                    <a:pt x="134" y="277"/>
                  </a:cubicBezTo>
                  <a:cubicBezTo>
                    <a:pt x="134" y="259"/>
                    <a:pt x="134" y="259"/>
                    <a:pt x="134" y="259"/>
                  </a:cubicBezTo>
                  <a:cubicBezTo>
                    <a:pt x="134" y="252"/>
                    <a:pt x="129" y="248"/>
                    <a:pt x="125" y="246"/>
                  </a:cubicBezTo>
                  <a:cubicBezTo>
                    <a:pt x="112" y="242"/>
                    <a:pt x="101" y="235"/>
                    <a:pt x="92" y="229"/>
                  </a:cubicBezTo>
                  <a:cubicBezTo>
                    <a:pt x="88" y="225"/>
                    <a:pt x="81" y="225"/>
                    <a:pt x="77" y="227"/>
                  </a:cubicBezTo>
                  <a:cubicBezTo>
                    <a:pt x="77" y="227"/>
                    <a:pt x="77" y="227"/>
                    <a:pt x="59" y="235"/>
                  </a:cubicBezTo>
                  <a:cubicBezTo>
                    <a:pt x="59" y="235"/>
                    <a:pt x="59" y="235"/>
                    <a:pt x="33" y="193"/>
                  </a:cubicBezTo>
                  <a:cubicBezTo>
                    <a:pt x="33" y="193"/>
                    <a:pt x="33" y="193"/>
                    <a:pt x="50" y="183"/>
                  </a:cubicBezTo>
                  <a:cubicBezTo>
                    <a:pt x="55" y="181"/>
                    <a:pt x="57" y="175"/>
                    <a:pt x="57" y="170"/>
                  </a:cubicBezTo>
                  <a:cubicBezTo>
                    <a:pt x="55" y="164"/>
                    <a:pt x="55" y="158"/>
                    <a:pt x="55" y="152"/>
                  </a:cubicBezTo>
                  <a:cubicBezTo>
                    <a:pt x="55" y="145"/>
                    <a:pt x="55" y="139"/>
                    <a:pt x="57" y="133"/>
                  </a:cubicBezTo>
                  <a:cubicBezTo>
                    <a:pt x="57" y="128"/>
                    <a:pt x="55" y="122"/>
                    <a:pt x="50" y="120"/>
                  </a:cubicBezTo>
                  <a:cubicBezTo>
                    <a:pt x="50" y="120"/>
                    <a:pt x="50" y="120"/>
                    <a:pt x="33" y="110"/>
                  </a:cubicBezTo>
                  <a:cubicBezTo>
                    <a:pt x="33" y="110"/>
                    <a:pt x="33" y="110"/>
                    <a:pt x="59" y="68"/>
                  </a:cubicBezTo>
                  <a:cubicBezTo>
                    <a:pt x="59" y="68"/>
                    <a:pt x="59" y="68"/>
                    <a:pt x="77" y="76"/>
                  </a:cubicBezTo>
                  <a:cubicBezTo>
                    <a:pt x="81" y="78"/>
                    <a:pt x="88" y="78"/>
                    <a:pt x="92" y="76"/>
                  </a:cubicBezTo>
                  <a:cubicBezTo>
                    <a:pt x="101" y="68"/>
                    <a:pt x="112" y="61"/>
                    <a:pt x="125" y="57"/>
                  </a:cubicBezTo>
                  <a:cubicBezTo>
                    <a:pt x="129" y="55"/>
                    <a:pt x="134" y="51"/>
                    <a:pt x="134" y="44"/>
                  </a:cubicBezTo>
                  <a:cubicBezTo>
                    <a:pt x="134" y="44"/>
                    <a:pt x="134" y="44"/>
                    <a:pt x="134" y="26"/>
                  </a:cubicBezTo>
                  <a:cubicBezTo>
                    <a:pt x="134" y="26"/>
                    <a:pt x="134" y="26"/>
                    <a:pt x="186" y="26"/>
                  </a:cubicBezTo>
                  <a:cubicBezTo>
                    <a:pt x="186" y="26"/>
                    <a:pt x="186" y="26"/>
                    <a:pt x="186" y="44"/>
                  </a:cubicBezTo>
                  <a:cubicBezTo>
                    <a:pt x="186" y="51"/>
                    <a:pt x="188" y="55"/>
                    <a:pt x="195" y="57"/>
                  </a:cubicBezTo>
                  <a:cubicBezTo>
                    <a:pt x="206" y="61"/>
                    <a:pt x="219" y="68"/>
                    <a:pt x="228" y="76"/>
                  </a:cubicBezTo>
                  <a:cubicBezTo>
                    <a:pt x="232" y="78"/>
                    <a:pt x="239" y="78"/>
                    <a:pt x="243" y="76"/>
                  </a:cubicBezTo>
                  <a:cubicBezTo>
                    <a:pt x="243" y="76"/>
                    <a:pt x="243" y="76"/>
                    <a:pt x="261" y="68"/>
                  </a:cubicBezTo>
                  <a:cubicBezTo>
                    <a:pt x="261" y="68"/>
                    <a:pt x="261" y="68"/>
                    <a:pt x="287" y="110"/>
                  </a:cubicBezTo>
                  <a:cubicBezTo>
                    <a:pt x="287" y="110"/>
                    <a:pt x="287" y="110"/>
                    <a:pt x="270" y="120"/>
                  </a:cubicBezTo>
                  <a:cubicBezTo>
                    <a:pt x="265" y="122"/>
                    <a:pt x="261" y="128"/>
                    <a:pt x="263"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13" name="Freeform 75">
              <a:extLst>
                <a:ext uri="{FF2B5EF4-FFF2-40B4-BE49-F238E27FC236}">
                  <a16:creationId xmlns:a16="http://schemas.microsoft.com/office/drawing/2014/main" id="{E020E3D3-7485-4263-A622-DCDA6986E86E}"/>
                </a:ext>
              </a:extLst>
            </p:cNvPr>
            <p:cNvSpPr>
              <a:spLocks noEditPoints="1"/>
            </p:cNvSpPr>
            <p:nvPr/>
          </p:nvSpPr>
          <p:spPr bwMode="auto">
            <a:xfrm>
              <a:off x="-1182" y="1622"/>
              <a:ext cx="66" cy="67"/>
            </a:xfrm>
            <a:custGeom>
              <a:avLst/>
              <a:gdLst>
                <a:gd name="T0" fmla="*/ 67 w 133"/>
                <a:gd name="T1" fmla="*/ 0 h 133"/>
                <a:gd name="T2" fmla="*/ 0 w 133"/>
                <a:gd name="T3" fmla="*/ 67 h 133"/>
                <a:gd name="T4" fmla="*/ 67 w 133"/>
                <a:gd name="T5" fmla="*/ 133 h 133"/>
                <a:gd name="T6" fmla="*/ 133 w 133"/>
                <a:gd name="T7" fmla="*/ 67 h 133"/>
                <a:gd name="T8" fmla="*/ 67 w 133"/>
                <a:gd name="T9" fmla="*/ 0 h 133"/>
                <a:gd name="T10" fmla="*/ 67 w 133"/>
                <a:gd name="T11" fmla="*/ 106 h 133"/>
                <a:gd name="T12" fmla="*/ 27 w 133"/>
                <a:gd name="T13" fmla="*/ 67 h 133"/>
                <a:gd name="T14" fmla="*/ 67 w 133"/>
                <a:gd name="T15" fmla="*/ 27 h 133"/>
                <a:gd name="T16" fmla="*/ 107 w 133"/>
                <a:gd name="T17" fmla="*/ 67 h 133"/>
                <a:gd name="T18" fmla="*/ 67 w 133"/>
                <a:gd name="T19" fmla="*/ 10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33">
                  <a:moveTo>
                    <a:pt x="67" y="0"/>
                  </a:moveTo>
                  <a:cubicBezTo>
                    <a:pt x="29" y="0"/>
                    <a:pt x="0" y="29"/>
                    <a:pt x="0" y="67"/>
                  </a:cubicBezTo>
                  <a:cubicBezTo>
                    <a:pt x="0" y="104"/>
                    <a:pt x="29" y="133"/>
                    <a:pt x="67" y="133"/>
                  </a:cubicBezTo>
                  <a:cubicBezTo>
                    <a:pt x="102" y="133"/>
                    <a:pt x="133" y="104"/>
                    <a:pt x="133" y="67"/>
                  </a:cubicBezTo>
                  <a:cubicBezTo>
                    <a:pt x="133" y="29"/>
                    <a:pt x="102" y="0"/>
                    <a:pt x="67" y="0"/>
                  </a:cubicBezTo>
                  <a:close/>
                  <a:moveTo>
                    <a:pt x="67" y="106"/>
                  </a:moveTo>
                  <a:cubicBezTo>
                    <a:pt x="45" y="106"/>
                    <a:pt x="27" y="89"/>
                    <a:pt x="27" y="67"/>
                  </a:cubicBezTo>
                  <a:cubicBezTo>
                    <a:pt x="27" y="44"/>
                    <a:pt x="45" y="27"/>
                    <a:pt x="67" y="27"/>
                  </a:cubicBezTo>
                  <a:cubicBezTo>
                    <a:pt x="89" y="27"/>
                    <a:pt x="107" y="44"/>
                    <a:pt x="107" y="67"/>
                  </a:cubicBezTo>
                  <a:cubicBezTo>
                    <a:pt x="107" y="89"/>
                    <a:pt x="89" y="106"/>
                    <a:pt x="67"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orbel"/>
                <a:ea typeface="+mn-ea"/>
                <a:cs typeface="+mn-cs"/>
              </a:endParaRPr>
            </a:p>
          </p:txBody>
        </p:sp>
      </p:grpSp>
      <p:sp>
        <p:nvSpPr>
          <p:cNvPr id="60" name="Rectangle 59">
            <a:extLst>
              <a:ext uri="{FF2B5EF4-FFF2-40B4-BE49-F238E27FC236}">
                <a16:creationId xmlns:a16="http://schemas.microsoft.com/office/drawing/2014/main" id="{E6D05763-48B9-47B6-BCDC-33A848161382}"/>
              </a:ext>
            </a:extLst>
          </p:cNvPr>
          <p:cNvSpPr/>
          <p:nvPr/>
        </p:nvSpPr>
        <p:spPr>
          <a:xfrm>
            <a:off x="313284" y="1764823"/>
            <a:ext cx="2214299" cy="4625174"/>
          </a:xfrm>
          <a:prstGeom prst="rect">
            <a:avLst/>
          </a:prstGeom>
          <a:solidFill>
            <a:schemeClr val="bg1">
              <a:lumMod val="95000"/>
            </a:schemeClr>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90000"/>
              </a:lnSpc>
              <a:spcBef>
                <a:spcPts val="375"/>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a:ln>
                <a:noFill/>
              </a:ln>
              <a:solidFill>
                <a:srgbClr val="000000"/>
              </a:solidFill>
              <a:effectLst/>
              <a:uLnTx/>
              <a:uFillTx/>
              <a:latin typeface="Corbel"/>
              <a:ea typeface="+mn-ea"/>
              <a:cs typeface="+mn-cs"/>
            </a:endParaRPr>
          </a:p>
        </p:txBody>
      </p:sp>
      <p:sp>
        <p:nvSpPr>
          <p:cNvPr id="101" name="Rectangle 100">
            <a:extLst>
              <a:ext uri="{FF2B5EF4-FFF2-40B4-BE49-F238E27FC236}">
                <a16:creationId xmlns:a16="http://schemas.microsoft.com/office/drawing/2014/main" id="{AF46F9E0-35E6-492A-820B-F5C9557DC2C5}"/>
              </a:ext>
            </a:extLst>
          </p:cNvPr>
          <p:cNvSpPr/>
          <p:nvPr/>
        </p:nvSpPr>
        <p:spPr>
          <a:xfrm>
            <a:off x="418654" y="2979117"/>
            <a:ext cx="1920032" cy="1378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a:ea typeface="+mn-ea"/>
                <a:cs typeface="+mn-cs"/>
              </a:rPr>
              <a:t>De behoeften en persoonlijke situatie van de Amsterdammer staat centraal en wordt ingevuld in </a:t>
            </a:r>
            <a:r>
              <a:rPr lang="nl-NL" sz="1100" dirty="0">
                <a:solidFill>
                  <a:srgbClr val="000000"/>
                </a:solidFill>
                <a:latin typeface="Corbel"/>
              </a:rPr>
              <a:t>de </a:t>
            </a:r>
            <a:r>
              <a:rPr kumimoji="0" lang="nl-NL" sz="1100" b="0" i="0" u="none" strike="noStrike" kern="1200" cap="none" spc="0" normalizeH="0" baseline="0" noProof="0" dirty="0">
                <a:ln>
                  <a:noFill/>
                </a:ln>
                <a:solidFill>
                  <a:srgbClr val="000000"/>
                </a:solidFill>
                <a:effectLst/>
                <a:uLnTx/>
                <a:uFillTx/>
                <a:latin typeface="Corbel"/>
                <a:ea typeface="+mn-ea"/>
                <a:cs typeface="+mn-cs"/>
              </a:rPr>
              <a:t>profiel(en) van de Amsterdammer. </a:t>
            </a:r>
            <a:r>
              <a:rPr lang="nl-NL" sz="1100" dirty="0">
                <a:solidFill>
                  <a:srgbClr val="000000"/>
                </a:solidFill>
                <a:latin typeface="Corbel"/>
              </a:rPr>
              <a:t>O</a:t>
            </a:r>
            <a:r>
              <a:rPr kumimoji="0" lang="nl-NL" sz="1100" b="0" i="0" u="none" strike="noStrike" kern="1200" cap="none" spc="0" normalizeH="0" baseline="0" noProof="0" dirty="0">
                <a:ln>
                  <a:noFill/>
                </a:ln>
                <a:solidFill>
                  <a:srgbClr val="000000"/>
                </a:solidFill>
                <a:effectLst/>
                <a:uLnTx/>
                <a:uFillTx/>
                <a:latin typeface="Corbel"/>
                <a:ea typeface="+mn-ea"/>
                <a:cs typeface="+mn-cs"/>
              </a:rPr>
              <a:t>p basis hiervan wordt de dienstverlening bepaald. Omgekeerd kunnen wij als gemeente de klant ook pro actief willen zien. </a:t>
            </a:r>
          </a:p>
        </p:txBody>
      </p:sp>
      <p:sp>
        <p:nvSpPr>
          <p:cNvPr id="102" name="Rectangle 101">
            <a:extLst>
              <a:ext uri="{FF2B5EF4-FFF2-40B4-BE49-F238E27FC236}">
                <a16:creationId xmlns:a16="http://schemas.microsoft.com/office/drawing/2014/main" id="{AA1DC808-87C0-4C6F-9730-6E0E57A71AEA}"/>
              </a:ext>
            </a:extLst>
          </p:cNvPr>
          <p:cNvSpPr/>
          <p:nvPr/>
        </p:nvSpPr>
        <p:spPr>
          <a:xfrm>
            <a:off x="382235" y="2401339"/>
            <a:ext cx="1992870" cy="500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rgbClr val="FF0000"/>
                </a:solidFill>
                <a:effectLst/>
                <a:uLnTx/>
                <a:uFillTx/>
                <a:latin typeface="Corbel"/>
                <a:ea typeface="+mn-ea"/>
                <a:cs typeface="+mn-cs"/>
              </a:rPr>
              <a:t>Gepersonaliseerde dienstverlening</a:t>
            </a:r>
          </a:p>
        </p:txBody>
      </p:sp>
      <p:grpSp>
        <p:nvGrpSpPr>
          <p:cNvPr id="152" name="Group 108">
            <a:extLst>
              <a:ext uri="{FF2B5EF4-FFF2-40B4-BE49-F238E27FC236}">
                <a16:creationId xmlns:a16="http://schemas.microsoft.com/office/drawing/2014/main" id="{A7708A77-9A30-4C80-B2A8-D07418251A81}"/>
              </a:ext>
            </a:extLst>
          </p:cNvPr>
          <p:cNvGrpSpPr>
            <a:grpSpLocks noChangeAspect="1"/>
          </p:cNvGrpSpPr>
          <p:nvPr/>
        </p:nvGrpSpPr>
        <p:grpSpPr bwMode="auto">
          <a:xfrm>
            <a:off x="1132585" y="1917583"/>
            <a:ext cx="423380" cy="434924"/>
            <a:chOff x="335" y="2998"/>
            <a:chExt cx="448" cy="427"/>
          </a:xfrm>
          <a:solidFill>
            <a:schemeClr val="tx1">
              <a:lumMod val="95000"/>
              <a:lumOff val="5000"/>
            </a:schemeClr>
          </a:solidFill>
        </p:grpSpPr>
        <p:sp>
          <p:nvSpPr>
            <p:cNvPr id="153" name="Freeform 109">
              <a:extLst>
                <a:ext uri="{FF2B5EF4-FFF2-40B4-BE49-F238E27FC236}">
                  <a16:creationId xmlns:a16="http://schemas.microsoft.com/office/drawing/2014/main" id="{D6F5B73D-3516-4E08-8673-F91626C71557}"/>
                </a:ext>
              </a:extLst>
            </p:cNvPr>
            <p:cNvSpPr>
              <a:spLocks noEditPoints="1"/>
            </p:cNvSpPr>
            <p:nvPr/>
          </p:nvSpPr>
          <p:spPr bwMode="auto">
            <a:xfrm>
              <a:off x="335" y="2998"/>
              <a:ext cx="448" cy="427"/>
            </a:xfrm>
            <a:custGeom>
              <a:avLst/>
              <a:gdLst>
                <a:gd name="T0" fmla="*/ 253 w 303"/>
                <a:gd name="T1" fmla="*/ 226 h 288"/>
                <a:gd name="T2" fmla="*/ 303 w 303"/>
                <a:gd name="T3" fmla="*/ 196 h 288"/>
                <a:gd name="T4" fmla="*/ 278 w 303"/>
                <a:gd name="T5" fmla="*/ 163 h 288"/>
                <a:gd name="T6" fmla="*/ 279 w 303"/>
                <a:gd name="T7" fmla="*/ 148 h 288"/>
                <a:gd name="T8" fmla="*/ 139 w 303"/>
                <a:gd name="T9" fmla="*/ 22 h 288"/>
                <a:gd name="T10" fmla="*/ 138 w 303"/>
                <a:gd name="T11" fmla="*/ 21 h 288"/>
                <a:gd name="T12" fmla="*/ 88 w 303"/>
                <a:gd name="T13" fmla="*/ 25 h 288"/>
                <a:gd name="T14" fmla="*/ 91 w 303"/>
                <a:gd name="T15" fmla="*/ 37 h 288"/>
                <a:gd name="T16" fmla="*/ 43 w 303"/>
                <a:gd name="T17" fmla="*/ 83 h 288"/>
                <a:gd name="T18" fmla="*/ 43 w 303"/>
                <a:gd name="T19" fmla="*/ 84 h 288"/>
                <a:gd name="T20" fmla="*/ 34 w 303"/>
                <a:gd name="T21" fmla="*/ 83 h 288"/>
                <a:gd name="T22" fmla="*/ 25 w 303"/>
                <a:gd name="T23" fmla="*/ 150 h 288"/>
                <a:gd name="T24" fmla="*/ 25 w 303"/>
                <a:gd name="T25" fmla="*/ 151 h 288"/>
                <a:gd name="T26" fmla="*/ 76 w 303"/>
                <a:gd name="T27" fmla="*/ 250 h 288"/>
                <a:gd name="T28" fmla="*/ 72 w 303"/>
                <a:gd name="T29" fmla="*/ 264 h 288"/>
                <a:gd name="T30" fmla="*/ 120 w 303"/>
                <a:gd name="T31" fmla="*/ 272 h 288"/>
                <a:gd name="T32" fmla="*/ 121 w 303"/>
                <a:gd name="T33" fmla="*/ 271 h 288"/>
                <a:gd name="T34" fmla="*/ 252 w 303"/>
                <a:gd name="T35" fmla="*/ 226 h 288"/>
                <a:gd name="T36" fmla="*/ 113 w 303"/>
                <a:gd name="T37" fmla="*/ 11 h 288"/>
                <a:gd name="T38" fmla="*/ 113 w 303"/>
                <a:gd name="T39" fmla="*/ 40 h 288"/>
                <a:gd name="T40" fmla="*/ 113 w 303"/>
                <a:gd name="T41" fmla="*/ 11 h 288"/>
                <a:gd name="T42" fmla="*/ 98 w 303"/>
                <a:gd name="T43" fmla="*/ 45 h 288"/>
                <a:gd name="T44" fmla="*/ 99 w 303"/>
                <a:gd name="T45" fmla="*/ 45 h 288"/>
                <a:gd name="T46" fmla="*/ 136 w 303"/>
                <a:gd name="T47" fmla="*/ 33 h 288"/>
                <a:gd name="T48" fmla="*/ 137 w 303"/>
                <a:gd name="T49" fmla="*/ 32 h 288"/>
                <a:gd name="T50" fmla="*/ 268 w 303"/>
                <a:gd name="T51" fmla="*/ 145 h 288"/>
                <a:gd name="T52" fmla="*/ 267 w 303"/>
                <a:gd name="T53" fmla="*/ 145 h 288"/>
                <a:gd name="T54" fmla="*/ 197 w 303"/>
                <a:gd name="T55" fmla="*/ 89 h 288"/>
                <a:gd name="T56" fmla="*/ 197 w 303"/>
                <a:gd name="T57" fmla="*/ 99 h 288"/>
                <a:gd name="T58" fmla="*/ 264 w 303"/>
                <a:gd name="T59" fmla="*/ 162 h 288"/>
                <a:gd name="T60" fmla="*/ 235 w 303"/>
                <a:gd name="T61" fmla="*/ 196 h 288"/>
                <a:gd name="T62" fmla="*/ 238 w 303"/>
                <a:gd name="T63" fmla="*/ 209 h 288"/>
                <a:gd name="T64" fmla="*/ 158 w 303"/>
                <a:gd name="T65" fmla="*/ 231 h 288"/>
                <a:gd name="T66" fmla="*/ 45 w 303"/>
                <a:gd name="T67" fmla="*/ 149 h 288"/>
                <a:gd name="T68" fmla="*/ 46 w 303"/>
                <a:gd name="T69" fmla="*/ 148 h 288"/>
                <a:gd name="T70" fmla="*/ 65 w 303"/>
                <a:gd name="T71" fmla="*/ 103 h 288"/>
                <a:gd name="T72" fmla="*/ 65 w 303"/>
                <a:gd name="T73" fmla="*/ 102 h 288"/>
                <a:gd name="T74" fmla="*/ 107 w 303"/>
                <a:gd name="T75" fmla="*/ 84 h 288"/>
                <a:gd name="T76" fmla="*/ 101 w 303"/>
                <a:gd name="T77" fmla="*/ 76 h 288"/>
                <a:gd name="T78" fmla="*/ 59 w 303"/>
                <a:gd name="T79" fmla="*/ 94 h 288"/>
                <a:gd name="T80" fmla="*/ 54 w 303"/>
                <a:gd name="T81" fmla="*/ 90 h 288"/>
                <a:gd name="T82" fmla="*/ 10 w 303"/>
                <a:gd name="T83" fmla="*/ 117 h 288"/>
                <a:gd name="T84" fmla="*/ 57 w 303"/>
                <a:gd name="T85" fmla="*/ 117 h 288"/>
                <a:gd name="T86" fmla="*/ 10 w 303"/>
                <a:gd name="T87" fmla="*/ 117 h 288"/>
                <a:gd name="T88" fmla="*/ 82 w 303"/>
                <a:gd name="T89" fmla="*/ 264 h 288"/>
                <a:gd name="T90" fmla="*/ 111 w 303"/>
                <a:gd name="T91" fmla="*/ 263 h 288"/>
                <a:gd name="T92" fmla="*/ 97 w 303"/>
                <a:gd name="T93" fmla="*/ 278 h 288"/>
                <a:gd name="T94" fmla="*/ 153 w 303"/>
                <a:gd name="T95" fmla="*/ 264 h 288"/>
                <a:gd name="T96" fmla="*/ 121 w 303"/>
                <a:gd name="T97" fmla="*/ 261 h 288"/>
                <a:gd name="T98" fmla="*/ 97 w 303"/>
                <a:gd name="T99" fmla="*/ 239 h 288"/>
                <a:gd name="T100" fmla="*/ 84 w 303"/>
                <a:gd name="T101" fmla="*/ 242 h 288"/>
                <a:gd name="T102" fmla="*/ 38 w 303"/>
                <a:gd name="T103" fmla="*/ 166 h 288"/>
                <a:gd name="T104" fmla="*/ 39 w 303"/>
                <a:gd name="T105" fmla="*/ 165 h 288"/>
                <a:gd name="T106" fmla="*/ 112 w 303"/>
                <a:gd name="T107" fmla="*/ 233 h 288"/>
                <a:gd name="T108" fmla="*/ 242 w 303"/>
                <a:gd name="T109" fmla="*/ 218 h 288"/>
                <a:gd name="T110" fmla="*/ 245 w 303"/>
                <a:gd name="T111" fmla="*/ 218 h 288"/>
                <a:gd name="T112" fmla="*/ 245 w 303"/>
                <a:gd name="T113" fmla="*/ 196 h 288"/>
                <a:gd name="T114" fmla="*/ 293 w 303"/>
                <a:gd name="T115" fmla="*/ 196 h 288"/>
                <a:gd name="T116" fmla="*/ 269 w 303"/>
                <a:gd name="T117" fmla="*/ 21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3" h="288">
                  <a:moveTo>
                    <a:pt x="253" y="225"/>
                  </a:moveTo>
                  <a:cubicBezTo>
                    <a:pt x="253" y="226"/>
                    <a:pt x="253" y="226"/>
                    <a:pt x="253" y="226"/>
                  </a:cubicBezTo>
                  <a:cubicBezTo>
                    <a:pt x="258" y="229"/>
                    <a:pt x="265" y="229"/>
                    <a:pt x="269" y="229"/>
                  </a:cubicBezTo>
                  <a:cubicBezTo>
                    <a:pt x="287" y="229"/>
                    <a:pt x="303" y="214"/>
                    <a:pt x="303" y="196"/>
                  </a:cubicBezTo>
                  <a:cubicBezTo>
                    <a:pt x="303" y="181"/>
                    <a:pt x="293" y="167"/>
                    <a:pt x="279" y="163"/>
                  </a:cubicBezTo>
                  <a:cubicBezTo>
                    <a:pt x="278" y="163"/>
                    <a:pt x="278" y="163"/>
                    <a:pt x="278" y="163"/>
                  </a:cubicBezTo>
                  <a:cubicBezTo>
                    <a:pt x="278" y="162"/>
                    <a:pt x="278" y="162"/>
                    <a:pt x="278" y="162"/>
                  </a:cubicBezTo>
                  <a:cubicBezTo>
                    <a:pt x="279" y="158"/>
                    <a:pt x="279" y="152"/>
                    <a:pt x="279" y="148"/>
                  </a:cubicBezTo>
                  <a:cubicBezTo>
                    <a:pt x="279" y="78"/>
                    <a:pt x="222" y="21"/>
                    <a:pt x="153" y="21"/>
                  </a:cubicBezTo>
                  <a:cubicBezTo>
                    <a:pt x="148" y="21"/>
                    <a:pt x="143" y="21"/>
                    <a:pt x="139" y="22"/>
                  </a:cubicBezTo>
                  <a:cubicBezTo>
                    <a:pt x="138" y="22"/>
                    <a:pt x="138" y="22"/>
                    <a:pt x="138" y="22"/>
                  </a:cubicBezTo>
                  <a:cubicBezTo>
                    <a:pt x="138" y="21"/>
                    <a:pt x="138" y="21"/>
                    <a:pt x="138" y="21"/>
                  </a:cubicBezTo>
                  <a:cubicBezTo>
                    <a:pt x="135" y="9"/>
                    <a:pt x="125" y="0"/>
                    <a:pt x="113" y="0"/>
                  </a:cubicBezTo>
                  <a:cubicBezTo>
                    <a:pt x="99" y="0"/>
                    <a:pt x="88" y="12"/>
                    <a:pt x="88" y="25"/>
                  </a:cubicBezTo>
                  <a:cubicBezTo>
                    <a:pt x="88" y="29"/>
                    <a:pt x="89" y="33"/>
                    <a:pt x="91" y="36"/>
                  </a:cubicBezTo>
                  <a:cubicBezTo>
                    <a:pt x="91" y="37"/>
                    <a:pt x="91" y="37"/>
                    <a:pt x="91" y="37"/>
                  </a:cubicBezTo>
                  <a:cubicBezTo>
                    <a:pt x="90" y="37"/>
                    <a:pt x="90" y="37"/>
                    <a:pt x="90" y="37"/>
                  </a:cubicBezTo>
                  <a:cubicBezTo>
                    <a:pt x="71" y="48"/>
                    <a:pt x="55" y="64"/>
                    <a:pt x="43" y="83"/>
                  </a:cubicBezTo>
                  <a:cubicBezTo>
                    <a:pt x="43" y="84"/>
                    <a:pt x="43" y="84"/>
                    <a:pt x="43" y="84"/>
                  </a:cubicBezTo>
                  <a:cubicBezTo>
                    <a:pt x="43" y="84"/>
                    <a:pt x="43" y="84"/>
                    <a:pt x="43" y="84"/>
                  </a:cubicBezTo>
                  <a:cubicBezTo>
                    <a:pt x="41" y="84"/>
                    <a:pt x="39" y="84"/>
                    <a:pt x="38" y="83"/>
                  </a:cubicBezTo>
                  <a:cubicBezTo>
                    <a:pt x="36" y="83"/>
                    <a:pt x="35" y="83"/>
                    <a:pt x="34" y="83"/>
                  </a:cubicBezTo>
                  <a:cubicBezTo>
                    <a:pt x="15" y="83"/>
                    <a:pt x="0" y="98"/>
                    <a:pt x="0" y="117"/>
                  </a:cubicBezTo>
                  <a:cubicBezTo>
                    <a:pt x="0" y="132"/>
                    <a:pt x="10" y="146"/>
                    <a:pt x="25" y="150"/>
                  </a:cubicBezTo>
                  <a:cubicBezTo>
                    <a:pt x="25" y="150"/>
                    <a:pt x="25" y="150"/>
                    <a:pt x="25" y="150"/>
                  </a:cubicBezTo>
                  <a:cubicBezTo>
                    <a:pt x="25" y="151"/>
                    <a:pt x="25" y="151"/>
                    <a:pt x="25" y="151"/>
                  </a:cubicBezTo>
                  <a:cubicBezTo>
                    <a:pt x="26" y="189"/>
                    <a:pt x="45" y="226"/>
                    <a:pt x="76" y="249"/>
                  </a:cubicBezTo>
                  <a:cubicBezTo>
                    <a:pt x="76" y="250"/>
                    <a:pt x="76" y="250"/>
                    <a:pt x="76" y="250"/>
                  </a:cubicBezTo>
                  <a:cubicBezTo>
                    <a:pt x="76" y="250"/>
                    <a:pt x="76" y="250"/>
                    <a:pt x="76" y="250"/>
                  </a:cubicBezTo>
                  <a:cubicBezTo>
                    <a:pt x="73" y="255"/>
                    <a:pt x="72" y="259"/>
                    <a:pt x="72" y="264"/>
                  </a:cubicBezTo>
                  <a:cubicBezTo>
                    <a:pt x="72" y="278"/>
                    <a:pt x="82" y="288"/>
                    <a:pt x="97" y="288"/>
                  </a:cubicBezTo>
                  <a:cubicBezTo>
                    <a:pt x="107" y="288"/>
                    <a:pt x="117" y="282"/>
                    <a:pt x="120" y="272"/>
                  </a:cubicBezTo>
                  <a:cubicBezTo>
                    <a:pt x="120" y="271"/>
                    <a:pt x="120" y="271"/>
                    <a:pt x="120" y="271"/>
                  </a:cubicBezTo>
                  <a:cubicBezTo>
                    <a:pt x="121" y="271"/>
                    <a:pt x="121" y="271"/>
                    <a:pt x="121" y="271"/>
                  </a:cubicBezTo>
                  <a:cubicBezTo>
                    <a:pt x="130" y="274"/>
                    <a:pt x="140" y="275"/>
                    <a:pt x="153" y="275"/>
                  </a:cubicBezTo>
                  <a:cubicBezTo>
                    <a:pt x="191" y="275"/>
                    <a:pt x="227" y="257"/>
                    <a:pt x="252" y="226"/>
                  </a:cubicBezTo>
                  <a:lnTo>
                    <a:pt x="253" y="225"/>
                  </a:lnTo>
                  <a:close/>
                  <a:moveTo>
                    <a:pt x="113" y="11"/>
                  </a:moveTo>
                  <a:cubicBezTo>
                    <a:pt x="121" y="11"/>
                    <a:pt x="128" y="17"/>
                    <a:pt x="128" y="25"/>
                  </a:cubicBezTo>
                  <a:cubicBezTo>
                    <a:pt x="128" y="32"/>
                    <a:pt x="122" y="40"/>
                    <a:pt x="113" y="40"/>
                  </a:cubicBezTo>
                  <a:cubicBezTo>
                    <a:pt x="104" y="40"/>
                    <a:pt x="98" y="32"/>
                    <a:pt x="98" y="25"/>
                  </a:cubicBezTo>
                  <a:cubicBezTo>
                    <a:pt x="98" y="17"/>
                    <a:pt x="105" y="11"/>
                    <a:pt x="113" y="11"/>
                  </a:cubicBezTo>
                  <a:close/>
                  <a:moveTo>
                    <a:pt x="52" y="88"/>
                  </a:moveTo>
                  <a:cubicBezTo>
                    <a:pt x="64" y="69"/>
                    <a:pt x="79" y="55"/>
                    <a:pt x="98" y="45"/>
                  </a:cubicBezTo>
                  <a:cubicBezTo>
                    <a:pt x="98" y="45"/>
                    <a:pt x="98" y="45"/>
                    <a:pt x="98" y="45"/>
                  </a:cubicBezTo>
                  <a:cubicBezTo>
                    <a:pt x="99" y="45"/>
                    <a:pt x="99" y="45"/>
                    <a:pt x="99" y="45"/>
                  </a:cubicBezTo>
                  <a:cubicBezTo>
                    <a:pt x="102" y="48"/>
                    <a:pt x="108" y="50"/>
                    <a:pt x="113" y="50"/>
                  </a:cubicBezTo>
                  <a:cubicBezTo>
                    <a:pt x="123" y="50"/>
                    <a:pt x="133" y="43"/>
                    <a:pt x="136" y="33"/>
                  </a:cubicBezTo>
                  <a:cubicBezTo>
                    <a:pt x="136" y="32"/>
                    <a:pt x="136" y="32"/>
                    <a:pt x="136" y="32"/>
                  </a:cubicBezTo>
                  <a:cubicBezTo>
                    <a:pt x="137" y="32"/>
                    <a:pt x="137" y="32"/>
                    <a:pt x="137" y="32"/>
                  </a:cubicBezTo>
                  <a:cubicBezTo>
                    <a:pt x="142" y="31"/>
                    <a:pt x="147" y="31"/>
                    <a:pt x="153" y="31"/>
                  </a:cubicBezTo>
                  <a:cubicBezTo>
                    <a:pt x="215" y="31"/>
                    <a:pt x="267" y="82"/>
                    <a:pt x="268" y="145"/>
                  </a:cubicBezTo>
                  <a:cubicBezTo>
                    <a:pt x="269" y="148"/>
                    <a:pt x="269" y="148"/>
                    <a:pt x="269" y="148"/>
                  </a:cubicBezTo>
                  <a:cubicBezTo>
                    <a:pt x="267" y="145"/>
                    <a:pt x="267" y="145"/>
                    <a:pt x="267" y="145"/>
                  </a:cubicBezTo>
                  <a:cubicBezTo>
                    <a:pt x="260" y="132"/>
                    <a:pt x="242" y="108"/>
                    <a:pt x="201" y="89"/>
                  </a:cubicBezTo>
                  <a:cubicBezTo>
                    <a:pt x="200" y="88"/>
                    <a:pt x="198" y="88"/>
                    <a:pt x="197" y="89"/>
                  </a:cubicBezTo>
                  <a:cubicBezTo>
                    <a:pt x="196" y="89"/>
                    <a:pt x="195" y="90"/>
                    <a:pt x="195" y="91"/>
                  </a:cubicBezTo>
                  <a:cubicBezTo>
                    <a:pt x="193" y="94"/>
                    <a:pt x="194" y="97"/>
                    <a:pt x="197" y="99"/>
                  </a:cubicBezTo>
                  <a:cubicBezTo>
                    <a:pt x="241" y="119"/>
                    <a:pt x="258" y="149"/>
                    <a:pt x="263" y="161"/>
                  </a:cubicBezTo>
                  <a:cubicBezTo>
                    <a:pt x="264" y="162"/>
                    <a:pt x="264" y="162"/>
                    <a:pt x="264" y="162"/>
                  </a:cubicBezTo>
                  <a:cubicBezTo>
                    <a:pt x="263" y="162"/>
                    <a:pt x="263" y="162"/>
                    <a:pt x="263" y="162"/>
                  </a:cubicBezTo>
                  <a:cubicBezTo>
                    <a:pt x="246" y="165"/>
                    <a:pt x="235" y="179"/>
                    <a:pt x="235" y="196"/>
                  </a:cubicBezTo>
                  <a:cubicBezTo>
                    <a:pt x="235" y="200"/>
                    <a:pt x="236" y="204"/>
                    <a:pt x="237" y="208"/>
                  </a:cubicBezTo>
                  <a:cubicBezTo>
                    <a:pt x="238" y="209"/>
                    <a:pt x="238" y="209"/>
                    <a:pt x="238" y="209"/>
                  </a:cubicBezTo>
                  <a:cubicBezTo>
                    <a:pt x="237" y="209"/>
                    <a:pt x="237" y="209"/>
                    <a:pt x="237" y="209"/>
                  </a:cubicBezTo>
                  <a:cubicBezTo>
                    <a:pt x="219" y="219"/>
                    <a:pt x="191" y="231"/>
                    <a:pt x="158" y="231"/>
                  </a:cubicBezTo>
                  <a:cubicBezTo>
                    <a:pt x="143" y="231"/>
                    <a:pt x="128" y="229"/>
                    <a:pt x="114" y="224"/>
                  </a:cubicBezTo>
                  <a:cubicBezTo>
                    <a:pt x="61" y="204"/>
                    <a:pt x="48" y="165"/>
                    <a:pt x="45" y="149"/>
                  </a:cubicBezTo>
                  <a:cubicBezTo>
                    <a:pt x="45" y="149"/>
                    <a:pt x="45" y="149"/>
                    <a:pt x="45" y="149"/>
                  </a:cubicBezTo>
                  <a:cubicBezTo>
                    <a:pt x="46" y="148"/>
                    <a:pt x="46" y="148"/>
                    <a:pt x="46" y="148"/>
                  </a:cubicBezTo>
                  <a:cubicBezTo>
                    <a:pt x="59" y="143"/>
                    <a:pt x="68" y="131"/>
                    <a:pt x="68" y="117"/>
                  </a:cubicBezTo>
                  <a:cubicBezTo>
                    <a:pt x="68" y="112"/>
                    <a:pt x="67" y="107"/>
                    <a:pt x="65" y="103"/>
                  </a:cubicBezTo>
                  <a:cubicBezTo>
                    <a:pt x="65" y="102"/>
                    <a:pt x="65" y="102"/>
                    <a:pt x="65" y="102"/>
                  </a:cubicBezTo>
                  <a:cubicBezTo>
                    <a:pt x="65" y="102"/>
                    <a:pt x="65" y="102"/>
                    <a:pt x="65" y="102"/>
                  </a:cubicBezTo>
                  <a:cubicBezTo>
                    <a:pt x="69" y="100"/>
                    <a:pt x="81" y="91"/>
                    <a:pt x="103" y="86"/>
                  </a:cubicBezTo>
                  <a:cubicBezTo>
                    <a:pt x="105" y="86"/>
                    <a:pt x="106" y="85"/>
                    <a:pt x="107" y="84"/>
                  </a:cubicBezTo>
                  <a:cubicBezTo>
                    <a:pt x="107" y="83"/>
                    <a:pt x="107" y="81"/>
                    <a:pt x="107" y="80"/>
                  </a:cubicBezTo>
                  <a:cubicBezTo>
                    <a:pt x="106" y="78"/>
                    <a:pt x="104" y="75"/>
                    <a:pt x="101" y="76"/>
                  </a:cubicBezTo>
                  <a:cubicBezTo>
                    <a:pt x="81" y="81"/>
                    <a:pt x="67" y="89"/>
                    <a:pt x="59" y="94"/>
                  </a:cubicBezTo>
                  <a:cubicBezTo>
                    <a:pt x="59" y="94"/>
                    <a:pt x="59" y="94"/>
                    <a:pt x="59" y="94"/>
                  </a:cubicBezTo>
                  <a:cubicBezTo>
                    <a:pt x="58" y="94"/>
                    <a:pt x="58" y="94"/>
                    <a:pt x="58" y="94"/>
                  </a:cubicBezTo>
                  <a:cubicBezTo>
                    <a:pt x="57" y="92"/>
                    <a:pt x="56" y="91"/>
                    <a:pt x="54" y="90"/>
                  </a:cubicBezTo>
                  <a:cubicBezTo>
                    <a:pt x="52" y="88"/>
                    <a:pt x="52" y="88"/>
                    <a:pt x="52" y="88"/>
                  </a:cubicBezTo>
                  <a:close/>
                  <a:moveTo>
                    <a:pt x="10" y="117"/>
                  </a:moveTo>
                  <a:cubicBezTo>
                    <a:pt x="10" y="104"/>
                    <a:pt x="21" y="93"/>
                    <a:pt x="34" y="93"/>
                  </a:cubicBezTo>
                  <a:cubicBezTo>
                    <a:pt x="47" y="93"/>
                    <a:pt x="57" y="104"/>
                    <a:pt x="57" y="117"/>
                  </a:cubicBezTo>
                  <a:cubicBezTo>
                    <a:pt x="57" y="130"/>
                    <a:pt x="47" y="141"/>
                    <a:pt x="34" y="141"/>
                  </a:cubicBezTo>
                  <a:cubicBezTo>
                    <a:pt x="21" y="141"/>
                    <a:pt x="10" y="130"/>
                    <a:pt x="10" y="117"/>
                  </a:cubicBezTo>
                  <a:close/>
                  <a:moveTo>
                    <a:pt x="97" y="278"/>
                  </a:moveTo>
                  <a:cubicBezTo>
                    <a:pt x="89" y="278"/>
                    <a:pt x="82" y="272"/>
                    <a:pt x="82" y="264"/>
                  </a:cubicBezTo>
                  <a:cubicBezTo>
                    <a:pt x="82" y="256"/>
                    <a:pt x="89" y="250"/>
                    <a:pt x="97" y="250"/>
                  </a:cubicBezTo>
                  <a:cubicBezTo>
                    <a:pt x="104" y="250"/>
                    <a:pt x="110" y="255"/>
                    <a:pt x="111" y="263"/>
                  </a:cubicBezTo>
                  <a:cubicBezTo>
                    <a:pt x="111" y="265"/>
                    <a:pt x="111" y="265"/>
                    <a:pt x="111" y="265"/>
                  </a:cubicBezTo>
                  <a:cubicBezTo>
                    <a:pt x="110" y="273"/>
                    <a:pt x="104" y="278"/>
                    <a:pt x="97" y="278"/>
                  </a:cubicBezTo>
                  <a:close/>
                  <a:moveTo>
                    <a:pt x="244" y="219"/>
                  </a:moveTo>
                  <a:cubicBezTo>
                    <a:pt x="222" y="248"/>
                    <a:pt x="188" y="264"/>
                    <a:pt x="153" y="264"/>
                  </a:cubicBezTo>
                  <a:cubicBezTo>
                    <a:pt x="141" y="264"/>
                    <a:pt x="131" y="263"/>
                    <a:pt x="121" y="261"/>
                  </a:cubicBezTo>
                  <a:cubicBezTo>
                    <a:pt x="121" y="261"/>
                    <a:pt x="121" y="261"/>
                    <a:pt x="121" y="261"/>
                  </a:cubicBezTo>
                  <a:cubicBezTo>
                    <a:pt x="121" y="260"/>
                    <a:pt x="121" y="260"/>
                    <a:pt x="121" y="260"/>
                  </a:cubicBezTo>
                  <a:cubicBezTo>
                    <a:pt x="119" y="248"/>
                    <a:pt x="109" y="239"/>
                    <a:pt x="97" y="239"/>
                  </a:cubicBezTo>
                  <a:cubicBezTo>
                    <a:pt x="93" y="239"/>
                    <a:pt x="88" y="240"/>
                    <a:pt x="84" y="242"/>
                  </a:cubicBezTo>
                  <a:cubicBezTo>
                    <a:pt x="84" y="242"/>
                    <a:pt x="84" y="242"/>
                    <a:pt x="84" y="242"/>
                  </a:cubicBezTo>
                  <a:cubicBezTo>
                    <a:pt x="83" y="242"/>
                    <a:pt x="83" y="242"/>
                    <a:pt x="83" y="242"/>
                  </a:cubicBezTo>
                  <a:cubicBezTo>
                    <a:pt x="59" y="224"/>
                    <a:pt x="42" y="197"/>
                    <a:pt x="38" y="166"/>
                  </a:cubicBezTo>
                  <a:cubicBezTo>
                    <a:pt x="37" y="166"/>
                    <a:pt x="37" y="166"/>
                    <a:pt x="37" y="166"/>
                  </a:cubicBezTo>
                  <a:cubicBezTo>
                    <a:pt x="39" y="165"/>
                    <a:pt x="39" y="165"/>
                    <a:pt x="39" y="165"/>
                  </a:cubicBezTo>
                  <a:cubicBezTo>
                    <a:pt x="39" y="166"/>
                    <a:pt x="39" y="166"/>
                    <a:pt x="39" y="166"/>
                  </a:cubicBezTo>
                  <a:cubicBezTo>
                    <a:pt x="45" y="184"/>
                    <a:pt x="62" y="216"/>
                    <a:pt x="112" y="233"/>
                  </a:cubicBezTo>
                  <a:cubicBezTo>
                    <a:pt x="126" y="239"/>
                    <a:pt x="141" y="241"/>
                    <a:pt x="159" y="241"/>
                  </a:cubicBezTo>
                  <a:cubicBezTo>
                    <a:pt x="196" y="241"/>
                    <a:pt x="227" y="227"/>
                    <a:pt x="242" y="218"/>
                  </a:cubicBezTo>
                  <a:cubicBezTo>
                    <a:pt x="243" y="218"/>
                    <a:pt x="243" y="218"/>
                    <a:pt x="243" y="218"/>
                  </a:cubicBezTo>
                  <a:cubicBezTo>
                    <a:pt x="245" y="218"/>
                    <a:pt x="245" y="218"/>
                    <a:pt x="245" y="218"/>
                  </a:cubicBezTo>
                  <a:lnTo>
                    <a:pt x="244" y="219"/>
                  </a:lnTo>
                  <a:close/>
                  <a:moveTo>
                    <a:pt x="245" y="196"/>
                  </a:moveTo>
                  <a:cubicBezTo>
                    <a:pt x="245" y="182"/>
                    <a:pt x="256" y="172"/>
                    <a:pt x="269" y="172"/>
                  </a:cubicBezTo>
                  <a:cubicBezTo>
                    <a:pt x="282" y="172"/>
                    <a:pt x="293" y="182"/>
                    <a:pt x="293" y="196"/>
                  </a:cubicBezTo>
                  <a:cubicBezTo>
                    <a:pt x="293" y="208"/>
                    <a:pt x="282" y="219"/>
                    <a:pt x="269" y="219"/>
                  </a:cubicBezTo>
                  <a:cubicBezTo>
                    <a:pt x="269" y="219"/>
                    <a:pt x="269" y="219"/>
                    <a:pt x="269" y="219"/>
                  </a:cubicBezTo>
                  <a:cubicBezTo>
                    <a:pt x="256" y="219"/>
                    <a:pt x="245" y="208"/>
                    <a:pt x="245"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54" name="Freeform 110">
              <a:extLst>
                <a:ext uri="{FF2B5EF4-FFF2-40B4-BE49-F238E27FC236}">
                  <a16:creationId xmlns:a16="http://schemas.microsoft.com/office/drawing/2014/main" id="{4CCB2CDF-3A98-4057-8A98-1B7513592567}"/>
                </a:ext>
              </a:extLst>
            </p:cNvPr>
            <p:cNvSpPr>
              <a:spLocks noEditPoints="1"/>
            </p:cNvSpPr>
            <p:nvPr/>
          </p:nvSpPr>
          <p:spPr bwMode="auto">
            <a:xfrm>
              <a:off x="468" y="3086"/>
              <a:ext cx="181" cy="221"/>
            </a:xfrm>
            <a:custGeom>
              <a:avLst/>
              <a:gdLst>
                <a:gd name="T0" fmla="*/ 61 w 123"/>
                <a:gd name="T1" fmla="*/ 149 h 149"/>
                <a:gd name="T2" fmla="*/ 119 w 123"/>
                <a:gd name="T3" fmla="*/ 97 h 149"/>
                <a:gd name="T4" fmla="*/ 80 w 123"/>
                <a:gd name="T5" fmla="*/ 75 h 149"/>
                <a:gd name="T6" fmla="*/ 79 w 123"/>
                <a:gd name="T7" fmla="*/ 66 h 149"/>
                <a:gd name="T8" fmla="*/ 85 w 123"/>
                <a:gd name="T9" fmla="*/ 49 h 149"/>
                <a:gd name="T10" fmla="*/ 86 w 123"/>
                <a:gd name="T11" fmla="*/ 49 h 149"/>
                <a:gd name="T12" fmla="*/ 87 w 123"/>
                <a:gd name="T13" fmla="*/ 31 h 149"/>
                <a:gd name="T14" fmla="*/ 87 w 123"/>
                <a:gd name="T15" fmla="*/ 30 h 149"/>
                <a:gd name="T16" fmla="*/ 64 w 123"/>
                <a:gd name="T17" fmla="*/ 0 h 149"/>
                <a:gd name="T18" fmla="*/ 40 w 123"/>
                <a:gd name="T19" fmla="*/ 8 h 149"/>
                <a:gd name="T20" fmla="*/ 32 w 123"/>
                <a:gd name="T21" fmla="*/ 12 h 149"/>
                <a:gd name="T22" fmla="*/ 31 w 123"/>
                <a:gd name="T23" fmla="*/ 33 h 149"/>
                <a:gd name="T24" fmla="*/ 31 w 123"/>
                <a:gd name="T25" fmla="*/ 45 h 149"/>
                <a:gd name="T26" fmla="*/ 43 w 123"/>
                <a:gd name="T27" fmla="*/ 67 h 149"/>
                <a:gd name="T28" fmla="*/ 43 w 123"/>
                <a:gd name="T29" fmla="*/ 75 h 149"/>
                <a:gd name="T30" fmla="*/ 3 w 123"/>
                <a:gd name="T31" fmla="*/ 97 h 149"/>
                <a:gd name="T32" fmla="*/ 12 w 123"/>
                <a:gd name="T33" fmla="*/ 124 h 149"/>
                <a:gd name="T34" fmla="*/ 41 w 123"/>
                <a:gd name="T35" fmla="*/ 88 h 149"/>
                <a:gd name="T36" fmla="*/ 51 w 123"/>
                <a:gd name="T37" fmla="*/ 84 h 149"/>
                <a:gd name="T38" fmla="*/ 55 w 123"/>
                <a:gd name="T39" fmla="*/ 64 h 149"/>
                <a:gd name="T40" fmla="*/ 42 w 123"/>
                <a:gd name="T41" fmla="*/ 45 h 149"/>
                <a:gd name="T42" fmla="*/ 42 w 123"/>
                <a:gd name="T43" fmla="*/ 29 h 149"/>
                <a:gd name="T44" fmla="*/ 40 w 123"/>
                <a:gd name="T45" fmla="*/ 20 h 149"/>
                <a:gd name="T46" fmla="*/ 42 w 123"/>
                <a:gd name="T47" fmla="*/ 20 h 149"/>
                <a:gd name="T48" fmla="*/ 64 w 123"/>
                <a:gd name="T49" fmla="*/ 11 h 149"/>
                <a:gd name="T50" fmla="*/ 76 w 123"/>
                <a:gd name="T51" fmla="*/ 28 h 149"/>
                <a:gd name="T52" fmla="*/ 78 w 123"/>
                <a:gd name="T53" fmla="*/ 38 h 149"/>
                <a:gd name="T54" fmla="*/ 78 w 123"/>
                <a:gd name="T55" fmla="*/ 40 h 149"/>
                <a:gd name="T56" fmla="*/ 70 w 123"/>
                <a:gd name="T57" fmla="*/ 59 h 149"/>
                <a:gd name="T58" fmla="*/ 68 w 123"/>
                <a:gd name="T59" fmla="*/ 79 h 149"/>
                <a:gd name="T60" fmla="*/ 82 w 123"/>
                <a:gd name="T61" fmla="*/ 88 h 149"/>
                <a:gd name="T62" fmla="*/ 111 w 123"/>
                <a:gd name="T63" fmla="*/ 124 h 149"/>
                <a:gd name="T64" fmla="*/ 111 w 123"/>
                <a:gd name="T65" fmla="*/ 125 h 149"/>
                <a:gd name="T66" fmla="*/ 12 w 123"/>
                <a:gd name="T67" fmla="*/ 12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3" h="149">
                  <a:moveTo>
                    <a:pt x="0" y="129"/>
                  </a:moveTo>
                  <a:cubicBezTo>
                    <a:pt x="0" y="133"/>
                    <a:pt x="25" y="149"/>
                    <a:pt x="61" y="149"/>
                  </a:cubicBezTo>
                  <a:cubicBezTo>
                    <a:pt x="97" y="149"/>
                    <a:pt x="123" y="133"/>
                    <a:pt x="123" y="129"/>
                  </a:cubicBezTo>
                  <a:cubicBezTo>
                    <a:pt x="123" y="126"/>
                    <a:pt x="122" y="107"/>
                    <a:pt x="119" y="97"/>
                  </a:cubicBezTo>
                  <a:cubicBezTo>
                    <a:pt x="116" y="88"/>
                    <a:pt x="103" y="84"/>
                    <a:pt x="86" y="77"/>
                  </a:cubicBezTo>
                  <a:cubicBezTo>
                    <a:pt x="84" y="77"/>
                    <a:pt x="82" y="76"/>
                    <a:pt x="80" y="75"/>
                  </a:cubicBezTo>
                  <a:cubicBezTo>
                    <a:pt x="79" y="75"/>
                    <a:pt x="79" y="75"/>
                    <a:pt x="79" y="75"/>
                  </a:cubicBezTo>
                  <a:cubicBezTo>
                    <a:pt x="79" y="66"/>
                    <a:pt x="79" y="66"/>
                    <a:pt x="79" y="66"/>
                  </a:cubicBezTo>
                  <a:cubicBezTo>
                    <a:pt x="80" y="66"/>
                    <a:pt x="80" y="66"/>
                    <a:pt x="80" y="66"/>
                  </a:cubicBezTo>
                  <a:cubicBezTo>
                    <a:pt x="82" y="63"/>
                    <a:pt x="85" y="58"/>
                    <a:pt x="85" y="49"/>
                  </a:cubicBezTo>
                  <a:cubicBezTo>
                    <a:pt x="85" y="49"/>
                    <a:pt x="85" y="49"/>
                    <a:pt x="85" y="49"/>
                  </a:cubicBezTo>
                  <a:cubicBezTo>
                    <a:pt x="86" y="49"/>
                    <a:pt x="86" y="49"/>
                    <a:pt x="86" y="49"/>
                  </a:cubicBezTo>
                  <a:cubicBezTo>
                    <a:pt x="88" y="47"/>
                    <a:pt x="90" y="43"/>
                    <a:pt x="90" y="39"/>
                  </a:cubicBezTo>
                  <a:cubicBezTo>
                    <a:pt x="90" y="36"/>
                    <a:pt x="89" y="33"/>
                    <a:pt x="87" y="31"/>
                  </a:cubicBezTo>
                  <a:cubicBezTo>
                    <a:pt x="87" y="30"/>
                    <a:pt x="87" y="30"/>
                    <a:pt x="87" y="30"/>
                  </a:cubicBezTo>
                  <a:cubicBezTo>
                    <a:pt x="87" y="30"/>
                    <a:pt x="87" y="30"/>
                    <a:pt x="87" y="30"/>
                  </a:cubicBezTo>
                  <a:cubicBezTo>
                    <a:pt x="90" y="24"/>
                    <a:pt x="91" y="18"/>
                    <a:pt x="90" y="13"/>
                  </a:cubicBezTo>
                  <a:cubicBezTo>
                    <a:pt x="88" y="3"/>
                    <a:pt x="75" y="0"/>
                    <a:pt x="64" y="0"/>
                  </a:cubicBezTo>
                  <a:cubicBezTo>
                    <a:pt x="60" y="0"/>
                    <a:pt x="46" y="0"/>
                    <a:pt x="40" y="8"/>
                  </a:cubicBezTo>
                  <a:cubicBezTo>
                    <a:pt x="40" y="8"/>
                    <a:pt x="40" y="8"/>
                    <a:pt x="40" y="8"/>
                  </a:cubicBezTo>
                  <a:cubicBezTo>
                    <a:pt x="40" y="8"/>
                    <a:pt x="40" y="8"/>
                    <a:pt x="40" y="8"/>
                  </a:cubicBezTo>
                  <a:cubicBezTo>
                    <a:pt x="36" y="8"/>
                    <a:pt x="33" y="10"/>
                    <a:pt x="32" y="12"/>
                  </a:cubicBezTo>
                  <a:cubicBezTo>
                    <a:pt x="27" y="17"/>
                    <a:pt x="29" y="27"/>
                    <a:pt x="31" y="32"/>
                  </a:cubicBezTo>
                  <a:cubicBezTo>
                    <a:pt x="31" y="32"/>
                    <a:pt x="31" y="33"/>
                    <a:pt x="31" y="33"/>
                  </a:cubicBezTo>
                  <a:cubicBezTo>
                    <a:pt x="31" y="33"/>
                    <a:pt x="31" y="33"/>
                    <a:pt x="31" y="33"/>
                  </a:cubicBezTo>
                  <a:cubicBezTo>
                    <a:pt x="31" y="45"/>
                    <a:pt x="31" y="45"/>
                    <a:pt x="31" y="45"/>
                  </a:cubicBezTo>
                  <a:cubicBezTo>
                    <a:pt x="31" y="54"/>
                    <a:pt x="35" y="63"/>
                    <a:pt x="43" y="67"/>
                  </a:cubicBezTo>
                  <a:cubicBezTo>
                    <a:pt x="43" y="67"/>
                    <a:pt x="43" y="67"/>
                    <a:pt x="43" y="67"/>
                  </a:cubicBezTo>
                  <a:cubicBezTo>
                    <a:pt x="43" y="75"/>
                    <a:pt x="43" y="75"/>
                    <a:pt x="43" y="75"/>
                  </a:cubicBezTo>
                  <a:cubicBezTo>
                    <a:pt x="43" y="75"/>
                    <a:pt x="43" y="75"/>
                    <a:pt x="43" y="75"/>
                  </a:cubicBezTo>
                  <a:cubicBezTo>
                    <a:pt x="41" y="76"/>
                    <a:pt x="39" y="77"/>
                    <a:pt x="37" y="77"/>
                  </a:cubicBezTo>
                  <a:cubicBezTo>
                    <a:pt x="20" y="83"/>
                    <a:pt x="6" y="88"/>
                    <a:pt x="3" y="97"/>
                  </a:cubicBezTo>
                  <a:cubicBezTo>
                    <a:pt x="0" y="107"/>
                    <a:pt x="0" y="126"/>
                    <a:pt x="0" y="129"/>
                  </a:cubicBezTo>
                  <a:close/>
                  <a:moveTo>
                    <a:pt x="12" y="124"/>
                  </a:moveTo>
                  <a:cubicBezTo>
                    <a:pt x="12" y="113"/>
                    <a:pt x="13" y="105"/>
                    <a:pt x="14" y="101"/>
                  </a:cubicBezTo>
                  <a:cubicBezTo>
                    <a:pt x="15" y="98"/>
                    <a:pt x="26" y="94"/>
                    <a:pt x="41" y="88"/>
                  </a:cubicBezTo>
                  <a:cubicBezTo>
                    <a:pt x="42" y="88"/>
                    <a:pt x="42" y="88"/>
                    <a:pt x="42" y="88"/>
                  </a:cubicBezTo>
                  <a:cubicBezTo>
                    <a:pt x="45" y="87"/>
                    <a:pt x="48" y="86"/>
                    <a:pt x="51" y="84"/>
                  </a:cubicBezTo>
                  <a:cubicBezTo>
                    <a:pt x="53" y="84"/>
                    <a:pt x="55" y="81"/>
                    <a:pt x="55" y="79"/>
                  </a:cubicBezTo>
                  <a:cubicBezTo>
                    <a:pt x="55" y="64"/>
                    <a:pt x="55" y="64"/>
                    <a:pt x="55" y="64"/>
                  </a:cubicBezTo>
                  <a:cubicBezTo>
                    <a:pt x="55" y="61"/>
                    <a:pt x="53" y="59"/>
                    <a:pt x="51" y="58"/>
                  </a:cubicBezTo>
                  <a:cubicBezTo>
                    <a:pt x="50" y="58"/>
                    <a:pt x="42" y="55"/>
                    <a:pt x="42" y="45"/>
                  </a:cubicBezTo>
                  <a:cubicBezTo>
                    <a:pt x="42" y="33"/>
                    <a:pt x="42" y="33"/>
                    <a:pt x="42" y="33"/>
                  </a:cubicBezTo>
                  <a:cubicBezTo>
                    <a:pt x="42" y="32"/>
                    <a:pt x="42" y="31"/>
                    <a:pt x="42" y="29"/>
                  </a:cubicBezTo>
                  <a:cubicBezTo>
                    <a:pt x="40" y="24"/>
                    <a:pt x="40" y="22"/>
                    <a:pt x="40" y="21"/>
                  </a:cubicBezTo>
                  <a:cubicBezTo>
                    <a:pt x="40" y="20"/>
                    <a:pt x="40" y="20"/>
                    <a:pt x="40" y="20"/>
                  </a:cubicBezTo>
                  <a:cubicBezTo>
                    <a:pt x="41" y="20"/>
                    <a:pt x="41" y="20"/>
                    <a:pt x="41" y="20"/>
                  </a:cubicBezTo>
                  <a:cubicBezTo>
                    <a:pt x="41" y="20"/>
                    <a:pt x="42" y="20"/>
                    <a:pt x="42" y="20"/>
                  </a:cubicBezTo>
                  <a:cubicBezTo>
                    <a:pt x="45" y="20"/>
                    <a:pt x="48" y="19"/>
                    <a:pt x="49" y="16"/>
                  </a:cubicBezTo>
                  <a:cubicBezTo>
                    <a:pt x="50" y="14"/>
                    <a:pt x="55" y="11"/>
                    <a:pt x="64" y="11"/>
                  </a:cubicBezTo>
                  <a:cubicBezTo>
                    <a:pt x="73" y="11"/>
                    <a:pt x="78" y="14"/>
                    <a:pt x="79" y="16"/>
                  </a:cubicBezTo>
                  <a:cubicBezTo>
                    <a:pt x="80" y="20"/>
                    <a:pt x="77" y="25"/>
                    <a:pt x="76" y="28"/>
                  </a:cubicBezTo>
                  <a:cubicBezTo>
                    <a:pt x="75" y="30"/>
                    <a:pt x="74" y="31"/>
                    <a:pt x="74" y="33"/>
                  </a:cubicBezTo>
                  <a:cubicBezTo>
                    <a:pt x="74" y="35"/>
                    <a:pt x="76" y="37"/>
                    <a:pt x="78" y="38"/>
                  </a:cubicBezTo>
                  <a:cubicBezTo>
                    <a:pt x="80" y="39"/>
                    <a:pt x="80" y="39"/>
                    <a:pt x="80" y="39"/>
                  </a:cubicBezTo>
                  <a:cubicBezTo>
                    <a:pt x="78" y="40"/>
                    <a:pt x="78" y="40"/>
                    <a:pt x="78" y="40"/>
                  </a:cubicBezTo>
                  <a:cubicBezTo>
                    <a:pt x="76" y="41"/>
                    <a:pt x="74" y="43"/>
                    <a:pt x="74" y="45"/>
                  </a:cubicBezTo>
                  <a:cubicBezTo>
                    <a:pt x="74" y="55"/>
                    <a:pt x="71" y="58"/>
                    <a:pt x="70" y="59"/>
                  </a:cubicBezTo>
                  <a:cubicBezTo>
                    <a:pt x="69" y="60"/>
                    <a:pt x="68" y="62"/>
                    <a:pt x="68" y="64"/>
                  </a:cubicBezTo>
                  <a:cubicBezTo>
                    <a:pt x="68" y="79"/>
                    <a:pt x="68" y="79"/>
                    <a:pt x="68" y="79"/>
                  </a:cubicBezTo>
                  <a:cubicBezTo>
                    <a:pt x="68" y="81"/>
                    <a:pt x="69" y="84"/>
                    <a:pt x="72" y="84"/>
                  </a:cubicBezTo>
                  <a:cubicBezTo>
                    <a:pt x="75" y="86"/>
                    <a:pt x="79" y="87"/>
                    <a:pt x="82" y="88"/>
                  </a:cubicBezTo>
                  <a:cubicBezTo>
                    <a:pt x="98" y="94"/>
                    <a:pt x="107" y="98"/>
                    <a:pt x="108" y="101"/>
                  </a:cubicBezTo>
                  <a:cubicBezTo>
                    <a:pt x="110" y="105"/>
                    <a:pt x="111" y="113"/>
                    <a:pt x="111" y="124"/>
                  </a:cubicBezTo>
                  <a:cubicBezTo>
                    <a:pt x="111" y="124"/>
                    <a:pt x="111" y="124"/>
                    <a:pt x="111" y="124"/>
                  </a:cubicBezTo>
                  <a:cubicBezTo>
                    <a:pt x="111" y="125"/>
                    <a:pt x="111" y="125"/>
                    <a:pt x="111" y="125"/>
                  </a:cubicBezTo>
                  <a:cubicBezTo>
                    <a:pt x="106" y="127"/>
                    <a:pt x="89" y="137"/>
                    <a:pt x="61" y="137"/>
                  </a:cubicBezTo>
                  <a:cubicBezTo>
                    <a:pt x="33" y="137"/>
                    <a:pt x="16" y="127"/>
                    <a:pt x="12" y="125"/>
                  </a:cubicBezTo>
                  <a:cubicBezTo>
                    <a:pt x="12" y="124"/>
                    <a:pt x="12" y="124"/>
                    <a:pt x="12"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grpSp>
      <p:sp>
        <p:nvSpPr>
          <p:cNvPr id="50" name="Rectangle 49">
            <a:extLst>
              <a:ext uri="{FF2B5EF4-FFF2-40B4-BE49-F238E27FC236}">
                <a16:creationId xmlns:a16="http://schemas.microsoft.com/office/drawing/2014/main" id="{E645E8FB-169A-4901-888F-DB9FFB588AE0}"/>
              </a:ext>
            </a:extLst>
          </p:cNvPr>
          <p:cNvSpPr/>
          <p:nvPr/>
        </p:nvSpPr>
        <p:spPr>
          <a:xfrm>
            <a:off x="9677443" y="1754584"/>
            <a:ext cx="2214299" cy="4634984"/>
          </a:xfrm>
          <a:prstGeom prst="rect">
            <a:avLst/>
          </a:prstGeom>
          <a:solidFill>
            <a:schemeClr val="bg1">
              <a:lumMod val="95000"/>
            </a:schemeClr>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90000"/>
              </a:lnSpc>
              <a:spcBef>
                <a:spcPts val="375"/>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a:p>
            <a:pPr marL="187200" marR="0" lvl="0" indent="-187200" algn="l"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p:txBody>
      </p:sp>
      <p:sp>
        <p:nvSpPr>
          <p:cNvPr id="51" name="Rectangle 50">
            <a:extLst>
              <a:ext uri="{FF2B5EF4-FFF2-40B4-BE49-F238E27FC236}">
                <a16:creationId xmlns:a16="http://schemas.microsoft.com/office/drawing/2014/main" id="{30E17F1E-B613-4FB2-9C12-BB61DC7BA54A}"/>
              </a:ext>
            </a:extLst>
          </p:cNvPr>
          <p:cNvSpPr/>
          <p:nvPr/>
        </p:nvSpPr>
        <p:spPr>
          <a:xfrm>
            <a:off x="9902671" y="2979117"/>
            <a:ext cx="1920032" cy="9248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a:ea typeface="+mn-ea"/>
                <a:cs typeface="+mn-cs"/>
              </a:rPr>
              <a:t>Nauwe samenwerking tussen business en IV waarin de inrichtingsprincipes op het I domein een belangrijke rol innemen. Hierdoor wordt ook de transitie behapbaar voor het Sociaal domei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srgbClr val="000000"/>
              </a:solidFill>
              <a:effectLst/>
              <a:uLnTx/>
              <a:uFillTx/>
              <a:latin typeface="Corbel"/>
              <a:ea typeface="+mn-ea"/>
              <a:cs typeface="+mn-cs"/>
            </a:endParaRPr>
          </a:p>
        </p:txBody>
      </p:sp>
      <p:sp>
        <p:nvSpPr>
          <p:cNvPr id="52" name="Rectangle 51">
            <a:extLst>
              <a:ext uri="{FF2B5EF4-FFF2-40B4-BE49-F238E27FC236}">
                <a16:creationId xmlns:a16="http://schemas.microsoft.com/office/drawing/2014/main" id="{740B9DFD-9512-415C-8E73-4B4E346B5E3E}"/>
              </a:ext>
            </a:extLst>
          </p:cNvPr>
          <p:cNvSpPr/>
          <p:nvPr/>
        </p:nvSpPr>
        <p:spPr>
          <a:xfrm>
            <a:off x="9973318" y="2401339"/>
            <a:ext cx="1778738" cy="5609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orbel"/>
                <a:ea typeface="+mn-ea"/>
                <a:cs typeface="+mn-cs"/>
              </a:rPr>
              <a:t>Samenspel tussen business en I</a:t>
            </a:r>
            <a:endParaRPr kumimoji="0" lang="nl-NL" sz="1200" b="1" i="0" u="none" strike="noStrike" kern="1200" cap="none" spc="0" normalizeH="0" baseline="0" noProof="0" dirty="0">
              <a:ln>
                <a:noFill/>
              </a:ln>
              <a:solidFill>
                <a:srgbClr val="FF0000"/>
              </a:solidFill>
              <a:effectLst/>
              <a:uLnTx/>
              <a:uFillTx/>
              <a:latin typeface="Corbel"/>
              <a:ea typeface="+mn-ea"/>
              <a:cs typeface="+mn-cs"/>
            </a:endParaRPr>
          </a:p>
        </p:txBody>
      </p:sp>
      <p:sp>
        <p:nvSpPr>
          <p:cNvPr id="104" name="Rectangle 103">
            <a:extLst>
              <a:ext uri="{FF2B5EF4-FFF2-40B4-BE49-F238E27FC236}">
                <a16:creationId xmlns:a16="http://schemas.microsoft.com/office/drawing/2014/main" id="{B715135E-D0DB-4C56-80AE-B41A104DA2F4}"/>
              </a:ext>
            </a:extLst>
          </p:cNvPr>
          <p:cNvSpPr/>
          <p:nvPr/>
        </p:nvSpPr>
        <p:spPr>
          <a:xfrm>
            <a:off x="7540305" y="2979117"/>
            <a:ext cx="1920032" cy="825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a:ea typeface="+mn-ea"/>
                <a:cs typeface="+mn-cs"/>
              </a:rPr>
              <a:t>De Amsterdammer en de professional werken vanuit één portaal aan de voorkant, waarvoor de Amsterdammer de mogelijkheid heeft de professional te machtig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a:ea typeface="+mn-ea"/>
                <a:cs typeface="+mn-cs"/>
              </a:rPr>
              <a:t>Middels deze werkelijkheid wordt op een laagdrempelige en digitale manier de dienstverlening van WPI toegankelijk voor de Amsterdammer. Dit draagt tevens bij aan een vereenvoudigd IT-landschap.</a:t>
            </a:r>
          </a:p>
        </p:txBody>
      </p:sp>
      <p:sp>
        <p:nvSpPr>
          <p:cNvPr id="105" name="Rectangle 104">
            <a:extLst>
              <a:ext uri="{FF2B5EF4-FFF2-40B4-BE49-F238E27FC236}">
                <a16:creationId xmlns:a16="http://schemas.microsoft.com/office/drawing/2014/main" id="{D97DA445-DD1A-4948-8C30-D095C919F92D}"/>
              </a:ext>
            </a:extLst>
          </p:cNvPr>
          <p:cNvSpPr/>
          <p:nvPr/>
        </p:nvSpPr>
        <p:spPr>
          <a:xfrm>
            <a:off x="7331257" y="2401339"/>
            <a:ext cx="2338128" cy="500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orbel"/>
                <a:ea typeface="+mn-ea"/>
                <a:cs typeface="+mn-cs"/>
              </a:rPr>
              <a:t>E</a:t>
            </a:r>
            <a:r>
              <a:rPr kumimoji="0" lang="nl-NL" sz="1200" b="1" i="0" u="none" strike="noStrike" kern="1200" cap="none" spc="0" normalizeH="0" baseline="0" noProof="0" dirty="0">
                <a:ln>
                  <a:noFill/>
                </a:ln>
                <a:solidFill>
                  <a:srgbClr val="FF0000"/>
                </a:solidFill>
                <a:effectLst/>
                <a:uLnTx/>
                <a:uFillTx/>
                <a:latin typeface="Corbel"/>
                <a:ea typeface="+mn-ea"/>
                <a:cs typeface="+mn-cs"/>
              </a:rPr>
              <a:t>én werkelijkheid</a:t>
            </a:r>
          </a:p>
        </p:txBody>
      </p:sp>
      <p:grpSp>
        <p:nvGrpSpPr>
          <p:cNvPr id="172" name="Group 97">
            <a:extLst>
              <a:ext uri="{FF2B5EF4-FFF2-40B4-BE49-F238E27FC236}">
                <a16:creationId xmlns:a16="http://schemas.microsoft.com/office/drawing/2014/main" id="{4AFF6202-11D1-4595-AA18-2016F80D4AAC}"/>
              </a:ext>
            </a:extLst>
          </p:cNvPr>
          <p:cNvGrpSpPr>
            <a:grpSpLocks noChangeAspect="1"/>
          </p:cNvGrpSpPr>
          <p:nvPr/>
        </p:nvGrpSpPr>
        <p:grpSpPr bwMode="auto">
          <a:xfrm>
            <a:off x="8285078" y="1938392"/>
            <a:ext cx="403536" cy="434924"/>
            <a:chOff x="354" y="437"/>
            <a:chExt cx="427" cy="427"/>
          </a:xfrm>
          <a:solidFill>
            <a:schemeClr val="tx1"/>
          </a:solidFill>
        </p:grpSpPr>
        <p:sp>
          <p:nvSpPr>
            <p:cNvPr id="173" name="Freeform 98">
              <a:extLst>
                <a:ext uri="{FF2B5EF4-FFF2-40B4-BE49-F238E27FC236}">
                  <a16:creationId xmlns:a16="http://schemas.microsoft.com/office/drawing/2014/main" id="{32D64926-FED8-4AF0-9D07-878A92A898D0}"/>
                </a:ext>
              </a:extLst>
            </p:cNvPr>
            <p:cNvSpPr>
              <a:spLocks noEditPoints="1"/>
            </p:cNvSpPr>
            <p:nvPr/>
          </p:nvSpPr>
          <p:spPr bwMode="auto">
            <a:xfrm>
              <a:off x="354" y="437"/>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3" y="108"/>
                    <a:pt x="0" y="84"/>
                    <a:pt x="0" y="54"/>
                  </a:cubicBezTo>
                  <a:cubicBezTo>
                    <a:pt x="0" y="24"/>
                    <a:pt x="53" y="0"/>
                    <a:pt x="120" y="0"/>
                  </a:cubicBezTo>
                  <a:cubicBezTo>
                    <a:pt x="188" y="0"/>
                    <a:pt x="240" y="24"/>
                    <a:pt x="240" y="54"/>
                  </a:cubicBezTo>
                  <a:cubicBezTo>
                    <a:pt x="240" y="84"/>
                    <a:pt x="188" y="108"/>
                    <a:pt x="120" y="108"/>
                  </a:cubicBezTo>
                  <a:close/>
                  <a:moveTo>
                    <a:pt x="120" y="12"/>
                  </a:moveTo>
                  <a:cubicBezTo>
                    <a:pt x="57" y="12"/>
                    <a:pt x="12" y="34"/>
                    <a:pt x="12" y="54"/>
                  </a:cubicBezTo>
                  <a:cubicBezTo>
                    <a:pt x="12" y="74"/>
                    <a:pt x="57" y="96"/>
                    <a:pt x="120" y="96"/>
                  </a:cubicBezTo>
                  <a:cubicBezTo>
                    <a:pt x="184" y="96"/>
                    <a:pt x="228" y="74"/>
                    <a:pt x="228" y="54"/>
                  </a:cubicBezTo>
                  <a:cubicBezTo>
                    <a:pt x="228" y="34"/>
                    <a:pt x="184"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74" name="Freeform 99">
              <a:extLst>
                <a:ext uri="{FF2B5EF4-FFF2-40B4-BE49-F238E27FC236}">
                  <a16:creationId xmlns:a16="http://schemas.microsoft.com/office/drawing/2014/main" id="{926781AA-F08F-4007-973F-7C55642D1357}"/>
                </a:ext>
              </a:extLst>
            </p:cNvPr>
            <p:cNvSpPr>
              <a:spLocks/>
            </p:cNvSpPr>
            <p:nvPr/>
          </p:nvSpPr>
          <p:spPr bwMode="auto">
            <a:xfrm>
              <a:off x="354" y="579"/>
              <a:ext cx="187" cy="89"/>
            </a:xfrm>
            <a:custGeom>
              <a:avLst/>
              <a:gdLst>
                <a:gd name="T0" fmla="*/ 120 w 126"/>
                <a:gd name="T1" fmla="*/ 60 h 60"/>
                <a:gd name="T2" fmla="*/ 0 w 126"/>
                <a:gd name="T3" fmla="*/ 6 h 60"/>
                <a:gd name="T4" fmla="*/ 6 w 126"/>
                <a:gd name="T5" fmla="*/ 0 h 60"/>
                <a:gd name="T6" fmla="*/ 12 w 126"/>
                <a:gd name="T7" fmla="*/ 6 h 60"/>
                <a:gd name="T8" fmla="*/ 120 w 126"/>
                <a:gd name="T9" fmla="*/ 48 h 60"/>
                <a:gd name="T10" fmla="*/ 126 w 126"/>
                <a:gd name="T11" fmla="*/ 54 h 60"/>
                <a:gd name="T12" fmla="*/ 120 w 12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6" h="60">
                  <a:moveTo>
                    <a:pt x="120" y="60"/>
                  </a:moveTo>
                  <a:cubicBezTo>
                    <a:pt x="53" y="60"/>
                    <a:pt x="0" y="36"/>
                    <a:pt x="0" y="6"/>
                  </a:cubicBezTo>
                  <a:cubicBezTo>
                    <a:pt x="0" y="3"/>
                    <a:pt x="3" y="0"/>
                    <a:pt x="6" y="0"/>
                  </a:cubicBezTo>
                  <a:cubicBezTo>
                    <a:pt x="10" y="0"/>
                    <a:pt x="12" y="3"/>
                    <a:pt x="12" y="6"/>
                  </a:cubicBezTo>
                  <a:cubicBezTo>
                    <a:pt x="12" y="26"/>
                    <a:pt x="57" y="48"/>
                    <a:pt x="120" y="48"/>
                  </a:cubicBezTo>
                  <a:cubicBezTo>
                    <a:pt x="124" y="48"/>
                    <a:pt x="126" y="51"/>
                    <a:pt x="126" y="54"/>
                  </a:cubicBezTo>
                  <a:cubicBezTo>
                    <a:pt x="126" y="57"/>
                    <a:pt x="124"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75" name="Freeform 100">
              <a:extLst>
                <a:ext uri="{FF2B5EF4-FFF2-40B4-BE49-F238E27FC236}">
                  <a16:creationId xmlns:a16="http://schemas.microsoft.com/office/drawing/2014/main" id="{27633AA8-2019-415F-9886-A3FFC9EA91A6}"/>
                </a:ext>
              </a:extLst>
            </p:cNvPr>
            <p:cNvSpPr>
              <a:spLocks/>
            </p:cNvSpPr>
            <p:nvPr/>
          </p:nvSpPr>
          <p:spPr bwMode="auto">
            <a:xfrm>
              <a:off x="354" y="659"/>
              <a:ext cx="162" cy="88"/>
            </a:xfrm>
            <a:custGeom>
              <a:avLst/>
              <a:gdLst>
                <a:gd name="T0" fmla="*/ 102 w 109"/>
                <a:gd name="T1" fmla="*/ 59 h 59"/>
                <a:gd name="T2" fmla="*/ 102 w 109"/>
                <a:gd name="T3" fmla="*/ 59 h 59"/>
                <a:gd name="T4" fmla="*/ 0 w 109"/>
                <a:gd name="T5" fmla="*/ 6 h 59"/>
                <a:gd name="T6" fmla="*/ 6 w 109"/>
                <a:gd name="T7" fmla="*/ 0 h 59"/>
                <a:gd name="T8" fmla="*/ 12 w 109"/>
                <a:gd name="T9" fmla="*/ 6 h 59"/>
                <a:gd name="T10" fmla="*/ 103 w 109"/>
                <a:gd name="T11" fmla="*/ 47 h 59"/>
                <a:gd name="T12" fmla="*/ 108 w 109"/>
                <a:gd name="T13" fmla="*/ 54 h 59"/>
                <a:gd name="T14" fmla="*/ 102 w 109"/>
                <a:gd name="T15" fmla="*/ 5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59">
                  <a:moveTo>
                    <a:pt x="102" y="59"/>
                  </a:moveTo>
                  <a:cubicBezTo>
                    <a:pt x="102" y="59"/>
                    <a:pt x="102" y="59"/>
                    <a:pt x="102" y="59"/>
                  </a:cubicBezTo>
                  <a:cubicBezTo>
                    <a:pt x="42" y="55"/>
                    <a:pt x="0" y="33"/>
                    <a:pt x="0" y="6"/>
                  </a:cubicBezTo>
                  <a:cubicBezTo>
                    <a:pt x="0" y="3"/>
                    <a:pt x="3" y="0"/>
                    <a:pt x="6" y="0"/>
                  </a:cubicBezTo>
                  <a:cubicBezTo>
                    <a:pt x="10" y="0"/>
                    <a:pt x="12" y="3"/>
                    <a:pt x="12" y="6"/>
                  </a:cubicBezTo>
                  <a:cubicBezTo>
                    <a:pt x="12" y="26"/>
                    <a:pt x="52" y="44"/>
                    <a:pt x="103" y="47"/>
                  </a:cubicBezTo>
                  <a:cubicBezTo>
                    <a:pt x="106" y="48"/>
                    <a:pt x="109" y="51"/>
                    <a:pt x="108" y="54"/>
                  </a:cubicBezTo>
                  <a:cubicBezTo>
                    <a:pt x="108" y="57"/>
                    <a:pt x="106" y="59"/>
                    <a:pt x="10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76" name="Freeform 101">
              <a:extLst>
                <a:ext uri="{FF2B5EF4-FFF2-40B4-BE49-F238E27FC236}">
                  <a16:creationId xmlns:a16="http://schemas.microsoft.com/office/drawing/2014/main" id="{BCE668F4-544B-41AB-B981-B9D9F7F743DB}"/>
                </a:ext>
              </a:extLst>
            </p:cNvPr>
            <p:cNvSpPr>
              <a:spLocks/>
            </p:cNvSpPr>
            <p:nvPr/>
          </p:nvSpPr>
          <p:spPr bwMode="auto">
            <a:xfrm>
              <a:off x="354" y="508"/>
              <a:ext cx="171" cy="320"/>
            </a:xfrm>
            <a:custGeom>
              <a:avLst/>
              <a:gdLst>
                <a:gd name="T0" fmla="*/ 108 w 115"/>
                <a:gd name="T1" fmla="*/ 216 h 216"/>
                <a:gd name="T2" fmla="*/ 108 w 115"/>
                <a:gd name="T3" fmla="*/ 216 h 216"/>
                <a:gd name="T4" fmla="*/ 0 w 115"/>
                <a:gd name="T5" fmla="*/ 162 h 216"/>
                <a:gd name="T6" fmla="*/ 0 w 115"/>
                <a:gd name="T7" fmla="*/ 6 h 216"/>
                <a:gd name="T8" fmla="*/ 6 w 115"/>
                <a:gd name="T9" fmla="*/ 0 h 216"/>
                <a:gd name="T10" fmla="*/ 12 w 115"/>
                <a:gd name="T11" fmla="*/ 6 h 216"/>
                <a:gd name="T12" fmla="*/ 12 w 115"/>
                <a:gd name="T13" fmla="*/ 162 h 216"/>
                <a:gd name="T14" fmla="*/ 109 w 115"/>
                <a:gd name="T15" fmla="*/ 204 h 216"/>
                <a:gd name="T16" fmla="*/ 114 w 115"/>
                <a:gd name="T17" fmla="*/ 210 h 216"/>
                <a:gd name="T18" fmla="*/ 108 w 115"/>
                <a:gd name="T19"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16">
                  <a:moveTo>
                    <a:pt x="108" y="216"/>
                  </a:moveTo>
                  <a:cubicBezTo>
                    <a:pt x="108" y="216"/>
                    <a:pt x="108" y="216"/>
                    <a:pt x="108" y="216"/>
                  </a:cubicBezTo>
                  <a:cubicBezTo>
                    <a:pt x="46" y="213"/>
                    <a:pt x="0" y="190"/>
                    <a:pt x="0" y="162"/>
                  </a:cubicBezTo>
                  <a:cubicBezTo>
                    <a:pt x="0" y="6"/>
                    <a:pt x="0" y="6"/>
                    <a:pt x="0" y="6"/>
                  </a:cubicBezTo>
                  <a:cubicBezTo>
                    <a:pt x="0" y="3"/>
                    <a:pt x="3" y="0"/>
                    <a:pt x="6" y="0"/>
                  </a:cubicBezTo>
                  <a:cubicBezTo>
                    <a:pt x="10" y="0"/>
                    <a:pt x="12" y="3"/>
                    <a:pt x="12" y="6"/>
                  </a:cubicBezTo>
                  <a:cubicBezTo>
                    <a:pt x="12" y="162"/>
                    <a:pt x="12" y="162"/>
                    <a:pt x="12" y="162"/>
                  </a:cubicBezTo>
                  <a:cubicBezTo>
                    <a:pt x="12" y="180"/>
                    <a:pt x="49" y="201"/>
                    <a:pt x="109" y="204"/>
                  </a:cubicBezTo>
                  <a:cubicBezTo>
                    <a:pt x="112" y="204"/>
                    <a:pt x="115" y="207"/>
                    <a:pt x="114" y="210"/>
                  </a:cubicBezTo>
                  <a:cubicBezTo>
                    <a:pt x="114" y="213"/>
                    <a:pt x="112" y="216"/>
                    <a:pt x="108"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77" name="Freeform 102">
              <a:extLst>
                <a:ext uri="{FF2B5EF4-FFF2-40B4-BE49-F238E27FC236}">
                  <a16:creationId xmlns:a16="http://schemas.microsoft.com/office/drawing/2014/main" id="{0BA5A07D-14B6-498D-8B5B-C5754B6217DF}"/>
                </a:ext>
              </a:extLst>
            </p:cNvPr>
            <p:cNvSpPr>
              <a:spLocks/>
            </p:cNvSpPr>
            <p:nvPr/>
          </p:nvSpPr>
          <p:spPr bwMode="auto">
            <a:xfrm>
              <a:off x="692" y="508"/>
              <a:ext cx="18" cy="98"/>
            </a:xfrm>
            <a:custGeom>
              <a:avLst/>
              <a:gdLst>
                <a:gd name="T0" fmla="*/ 6 w 12"/>
                <a:gd name="T1" fmla="*/ 66 h 66"/>
                <a:gd name="T2" fmla="*/ 0 w 12"/>
                <a:gd name="T3" fmla="*/ 60 h 66"/>
                <a:gd name="T4" fmla="*/ 0 w 12"/>
                <a:gd name="T5" fmla="*/ 6 h 66"/>
                <a:gd name="T6" fmla="*/ 6 w 12"/>
                <a:gd name="T7" fmla="*/ 0 h 66"/>
                <a:gd name="T8" fmla="*/ 12 w 12"/>
                <a:gd name="T9" fmla="*/ 6 h 66"/>
                <a:gd name="T10" fmla="*/ 12 w 12"/>
                <a:gd name="T11" fmla="*/ 60 h 66"/>
                <a:gd name="T12" fmla="*/ 6 w 12"/>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2" h="66">
                  <a:moveTo>
                    <a:pt x="6" y="66"/>
                  </a:moveTo>
                  <a:cubicBezTo>
                    <a:pt x="3" y="66"/>
                    <a:pt x="0" y="63"/>
                    <a:pt x="0" y="60"/>
                  </a:cubicBezTo>
                  <a:cubicBezTo>
                    <a:pt x="0" y="6"/>
                    <a:pt x="0" y="6"/>
                    <a:pt x="0" y="6"/>
                  </a:cubicBezTo>
                  <a:cubicBezTo>
                    <a:pt x="0" y="3"/>
                    <a:pt x="3" y="0"/>
                    <a:pt x="6" y="0"/>
                  </a:cubicBezTo>
                  <a:cubicBezTo>
                    <a:pt x="10" y="0"/>
                    <a:pt x="12" y="3"/>
                    <a:pt x="12" y="6"/>
                  </a:cubicBezTo>
                  <a:cubicBezTo>
                    <a:pt x="12" y="60"/>
                    <a:pt x="12" y="60"/>
                    <a:pt x="12" y="60"/>
                  </a:cubicBezTo>
                  <a:cubicBezTo>
                    <a:pt x="12" y="63"/>
                    <a:pt x="10" y="66"/>
                    <a:pt x="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78" name="Freeform 103">
              <a:extLst>
                <a:ext uri="{FF2B5EF4-FFF2-40B4-BE49-F238E27FC236}">
                  <a16:creationId xmlns:a16="http://schemas.microsoft.com/office/drawing/2014/main" id="{7C4BCBF8-1684-4A07-8650-048A5C46A9E7}"/>
                </a:ext>
              </a:extLst>
            </p:cNvPr>
            <p:cNvSpPr>
              <a:spLocks noEditPoints="1"/>
            </p:cNvSpPr>
            <p:nvPr/>
          </p:nvSpPr>
          <p:spPr bwMode="auto">
            <a:xfrm>
              <a:off x="692" y="650"/>
              <a:ext cx="89" cy="8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7"/>
                    <a:pt x="0" y="30"/>
                  </a:cubicBezTo>
                  <a:cubicBezTo>
                    <a:pt x="0" y="13"/>
                    <a:pt x="14" y="0"/>
                    <a:pt x="30" y="0"/>
                  </a:cubicBezTo>
                  <a:cubicBezTo>
                    <a:pt x="47" y="0"/>
                    <a:pt x="60" y="13"/>
                    <a:pt x="60" y="30"/>
                  </a:cubicBezTo>
                  <a:cubicBezTo>
                    <a:pt x="60" y="47"/>
                    <a:pt x="47" y="60"/>
                    <a:pt x="30" y="60"/>
                  </a:cubicBezTo>
                  <a:close/>
                  <a:moveTo>
                    <a:pt x="30" y="12"/>
                  </a:moveTo>
                  <a:cubicBezTo>
                    <a:pt x="21" y="12"/>
                    <a:pt x="12" y="20"/>
                    <a:pt x="12" y="30"/>
                  </a:cubicBezTo>
                  <a:cubicBezTo>
                    <a:pt x="12" y="40"/>
                    <a:pt x="21"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79" name="Freeform 104">
              <a:extLst>
                <a:ext uri="{FF2B5EF4-FFF2-40B4-BE49-F238E27FC236}">
                  <a16:creationId xmlns:a16="http://schemas.microsoft.com/office/drawing/2014/main" id="{A08F2923-E257-47B4-9E07-1762A9CED917}"/>
                </a:ext>
              </a:extLst>
            </p:cNvPr>
            <p:cNvSpPr>
              <a:spLocks noEditPoints="1"/>
            </p:cNvSpPr>
            <p:nvPr/>
          </p:nvSpPr>
          <p:spPr bwMode="auto">
            <a:xfrm>
              <a:off x="692" y="775"/>
              <a:ext cx="89" cy="8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7"/>
                    <a:pt x="0" y="30"/>
                  </a:cubicBezTo>
                  <a:cubicBezTo>
                    <a:pt x="0" y="13"/>
                    <a:pt x="14" y="0"/>
                    <a:pt x="30" y="0"/>
                  </a:cubicBezTo>
                  <a:cubicBezTo>
                    <a:pt x="47" y="0"/>
                    <a:pt x="60" y="13"/>
                    <a:pt x="60" y="30"/>
                  </a:cubicBezTo>
                  <a:cubicBezTo>
                    <a:pt x="60" y="47"/>
                    <a:pt x="47" y="60"/>
                    <a:pt x="30" y="60"/>
                  </a:cubicBezTo>
                  <a:close/>
                  <a:moveTo>
                    <a:pt x="30" y="12"/>
                  </a:moveTo>
                  <a:cubicBezTo>
                    <a:pt x="21" y="12"/>
                    <a:pt x="12" y="20"/>
                    <a:pt x="12" y="30"/>
                  </a:cubicBezTo>
                  <a:cubicBezTo>
                    <a:pt x="12" y="40"/>
                    <a:pt x="21"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80" name="Freeform 105">
              <a:extLst>
                <a:ext uri="{FF2B5EF4-FFF2-40B4-BE49-F238E27FC236}">
                  <a16:creationId xmlns:a16="http://schemas.microsoft.com/office/drawing/2014/main" id="{59FBFFA4-53F2-450C-9C83-911E61CA3901}"/>
                </a:ext>
              </a:extLst>
            </p:cNvPr>
            <p:cNvSpPr>
              <a:spLocks noEditPoints="1"/>
            </p:cNvSpPr>
            <p:nvPr/>
          </p:nvSpPr>
          <p:spPr bwMode="auto">
            <a:xfrm>
              <a:off x="550" y="721"/>
              <a:ext cx="89" cy="8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7"/>
                    <a:pt x="0" y="30"/>
                  </a:cubicBezTo>
                  <a:cubicBezTo>
                    <a:pt x="0" y="13"/>
                    <a:pt x="14" y="0"/>
                    <a:pt x="30" y="0"/>
                  </a:cubicBezTo>
                  <a:cubicBezTo>
                    <a:pt x="47" y="0"/>
                    <a:pt x="60" y="13"/>
                    <a:pt x="60" y="30"/>
                  </a:cubicBezTo>
                  <a:cubicBezTo>
                    <a:pt x="60" y="47"/>
                    <a:pt x="47" y="60"/>
                    <a:pt x="30" y="60"/>
                  </a:cubicBezTo>
                  <a:close/>
                  <a:moveTo>
                    <a:pt x="30" y="12"/>
                  </a:moveTo>
                  <a:cubicBezTo>
                    <a:pt x="21" y="12"/>
                    <a:pt x="12" y="20"/>
                    <a:pt x="12" y="30"/>
                  </a:cubicBezTo>
                  <a:cubicBezTo>
                    <a:pt x="12" y="40"/>
                    <a:pt x="21"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81" name="Freeform 106">
              <a:extLst>
                <a:ext uri="{FF2B5EF4-FFF2-40B4-BE49-F238E27FC236}">
                  <a16:creationId xmlns:a16="http://schemas.microsoft.com/office/drawing/2014/main" id="{F3EA86C3-C708-487D-8CB5-996777425DD8}"/>
                </a:ext>
              </a:extLst>
            </p:cNvPr>
            <p:cNvSpPr>
              <a:spLocks/>
            </p:cNvSpPr>
            <p:nvPr/>
          </p:nvSpPr>
          <p:spPr bwMode="auto">
            <a:xfrm>
              <a:off x="617" y="701"/>
              <a:ext cx="99" cy="57"/>
            </a:xfrm>
            <a:custGeom>
              <a:avLst/>
              <a:gdLst>
                <a:gd name="T0" fmla="*/ 7 w 67"/>
                <a:gd name="T1" fmla="*/ 39 h 39"/>
                <a:gd name="T2" fmla="*/ 2 w 67"/>
                <a:gd name="T3" fmla="*/ 36 h 39"/>
                <a:gd name="T4" fmla="*/ 4 w 67"/>
                <a:gd name="T5" fmla="*/ 28 h 39"/>
                <a:gd name="T6" fmla="*/ 57 w 67"/>
                <a:gd name="T7" fmla="*/ 1 h 39"/>
                <a:gd name="T8" fmla="*/ 65 w 67"/>
                <a:gd name="T9" fmla="*/ 4 h 39"/>
                <a:gd name="T10" fmla="*/ 63 w 67"/>
                <a:gd name="T11" fmla="*/ 12 h 39"/>
                <a:gd name="T12" fmla="*/ 10 w 67"/>
                <a:gd name="T13" fmla="*/ 39 h 39"/>
                <a:gd name="T14" fmla="*/ 7 w 67"/>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39">
                  <a:moveTo>
                    <a:pt x="7" y="39"/>
                  </a:moveTo>
                  <a:cubicBezTo>
                    <a:pt x="5" y="39"/>
                    <a:pt x="3" y="38"/>
                    <a:pt x="2" y="36"/>
                  </a:cubicBezTo>
                  <a:cubicBezTo>
                    <a:pt x="0" y="33"/>
                    <a:pt x="1" y="29"/>
                    <a:pt x="4" y="28"/>
                  </a:cubicBezTo>
                  <a:cubicBezTo>
                    <a:pt x="57" y="1"/>
                    <a:pt x="57" y="1"/>
                    <a:pt x="57" y="1"/>
                  </a:cubicBezTo>
                  <a:cubicBezTo>
                    <a:pt x="60" y="0"/>
                    <a:pt x="64" y="1"/>
                    <a:pt x="65" y="4"/>
                  </a:cubicBezTo>
                  <a:cubicBezTo>
                    <a:pt x="67" y="7"/>
                    <a:pt x="66" y="11"/>
                    <a:pt x="63" y="12"/>
                  </a:cubicBezTo>
                  <a:cubicBezTo>
                    <a:pt x="10" y="39"/>
                    <a:pt x="10" y="39"/>
                    <a:pt x="10" y="39"/>
                  </a:cubicBezTo>
                  <a:cubicBezTo>
                    <a:pt x="9" y="39"/>
                    <a:pt x="8" y="39"/>
                    <a:pt x="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82" name="Freeform 107">
              <a:extLst>
                <a:ext uri="{FF2B5EF4-FFF2-40B4-BE49-F238E27FC236}">
                  <a16:creationId xmlns:a16="http://schemas.microsoft.com/office/drawing/2014/main" id="{C5EB0B3F-1582-4862-BFDF-6C5EC1B075D1}"/>
                </a:ext>
              </a:extLst>
            </p:cNvPr>
            <p:cNvSpPr>
              <a:spLocks/>
            </p:cNvSpPr>
            <p:nvPr/>
          </p:nvSpPr>
          <p:spPr bwMode="auto">
            <a:xfrm>
              <a:off x="618" y="769"/>
              <a:ext cx="96" cy="47"/>
            </a:xfrm>
            <a:custGeom>
              <a:avLst/>
              <a:gdLst>
                <a:gd name="T0" fmla="*/ 58 w 65"/>
                <a:gd name="T1" fmla="*/ 32 h 32"/>
                <a:gd name="T2" fmla="*/ 56 w 65"/>
                <a:gd name="T3" fmla="*/ 31 h 32"/>
                <a:gd name="T4" fmla="*/ 5 w 65"/>
                <a:gd name="T5" fmla="*/ 12 h 32"/>
                <a:gd name="T6" fmla="*/ 1 w 65"/>
                <a:gd name="T7" fmla="*/ 4 h 32"/>
                <a:gd name="T8" fmla="*/ 9 w 65"/>
                <a:gd name="T9" fmla="*/ 1 h 32"/>
                <a:gd name="T10" fmla="*/ 60 w 65"/>
                <a:gd name="T11" fmla="*/ 20 h 32"/>
                <a:gd name="T12" fmla="*/ 64 w 65"/>
                <a:gd name="T13" fmla="*/ 28 h 32"/>
                <a:gd name="T14" fmla="*/ 58 w 6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32">
                  <a:moveTo>
                    <a:pt x="58" y="32"/>
                  </a:moveTo>
                  <a:cubicBezTo>
                    <a:pt x="57" y="32"/>
                    <a:pt x="57" y="31"/>
                    <a:pt x="56" y="31"/>
                  </a:cubicBezTo>
                  <a:cubicBezTo>
                    <a:pt x="5" y="12"/>
                    <a:pt x="5" y="12"/>
                    <a:pt x="5" y="12"/>
                  </a:cubicBezTo>
                  <a:cubicBezTo>
                    <a:pt x="2" y="11"/>
                    <a:pt x="0" y="7"/>
                    <a:pt x="1" y="4"/>
                  </a:cubicBezTo>
                  <a:cubicBezTo>
                    <a:pt x="2" y="1"/>
                    <a:pt x="6" y="0"/>
                    <a:pt x="9" y="1"/>
                  </a:cubicBezTo>
                  <a:cubicBezTo>
                    <a:pt x="60" y="20"/>
                    <a:pt x="60" y="20"/>
                    <a:pt x="60" y="20"/>
                  </a:cubicBezTo>
                  <a:cubicBezTo>
                    <a:pt x="63" y="21"/>
                    <a:pt x="65" y="25"/>
                    <a:pt x="64" y="28"/>
                  </a:cubicBezTo>
                  <a:cubicBezTo>
                    <a:pt x="63" y="30"/>
                    <a:pt x="60" y="32"/>
                    <a:pt x="5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Corbel"/>
                <a:ea typeface="+mn-ea"/>
                <a:cs typeface="+mn-cs"/>
              </a:endParaRPr>
            </a:p>
          </p:txBody>
        </p:sp>
      </p:grpSp>
      <p:sp>
        <p:nvSpPr>
          <p:cNvPr id="55" name="Rectangle 54">
            <a:extLst>
              <a:ext uri="{FF2B5EF4-FFF2-40B4-BE49-F238E27FC236}">
                <a16:creationId xmlns:a16="http://schemas.microsoft.com/office/drawing/2014/main" id="{0D611701-7683-48B9-8CF0-1D8614B2FC45}"/>
              </a:ext>
            </a:extLst>
          </p:cNvPr>
          <p:cNvSpPr/>
          <p:nvPr/>
        </p:nvSpPr>
        <p:spPr>
          <a:xfrm>
            <a:off x="2319980" y="2401339"/>
            <a:ext cx="2925123" cy="500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200" b="1" dirty="0">
                <a:solidFill>
                  <a:srgbClr val="FF0000"/>
                </a:solidFill>
                <a:latin typeface="Corbel"/>
              </a:rPr>
              <a:t>Meer </a:t>
            </a:r>
            <a:r>
              <a:rPr kumimoji="0" lang="nl-NL" sz="1200" b="1" i="0" u="none" strike="noStrike" kern="1200" cap="none" spc="0" normalizeH="0" baseline="0" noProof="0" dirty="0">
                <a:ln>
                  <a:noFill/>
                </a:ln>
                <a:solidFill>
                  <a:srgbClr val="FF0000"/>
                </a:solidFill>
                <a:effectLst/>
                <a:uLnTx/>
                <a:uFillTx/>
                <a:latin typeface="Corbel"/>
                <a:ea typeface="+mn-ea"/>
                <a:cs typeface="+mn-cs"/>
              </a:rPr>
              <a:t>regie bij de Amsterdammer</a:t>
            </a:r>
          </a:p>
        </p:txBody>
      </p:sp>
      <p:grpSp>
        <p:nvGrpSpPr>
          <p:cNvPr id="130" name="Group 54">
            <a:extLst>
              <a:ext uri="{FF2B5EF4-FFF2-40B4-BE49-F238E27FC236}">
                <a16:creationId xmlns:a16="http://schemas.microsoft.com/office/drawing/2014/main" id="{C80D37B7-783C-4148-81D8-77F5F4485F96}"/>
              </a:ext>
            </a:extLst>
          </p:cNvPr>
          <p:cNvGrpSpPr>
            <a:grpSpLocks noChangeAspect="1"/>
          </p:cNvGrpSpPr>
          <p:nvPr/>
        </p:nvGrpSpPr>
        <p:grpSpPr bwMode="auto">
          <a:xfrm>
            <a:off x="10619284" y="1952915"/>
            <a:ext cx="486806" cy="434924"/>
            <a:chOff x="6718" y="681"/>
            <a:chExt cx="441" cy="394"/>
          </a:xfrm>
          <a:solidFill>
            <a:schemeClr val="tx1"/>
          </a:solidFill>
        </p:grpSpPr>
        <p:sp>
          <p:nvSpPr>
            <p:cNvPr id="131" name="Freeform 55">
              <a:extLst>
                <a:ext uri="{FF2B5EF4-FFF2-40B4-BE49-F238E27FC236}">
                  <a16:creationId xmlns:a16="http://schemas.microsoft.com/office/drawing/2014/main" id="{EED189B0-7A7A-4EDA-ACC1-CE899D6D3569}"/>
                </a:ext>
              </a:extLst>
            </p:cNvPr>
            <p:cNvSpPr>
              <a:spLocks noEditPoints="1"/>
            </p:cNvSpPr>
            <p:nvPr/>
          </p:nvSpPr>
          <p:spPr bwMode="auto">
            <a:xfrm>
              <a:off x="6883" y="681"/>
              <a:ext cx="110"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7" y="72"/>
                    <a:pt x="0" y="55"/>
                    <a:pt x="0" y="36"/>
                  </a:cubicBezTo>
                  <a:cubicBezTo>
                    <a:pt x="0" y="16"/>
                    <a:pt x="17"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50" y="60"/>
                    <a:pt x="60" y="49"/>
                    <a:pt x="60" y="36"/>
                  </a:cubicBezTo>
                  <a:cubicBezTo>
                    <a:pt x="60" y="22"/>
                    <a:pt x="50"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32" name="Freeform 56">
              <a:extLst>
                <a:ext uri="{FF2B5EF4-FFF2-40B4-BE49-F238E27FC236}">
                  <a16:creationId xmlns:a16="http://schemas.microsoft.com/office/drawing/2014/main" id="{D05108D4-D1BF-48E4-BCA6-138A70202B3C}"/>
                </a:ext>
              </a:extLst>
            </p:cNvPr>
            <p:cNvSpPr>
              <a:spLocks noEditPoints="1"/>
            </p:cNvSpPr>
            <p:nvPr/>
          </p:nvSpPr>
          <p:spPr bwMode="auto">
            <a:xfrm>
              <a:off x="7030" y="717"/>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33" name="Freeform 57">
              <a:extLst>
                <a:ext uri="{FF2B5EF4-FFF2-40B4-BE49-F238E27FC236}">
                  <a16:creationId xmlns:a16="http://schemas.microsoft.com/office/drawing/2014/main" id="{B978AD38-8E36-4F7F-99D9-C85DE7B79B73}"/>
                </a:ext>
              </a:extLst>
            </p:cNvPr>
            <p:cNvSpPr>
              <a:spLocks noEditPoints="1"/>
            </p:cNvSpPr>
            <p:nvPr/>
          </p:nvSpPr>
          <p:spPr bwMode="auto">
            <a:xfrm>
              <a:off x="6773" y="717"/>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34" name="Freeform 58">
              <a:extLst>
                <a:ext uri="{FF2B5EF4-FFF2-40B4-BE49-F238E27FC236}">
                  <a16:creationId xmlns:a16="http://schemas.microsoft.com/office/drawing/2014/main" id="{E632801A-52EA-4819-B527-8AD9C20051AE}"/>
                </a:ext>
              </a:extLst>
            </p:cNvPr>
            <p:cNvSpPr>
              <a:spLocks noEditPoints="1"/>
            </p:cNvSpPr>
            <p:nvPr/>
          </p:nvSpPr>
          <p:spPr bwMode="auto">
            <a:xfrm>
              <a:off x="6718" y="989"/>
              <a:ext cx="441" cy="86"/>
            </a:xfrm>
            <a:custGeom>
              <a:avLst/>
              <a:gdLst>
                <a:gd name="T0" fmla="*/ 144 w 288"/>
                <a:gd name="T1" fmla="*/ 58 h 58"/>
                <a:gd name="T2" fmla="*/ 0 w 288"/>
                <a:gd name="T3" fmla="*/ 28 h 58"/>
                <a:gd name="T4" fmla="*/ 83 w 288"/>
                <a:gd name="T5" fmla="*/ 0 h 58"/>
                <a:gd name="T6" fmla="*/ 90 w 288"/>
                <a:gd name="T7" fmla="*/ 6 h 58"/>
                <a:gd name="T8" fmla="*/ 84 w 288"/>
                <a:gd name="T9" fmla="*/ 12 h 58"/>
                <a:gd name="T10" fmla="*/ 13 w 288"/>
                <a:gd name="T11" fmla="*/ 28 h 58"/>
                <a:gd name="T12" fmla="*/ 144 w 288"/>
                <a:gd name="T13" fmla="*/ 46 h 58"/>
                <a:gd name="T14" fmla="*/ 276 w 288"/>
                <a:gd name="T15" fmla="*/ 28 h 58"/>
                <a:gd name="T16" fmla="*/ 204 w 288"/>
                <a:gd name="T17" fmla="*/ 12 h 58"/>
                <a:gd name="T18" fmla="*/ 198 w 288"/>
                <a:gd name="T19" fmla="*/ 6 h 58"/>
                <a:gd name="T20" fmla="*/ 205 w 288"/>
                <a:gd name="T21" fmla="*/ 0 h 58"/>
                <a:gd name="T22" fmla="*/ 288 w 288"/>
                <a:gd name="T23" fmla="*/ 28 h 58"/>
                <a:gd name="T24" fmla="*/ 144 w 288"/>
                <a:gd name="T25" fmla="*/ 58 h 58"/>
                <a:gd name="T26" fmla="*/ 277 w 288"/>
                <a:gd name="T27" fmla="*/ 28 h 58"/>
                <a:gd name="T28" fmla="*/ 277 w 288"/>
                <a:gd name="T29"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8">
                  <a:moveTo>
                    <a:pt x="144" y="58"/>
                  </a:moveTo>
                  <a:cubicBezTo>
                    <a:pt x="130" y="58"/>
                    <a:pt x="0" y="57"/>
                    <a:pt x="0" y="28"/>
                  </a:cubicBezTo>
                  <a:cubicBezTo>
                    <a:pt x="0" y="14"/>
                    <a:pt x="28" y="5"/>
                    <a:pt x="83" y="0"/>
                  </a:cubicBezTo>
                  <a:cubicBezTo>
                    <a:pt x="87" y="0"/>
                    <a:pt x="90" y="2"/>
                    <a:pt x="90" y="6"/>
                  </a:cubicBezTo>
                  <a:cubicBezTo>
                    <a:pt x="90" y="9"/>
                    <a:pt x="88" y="12"/>
                    <a:pt x="84" y="12"/>
                  </a:cubicBezTo>
                  <a:cubicBezTo>
                    <a:pt x="33" y="16"/>
                    <a:pt x="16" y="24"/>
                    <a:pt x="13" y="28"/>
                  </a:cubicBezTo>
                  <a:cubicBezTo>
                    <a:pt x="19" y="34"/>
                    <a:pt x="65" y="46"/>
                    <a:pt x="144" y="46"/>
                  </a:cubicBezTo>
                  <a:cubicBezTo>
                    <a:pt x="223" y="46"/>
                    <a:pt x="270" y="34"/>
                    <a:pt x="276" y="28"/>
                  </a:cubicBezTo>
                  <a:cubicBezTo>
                    <a:pt x="273" y="24"/>
                    <a:pt x="255" y="16"/>
                    <a:pt x="204" y="12"/>
                  </a:cubicBezTo>
                  <a:cubicBezTo>
                    <a:pt x="201" y="12"/>
                    <a:pt x="198" y="9"/>
                    <a:pt x="198" y="6"/>
                  </a:cubicBezTo>
                  <a:cubicBezTo>
                    <a:pt x="199" y="2"/>
                    <a:pt x="202" y="0"/>
                    <a:pt x="205" y="0"/>
                  </a:cubicBezTo>
                  <a:cubicBezTo>
                    <a:pt x="260" y="5"/>
                    <a:pt x="288" y="14"/>
                    <a:pt x="288" y="28"/>
                  </a:cubicBezTo>
                  <a:cubicBezTo>
                    <a:pt x="288" y="57"/>
                    <a:pt x="159" y="58"/>
                    <a:pt x="144" y="58"/>
                  </a:cubicBezTo>
                  <a:close/>
                  <a:moveTo>
                    <a:pt x="277" y="28"/>
                  </a:moveTo>
                  <a:cubicBezTo>
                    <a:pt x="277" y="28"/>
                    <a:pt x="277" y="28"/>
                    <a:pt x="27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35" name="Freeform 59">
              <a:extLst>
                <a:ext uri="{FF2B5EF4-FFF2-40B4-BE49-F238E27FC236}">
                  <a16:creationId xmlns:a16="http://schemas.microsoft.com/office/drawing/2014/main" id="{9F73C27B-3044-4223-9D73-E3B233DA9F18}"/>
                </a:ext>
              </a:extLst>
            </p:cNvPr>
            <p:cNvSpPr>
              <a:spLocks noEditPoints="1"/>
            </p:cNvSpPr>
            <p:nvPr/>
          </p:nvSpPr>
          <p:spPr bwMode="auto">
            <a:xfrm>
              <a:off x="6883" y="806"/>
              <a:ext cx="110" cy="180"/>
            </a:xfrm>
            <a:custGeom>
              <a:avLst/>
              <a:gdLst>
                <a:gd name="T0" fmla="*/ 66 w 72"/>
                <a:gd name="T1" fmla="*/ 120 h 120"/>
                <a:gd name="T2" fmla="*/ 6 w 72"/>
                <a:gd name="T3" fmla="*/ 120 h 120"/>
                <a:gd name="T4" fmla="*/ 0 w 72"/>
                <a:gd name="T5" fmla="*/ 114 h 120"/>
                <a:gd name="T6" fmla="*/ 0 w 72"/>
                <a:gd name="T7" fmla="*/ 36 h 120"/>
                <a:gd name="T8" fmla="*/ 36 w 72"/>
                <a:gd name="T9" fmla="*/ 0 h 120"/>
                <a:gd name="T10" fmla="*/ 72 w 72"/>
                <a:gd name="T11" fmla="*/ 36 h 120"/>
                <a:gd name="T12" fmla="*/ 72 w 72"/>
                <a:gd name="T13" fmla="*/ 114 h 120"/>
                <a:gd name="T14" fmla="*/ 66 w 72"/>
                <a:gd name="T15" fmla="*/ 120 h 120"/>
                <a:gd name="T16" fmla="*/ 12 w 72"/>
                <a:gd name="T17" fmla="*/ 108 h 120"/>
                <a:gd name="T18" fmla="*/ 60 w 72"/>
                <a:gd name="T19" fmla="*/ 108 h 120"/>
                <a:gd name="T20" fmla="*/ 60 w 72"/>
                <a:gd name="T21" fmla="*/ 36 h 120"/>
                <a:gd name="T22" fmla="*/ 36 w 72"/>
                <a:gd name="T23" fmla="*/ 12 h 120"/>
                <a:gd name="T24" fmla="*/ 12 w 72"/>
                <a:gd name="T25" fmla="*/ 36 h 120"/>
                <a:gd name="T26" fmla="*/ 12 w 72"/>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20">
                  <a:moveTo>
                    <a:pt x="66" y="120"/>
                  </a:moveTo>
                  <a:cubicBezTo>
                    <a:pt x="6" y="120"/>
                    <a:pt x="6" y="120"/>
                    <a:pt x="6" y="120"/>
                  </a:cubicBezTo>
                  <a:cubicBezTo>
                    <a:pt x="3" y="120"/>
                    <a:pt x="0" y="117"/>
                    <a:pt x="0" y="114"/>
                  </a:cubicBezTo>
                  <a:cubicBezTo>
                    <a:pt x="0" y="36"/>
                    <a:pt x="0" y="36"/>
                    <a:pt x="0" y="36"/>
                  </a:cubicBezTo>
                  <a:cubicBezTo>
                    <a:pt x="0" y="16"/>
                    <a:pt x="17" y="0"/>
                    <a:pt x="36" y="0"/>
                  </a:cubicBezTo>
                  <a:cubicBezTo>
                    <a:pt x="56" y="0"/>
                    <a:pt x="72" y="16"/>
                    <a:pt x="72" y="36"/>
                  </a:cubicBezTo>
                  <a:cubicBezTo>
                    <a:pt x="72" y="114"/>
                    <a:pt x="72" y="114"/>
                    <a:pt x="72" y="114"/>
                  </a:cubicBezTo>
                  <a:cubicBezTo>
                    <a:pt x="72" y="117"/>
                    <a:pt x="70" y="120"/>
                    <a:pt x="66" y="120"/>
                  </a:cubicBezTo>
                  <a:close/>
                  <a:moveTo>
                    <a:pt x="12" y="108"/>
                  </a:moveTo>
                  <a:cubicBezTo>
                    <a:pt x="60" y="108"/>
                    <a:pt x="60" y="108"/>
                    <a:pt x="60" y="108"/>
                  </a:cubicBezTo>
                  <a:cubicBezTo>
                    <a:pt x="60" y="36"/>
                    <a:pt x="60" y="36"/>
                    <a:pt x="60" y="36"/>
                  </a:cubicBezTo>
                  <a:cubicBezTo>
                    <a:pt x="60" y="22"/>
                    <a:pt x="50" y="12"/>
                    <a:pt x="36" y="12"/>
                  </a:cubicBezTo>
                  <a:cubicBezTo>
                    <a:pt x="23" y="12"/>
                    <a:pt x="12" y="22"/>
                    <a:pt x="12" y="36"/>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36" name="Freeform 60">
              <a:extLst>
                <a:ext uri="{FF2B5EF4-FFF2-40B4-BE49-F238E27FC236}">
                  <a16:creationId xmlns:a16="http://schemas.microsoft.com/office/drawing/2014/main" id="{1A7D2E2E-469E-4BF2-819D-60415B327761}"/>
                </a:ext>
              </a:extLst>
            </p:cNvPr>
            <p:cNvSpPr>
              <a:spLocks noEditPoints="1"/>
            </p:cNvSpPr>
            <p:nvPr/>
          </p:nvSpPr>
          <p:spPr bwMode="auto">
            <a:xfrm>
              <a:off x="7030" y="806"/>
              <a:ext cx="74" cy="144"/>
            </a:xfrm>
            <a:custGeom>
              <a:avLst/>
              <a:gdLst>
                <a:gd name="T0" fmla="*/ 42 w 48"/>
                <a:gd name="T1" fmla="*/ 96 h 96"/>
                <a:gd name="T2" fmla="*/ 6 w 48"/>
                <a:gd name="T3" fmla="*/ 96 h 96"/>
                <a:gd name="T4" fmla="*/ 0 w 48"/>
                <a:gd name="T5" fmla="*/ 90 h 96"/>
                <a:gd name="T6" fmla="*/ 0 w 48"/>
                <a:gd name="T7" fmla="*/ 24 h 96"/>
                <a:gd name="T8" fmla="*/ 24 w 48"/>
                <a:gd name="T9" fmla="*/ 0 h 96"/>
                <a:gd name="T10" fmla="*/ 48 w 48"/>
                <a:gd name="T11" fmla="*/ 24 h 96"/>
                <a:gd name="T12" fmla="*/ 48 w 48"/>
                <a:gd name="T13" fmla="*/ 90 h 96"/>
                <a:gd name="T14" fmla="*/ 42 w 48"/>
                <a:gd name="T15" fmla="*/ 96 h 96"/>
                <a:gd name="T16" fmla="*/ 12 w 48"/>
                <a:gd name="T17" fmla="*/ 84 h 96"/>
                <a:gd name="T18" fmla="*/ 36 w 48"/>
                <a:gd name="T19" fmla="*/ 84 h 96"/>
                <a:gd name="T20" fmla="*/ 36 w 48"/>
                <a:gd name="T21" fmla="*/ 24 h 96"/>
                <a:gd name="T22" fmla="*/ 24 w 48"/>
                <a:gd name="T23" fmla="*/ 12 h 96"/>
                <a:gd name="T24" fmla="*/ 12 w 48"/>
                <a:gd name="T25" fmla="*/ 24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3"/>
                    <a:pt x="0" y="90"/>
                  </a:cubicBezTo>
                  <a:cubicBezTo>
                    <a:pt x="0" y="24"/>
                    <a:pt x="0" y="24"/>
                    <a:pt x="0" y="24"/>
                  </a:cubicBezTo>
                  <a:cubicBezTo>
                    <a:pt x="0" y="10"/>
                    <a:pt x="11" y="0"/>
                    <a:pt x="24" y="0"/>
                  </a:cubicBezTo>
                  <a:cubicBezTo>
                    <a:pt x="38" y="0"/>
                    <a:pt x="48" y="10"/>
                    <a:pt x="48" y="24"/>
                  </a:cubicBezTo>
                  <a:cubicBezTo>
                    <a:pt x="48" y="90"/>
                    <a:pt x="48" y="90"/>
                    <a:pt x="48" y="90"/>
                  </a:cubicBezTo>
                  <a:cubicBezTo>
                    <a:pt x="48" y="93"/>
                    <a:pt x="46" y="96"/>
                    <a:pt x="42" y="96"/>
                  </a:cubicBezTo>
                  <a:close/>
                  <a:moveTo>
                    <a:pt x="12" y="84"/>
                  </a:moveTo>
                  <a:cubicBezTo>
                    <a:pt x="36" y="84"/>
                    <a:pt x="36" y="84"/>
                    <a:pt x="36" y="84"/>
                  </a:cubicBezTo>
                  <a:cubicBezTo>
                    <a:pt x="36" y="24"/>
                    <a:pt x="36" y="24"/>
                    <a:pt x="36" y="24"/>
                  </a:cubicBezTo>
                  <a:cubicBezTo>
                    <a:pt x="36" y="17"/>
                    <a:pt x="31" y="12"/>
                    <a:pt x="24" y="12"/>
                  </a:cubicBezTo>
                  <a:cubicBezTo>
                    <a:pt x="18" y="12"/>
                    <a:pt x="12" y="17"/>
                    <a:pt x="12" y="24"/>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37" name="Freeform 61">
              <a:extLst>
                <a:ext uri="{FF2B5EF4-FFF2-40B4-BE49-F238E27FC236}">
                  <a16:creationId xmlns:a16="http://schemas.microsoft.com/office/drawing/2014/main" id="{B6BA83F6-8938-4205-B566-DE990D846163}"/>
                </a:ext>
              </a:extLst>
            </p:cNvPr>
            <p:cNvSpPr>
              <a:spLocks noEditPoints="1"/>
            </p:cNvSpPr>
            <p:nvPr/>
          </p:nvSpPr>
          <p:spPr bwMode="auto">
            <a:xfrm>
              <a:off x="6773" y="806"/>
              <a:ext cx="73" cy="144"/>
            </a:xfrm>
            <a:custGeom>
              <a:avLst/>
              <a:gdLst>
                <a:gd name="T0" fmla="*/ 42 w 48"/>
                <a:gd name="T1" fmla="*/ 96 h 96"/>
                <a:gd name="T2" fmla="*/ 6 w 48"/>
                <a:gd name="T3" fmla="*/ 96 h 96"/>
                <a:gd name="T4" fmla="*/ 0 w 48"/>
                <a:gd name="T5" fmla="*/ 90 h 96"/>
                <a:gd name="T6" fmla="*/ 0 w 48"/>
                <a:gd name="T7" fmla="*/ 24 h 96"/>
                <a:gd name="T8" fmla="*/ 24 w 48"/>
                <a:gd name="T9" fmla="*/ 0 h 96"/>
                <a:gd name="T10" fmla="*/ 48 w 48"/>
                <a:gd name="T11" fmla="*/ 24 h 96"/>
                <a:gd name="T12" fmla="*/ 48 w 48"/>
                <a:gd name="T13" fmla="*/ 90 h 96"/>
                <a:gd name="T14" fmla="*/ 42 w 48"/>
                <a:gd name="T15" fmla="*/ 96 h 96"/>
                <a:gd name="T16" fmla="*/ 12 w 48"/>
                <a:gd name="T17" fmla="*/ 84 h 96"/>
                <a:gd name="T18" fmla="*/ 36 w 48"/>
                <a:gd name="T19" fmla="*/ 84 h 96"/>
                <a:gd name="T20" fmla="*/ 36 w 48"/>
                <a:gd name="T21" fmla="*/ 24 h 96"/>
                <a:gd name="T22" fmla="*/ 24 w 48"/>
                <a:gd name="T23" fmla="*/ 12 h 96"/>
                <a:gd name="T24" fmla="*/ 12 w 48"/>
                <a:gd name="T25" fmla="*/ 24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3"/>
                    <a:pt x="0" y="90"/>
                  </a:cubicBezTo>
                  <a:cubicBezTo>
                    <a:pt x="0" y="24"/>
                    <a:pt x="0" y="24"/>
                    <a:pt x="0" y="24"/>
                  </a:cubicBezTo>
                  <a:cubicBezTo>
                    <a:pt x="0" y="10"/>
                    <a:pt x="11" y="0"/>
                    <a:pt x="24" y="0"/>
                  </a:cubicBezTo>
                  <a:cubicBezTo>
                    <a:pt x="38" y="0"/>
                    <a:pt x="48" y="10"/>
                    <a:pt x="48" y="24"/>
                  </a:cubicBezTo>
                  <a:cubicBezTo>
                    <a:pt x="48" y="90"/>
                    <a:pt x="48" y="90"/>
                    <a:pt x="48" y="90"/>
                  </a:cubicBezTo>
                  <a:cubicBezTo>
                    <a:pt x="48" y="93"/>
                    <a:pt x="46" y="96"/>
                    <a:pt x="42" y="96"/>
                  </a:cubicBezTo>
                  <a:close/>
                  <a:moveTo>
                    <a:pt x="12" y="84"/>
                  </a:moveTo>
                  <a:cubicBezTo>
                    <a:pt x="36" y="84"/>
                    <a:pt x="36" y="84"/>
                    <a:pt x="36" y="84"/>
                  </a:cubicBezTo>
                  <a:cubicBezTo>
                    <a:pt x="36" y="24"/>
                    <a:pt x="36" y="24"/>
                    <a:pt x="36" y="24"/>
                  </a:cubicBezTo>
                  <a:cubicBezTo>
                    <a:pt x="36" y="17"/>
                    <a:pt x="31" y="12"/>
                    <a:pt x="24" y="12"/>
                  </a:cubicBezTo>
                  <a:cubicBezTo>
                    <a:pt x="18" y="12"/>
                    <a:pt x="12" y="17"/>
                    <a:pt x="12" y="24"/>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rbel"/>
                <a:ea typeface="+mn-ea"/>
                <a:cs typeface="+mn-cs"/>
              </a:endParaRPr>
            </a:p>
          </p:txBody>
        </p:sp>
      </p:grpSp>
      <p:sp>
        <p:nvSpPr>
          <p:cNvPr id="63" name="Rechthoek 37">
            <a:extLst>
              <a:ext uri="{FF2B5EF4-FFF2-40B4-BE49-F238E27FC236}">
                <a16:creationId xmlns:a16="http://schemas.microsoft.com/office/drawing/2014/main" id="{4AAD2A00-7447-4794-AC21-2DA7C76DBD3E}"/>
              </a:ext>
            </a:extLst>
          </p:cNvPr>
          <p:cNvSpPr/>
          <p:nvPr/>
        </p:nvSpPr>
        <p:spPr>
          <a:xfrm>
            <a:off x="299803" y="1339395"/>
            <a:ext cx="9246234" cy="324125"/>
          </a:xfrm>
          <a:prstGeom prst="rect">
            <a:avLst/>
          </a:prstGeom>
          <a:solidFill>
            <a:schemeClr val="accent2"/>
          </a:solidFill>
        </p:spPr>
        <p:txBody>
          <a:bodyPr lIns="72000" rIns="72000" rtlCol="0" anchor="ctr">
            <a:noAutofit/>
          </a:bodyPr>
          <a:lstStyle/>
          <a:p>
            <a:pPr algn="ctr" defTabSz="685783">
              <a:lnSpc>
                <a:spcPct val="90000"/>
              </a:lnSpc>
              <a:spcBef>
                <a:spcPts val="751"/>
              </a:spcBef>
              <a:buClr>
                <a:srgbClr val="FF0000"/>
              </a:buClr>
              <a:defRPr/>
            </a:pPr>
            <a:r>
              <a:rPr lang="nl-NL" sz="1100" b="1" dirty="0">
                <a:solidFill>
                  <a:srgbClr val="FFFFFF"/>
                </a:solidFill>
                <a:latin typeface="Corbel" panose="020B0503020204020204" pitchFamily="34" charset="0"/>
              </a:rPr>
              <a:t>Uitgangspunten digitale dienstverlening</a:t>
            </a:r>
          </a:p>
        </p:txBody>
      </p:sp>
      <p:sp>
        <p:nvSpPr>
          <p:cNvPr id="64" name="Rechthoek 37">
            <a:extLst>
              <a:ext uri="{FF2B5EF4-FFF2-40B4-BE49-F238E27FC236}">
                <a16:creationId xmlns:a16="http://schemas.microsoft.com/office/drawing/2014/main" id="{A1128B5D-C77C-4E40-BF34-F7126B8337B3}"/>
              </a:ext>
            </a:extLst>
          </p:cNvPr>
          <p:cNvSpPr/>
          <p:nvPr/>
        </p:nvSpPr>
        <p:spPr>
          <a:xfrm>
            <a:off x="9669386" y="1339395"/>
            <a:ext cx="2214300" cy="324125"/>
          </a:xfrm>
          <a:prstGeom prst="rect">
            <a:avLst/>
          </a:prstGeom>
          <a:solidFill>
            <a:schemeClr val="accent2"/>
          </a:solidFill>
        </p:spPr>
        <p:txBody>
          <a:bodyPr lIns="72000" rIns="72000" rtlCol="0" anchor="ctr">
            <a:noAutofit/>
          </a:bodyPr>
          <a:lstStyle/>
          <a:p>
            <a:pPr algn="ctr" defTabSz="685783">
              <a:lnSpc>
                <a:spcPct val="90000"/>
              </a:lnSpc>
              <a:spcBef>
                <a:spcPts val="751"/>
              </a:spcBef>
              <a:buClr>
                <a:srgbClr val="FF0000"/>
              </a:buClr>
              <a:defRPr/>
            </a:pPr>
            <a:r>
              <a:rPr lang="nl-NL" sz="1100" b="1" dirty="0">
                <a:solidFill>
                  <a:srgbClr val="FFFFFF"/>
                </a:solidFill>
                <a:latin typeface="Corbel" panose="020B0503020204020204" pitchFamily="34" charset="0"/>
              </a:rPr>
              <a:t>Uitgangspunten digitaliseringsstrategie</a:t>
            </a:r>
          </a:p>
        </p:txBody>
      </p:sp>
      <p:sp>
        <p:nvSpPr>
          <p:cNvPr id="4" name="Tijdelijke aanduiding voor voettekst 3">
            <a:extLst>
              <a:ext uri="{FF2B5EF4-FFF2-40B4-BE49-F238E27FC236}">
                <a16:creationId xmlns:a16="http://schemas.microsoft.com/office/drawing/2014/main" id="{C3A408DF-D882-452C-8254-E69B6FAF0062}"/>
              </a:ext>
            </a:extLst>
          </p:cNvPr>
          <p:cNvSpPr>
            <a:spLocks noGrp="1"/>
          </p:cNvSpPr>
          <p:nvPr>
            <p:ph type="ftr" sz="quarter" idx="11"/>
          </p:nvPr>
        </p:nvSpPr>
        <p:spPr/>
        <p:txBody>
          <a:bodyPr/>
          <a:lstStyle/>
          <a:p>
            <a:r>
              <a:rPr lang="nl-NL"/>
              <a:t>Informatiebijeenkomst 26 juli 2021 Europese Aanbesteding SVWI</a:t>
            </a:r>
          </a:p>
        </p:txBody>
      </p:sp>
    </p:spTree>
    <p:extLst>
      <p:ext uri="{BB962C8B-B14F-4D97-AF65-F5344CB8AC3E}">
        <p14:creationId xmlns:p14="http://schemas.microsoft.com/office/powerpoint/2010/main" val="29517080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50256F-2D70-4F7E-AE96-47633F5678BD}"/>
              </a:ext>
            </a:extLst>
          </p:cNvPr>
          <p:cNvGraphicFramePr>
            <a:graphicFrameLocks noChangeAspect="1"/>
          </p:cNvGraphicFramePr>
          <p:nvPr>
            <p:custDataLst>
              <p:tags r:id="rId1"/>
            </p:custDataLst>
            <p:extLst>
              <p:ext uri="{D42A27DB-BD31-4B8C-83A1-F6EECF244321}">
                <p14:modId xmlns:p14="http://schemas.microsoft.com/office/powerpoint/2010/main" val="885914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403" progId="TCLayout.ActiveDocument.1">
                  <p:embed/>
                </p:oleObj>
              </mc:Choice>
              <mc:Fallback>
                <p:oleObj name="think-cell Slide" r:id="rId3" imgW="393" imgH="403" progId="TCLayout.ActiveDocument.1">
                  <p:embed/>
                  <p:pic>
                    <p:nvPicPr>
                      <p:cNvPr id="2" name="Object 1" hidden="1">
                        <a:extLst>
                          <a:ext uri="{FF2B5EF4-FFF2-40B4-BE49-F238E27FC236}">
                            <a16:creationId xmlns:a16="http://schemas.microsoft.com/office/drawing/2014/main" id="{AE50256F-2D70-4F7E-AE96-47633F5678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37B41CC-2747-4E34-A1F7-9FF780CB974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CD0B2-8AB2-4C6C-8876-E15753662C9B}" type="slidenum">
              <a:rPr kumimoji="0" lang="nl-NL" sz="1200" b="0" i="0" u="none" strike="noStrike" kern="1200" cap="none" spc="0" normalizeH="0" baseline="0" noProof="0" smtClean="0">
                <a:ln>
                  <a:noFill/>
                </a:ln>
                <a:solidFill>
                  <a:srgbClr val="000000"/>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200" b="0" i="0" u="none" strike="noStrike" kern="1200" cap="none" spc="0" normalizeH="0" baseline="0" noProof="0" dirty="0">
              <a:ln>
                <a:noFill/>
              </a:ln>
              <a:solidFill>
                <a:srgbClr val="000000"/>
              </a:solidFill>
              <a:effectLst/>
              <a:uLnTx/>
              <a:uFillTx/>
              <a:latin typeface="Corbel"/>
              <a:ea typeface="+mn-ea"/>
              <a:cs typeface="+mn-cs"/>
            </a:endParaRPr>
          </a:p>
        </p:txBody>
      </p:sp>
      <p:sp>
        <p:nvSpPr>
          <p:cNvPr id="45" name="Text Placeholder 3">
            <a:extLst>
              <a:ext uri="{FF2B5EF4-FFF2-40B4-BE49-F238E27FC236}">
                <a16:creationId xmlns:a16="http://schemas.microsoft.com/office/drawing/2014/main" id="{38B2924A-9B45-4643-91C8-F4FE5195DC53}"/>
              </a:ext>
            </a:extLst>
          </p:cNvPr>
          <p:cNvSpPr txBox="1">
            <a:spLocks/>
          </p:cNvSpPr>
          <p:nvPr/>
        </p:nvSpPr>
        <p:spPr>
          <a:xfrm>
            <a:off x="666750" y="848895"/>
            <a:ext cx="10872000" cy="247650"/>
          </a:xfrm>
          <a:prstGeom prst="rect">
            <a:avLst/>
          </a:prstGeom>
        </p:spPr>
        <p:txBody>
          <a:bodyPr vert="horz" lIns="72000" tIns="54000" rIns="72000" bIns="54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en-US"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a:t>
            </a: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gitalisering sluit maximaal aan op uitvoeringsproces</a:t>
            </a:r>
          </a:p>
        </p:txBody>
      </p:sp>
      <p:sp>
        <p:nvSpPr>
          <p:cNvPr id="46" name="Title 5">
            <a:extLst>
              <a:ext uri="{FF2B5EF4-FFF2-40B4-BE49-F238E27FC236}">
                <a16:creationId xmlns:a16="http://schemas.microsoft.com/office/drawing/2014/main" id="{575C6A26-4CC9-4F0F-815D-A26B3B27FE8C}"/>
              </a:ext>
            </a:extLst>
          </p:cNvPr>
          <p:cNvSpPr>
            <a:spLocks noGrp="1"/>
          </p:cNvSpPr>
          <p:nvPr>
            <p:ph type="title"/>
          </p:nvPr>
        </p:nvSpPr>
        <p:spPr>
          <a:xfrm>
            <a:off x="666747" y="266699"/>
            <a:ext cx="10866441" cy="668782"/>
          </a:xfrm>
        </p:spPr>
        <p:txBody>
          <a:bodyPr vert="horz"/>
          <a:lstStyle/>
          <a:p>
            <a:r>
              <a:rPr lang="nl-NL" dirty="0"/>
              <a:t>Doelstellingen en randvoorwaarden digitaliseringsstrategie</a:t>
            </a:r>
          </a:p>
        </p:txBody>
      </p:sp>
      <p:sp>
        <p:nvSpPr>
          <p:cNvPr id="65" name="Rectangle 64">
            <a:extLst>
              <a:ext uri="{FF2B5EF4-FFF2-40B4-BE49-F238E27FC236}">
                <a16:creationId xmlns:a16="http://schemas.microsoft.com/office/drawing/2014/main" id="{20ED0F2B-E948-4E7D-8306-F214C29ABDAC}"/>
              </a:ext>
            </a:extLst>
          </p:cNvPr>
          <p:cNvSpPr/>
          <p:nvPr/>
        </p:nvSpPr>
        <p:spPr>
          <a:xfrm>
            <a:off x="1652828" y="1678739"/>
            <a:ext cx="3918687" cy="4183884"/>
          </a:xfrm>
          <a:prstGeom prst="rect">
            <a:avLst/>
          </a:prstGeom>
          <a:solidFill>
            <a:srgbClr val="F2F2F2"/>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a:ln>
                <a:noFill/>
              </a:ln>
              <a:solidFill>
                <a:srgbClr val="FFFFFF"/>
              </a:solidFill>
              <a:effectLst/>
              <a:uLnTx/>
              <a:uFillTx/>
              <a:latin typeface="Corbel"/>
              <a:ea typeface="+mn-ea"/>
              <a:cs typeface="+mn-cs"/>
            </a:endParaRPr>
          </a:p>
        </p:txBody>
      </p:sp>
      <p:sp>
        <p:nvSpPr>
          <p:cNvPr id="66" name="Rectangle 65">
            <a:extLst>
              <a:ext uri="{FF2B5EF4-FFF2-40B4-BE49-F238E27FC236}">
                <a16:creationId xmlns:a16="http://schemas.microsoft.com/office/drawing/2014/main" id="{D31F7013-6526-43E1-8465-C33187801C8B}"/>
              </a:ext>
            </a:extLst>
          </p:cNvPr>
          <p:cNvSpPr/>
          <p:nvPr/>
        </p:nvSpPr>
        <p:spPr>
          <a:xfrm>
            <a:off x="5744140" y="1678739"/>
            <a:ext cx="3918687" cy="4183884"/>
          </a:xfrm>
          <a:prstGeom prst="rect">
            <a:avLst/>
          </a:prstGeom>
          <a:solidFill>
            <a:srgbClr val="F2F2F2"/>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a:ln>
                <a:noFill/>
              </a:ln>
              <a:solidFill>
                <a:srgbClr val="FFFFFF"/>
              </a:solidFill>
              <a:effectLst/>
              <a:uLnTx/>
              <a:uFillTx/>
              <a:latin typeface="Corbel"/>
              <a:ea typeface="+mn-ea"/>
              <a:cs typeface="+mn-cs"/>
            </a:endParaRPr>
          </a:p>
        </p:txBody>
      </p:sp>
      <p:sp>
        <p:nvSpPr>
          <p:cNvPr id="67" name="Rectangle 66">
            <a:extLst>
              <a:ext uri="{FF2B5EF4-FFF2-40B4-BE49-F238E27FC236}">
                <a16:creationId xmlns:a16="http://schemas.microsoft.com/office/drawing/2014/main" id="{476F6F13-5D2B-49CD-84AB-F0F924C8DDCE}"/>
              </a:ext>
            </a:extLst>
          </p:cNvPr>
          <p:cNvSpPr/>
          <p:nvPr/>
        </p:nvSpPr>
        <p:spPr>
          <a:xfrm>
            <a:off x="1652828" y="1678741"/>
            <a:ext cx="3918687" cy="549647"/>
          </a:xfrm>
          <a:prstGeom prst="rect">
            <a:avLst/>
          </a:prstGeom>
          <a:solidFill>
            <a:srgbClr val="FF6566"/>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a:ln>
                <a:noFill/>
              </a:ln>
              <a:solidFill>
                <a:srgbClr val="FFFFFF"/>
              </a:solidFill>
              <a:effectLst/>
              <a:uLnTx/>
              <a:uFillTx/>
              <a:latin typeface="Corbel"/>
              <a:ea typeface="+mn-ea"/>
              <a:cs typeface="+mn-cs"/>
            </a:endParaRPr>
          </a:p>
        </p:txBody>
      </p:sp>
      <p:sp>
        <p:nvSpPr>
          <p:cNvPr id="68" name="Rectangle 67">
            <a:extLst>
              <a:ext uri="{FF2B5EF4-FFF2-40B4-BE49-F238E27FC236}">
                <a16:creationId xmlns:a16="http://schemas.microsoft.com/office/drawing/2014/main" id="{B2CAB77B-6BCE-4484-A0E3-DDC9DEB12AFE}"/>
              </a:ext>
            </a:extLst>
          </p:cNvPr>
          <p:cNvSpPr/>
          <p:nvPr/>
        </p:nvSpPr>
        <p:spPr>
          <a:xfrm>
            <a:off x="5744140" y="1678741"/>
            <a:ext cx="3918687" cy="549647"/>
          </a:xfrm>
          <a:prstGeom prst="rect">
            <a:avLst/>
          </a:prstGeom>
          <a:solidFill>
            <a:srgbClr val="FF6566"/>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a:ln>
                <a:noFill/>
              </a:ln>
              <a:solidFill>
                <a:srgbClr val="FFFFFF"/>
              </a:solidFill>
              <a:effectLst/>
              <a:uLnTx/>
              <a:uFillTx/>
              <a:latin typeface="Corbel"/>
              <a:ea typeface="+mn-ea"/>
              <a:cs typeface="+mn-cs"/>
            </a:endParaRPr>
          </a:p>
        </p:txBody>
      </p:sp>
      <p:sp>
        <p:nvSpPr>
          <p:cNvPr id="69" name="TextBox 68">
            <a:extLst>
              <a:ext uri="{FF2B5EF4-FFF2-40B4-BE49-F238E27FC236}">
                <a16:creationId xmlns:a16="http://schemas.microsoft.com/office/drawing/2014/main" id="{87416184-C9B5-4C3B-9432-D5AEA2291606}"/>
              </a:ext>
            </a:extLst>
          </p:cNvPr>
          <p:cNvSpPr txBox="1"/>
          <p:nvPr/>
        </p:nvSpPr>
        <p:spPr>
          <a:xfrm>
            <a:off x="1800924" y="2325617"/>
            <a:ext cx="3639542" cy="3147015"/>
          </a:xfrm>
          <a:prstGeom prst="rect">
            <a:avLst/>
          </a:prstGeom>
          <a:noFill/>
        </p:spPr>
        <p:txBody>
          <a:bodyPr wrap="square" lIns="0" tIns="0" rIns="0" bIns="0" rtlCol="0" anchor="t">
            <a:spAutoFit/>
          </a:bodyPr>
          <a:lstStyle/>
          <a:p>
            <a:pPr marL="266700" marR="0" lvl="0" indent="-266700" algn="l" defTabSz="914400" rtl="0" eaLnBrk="1" fontAlgn="auto" latinLnBrk="0" hangingPunct="1">
              <a:lnSpc>
                <a:spcPct val="100000"/>
              </a:lnSpc>
              <a:spcBef>
                <a:spcPts val="0"/>
              </a:spcBef>
              <a:spcAft>
                <a:spcPts val="900"/>
              </a:spcAft>
              <a:buClrTx/>
              <a:buSzPct val="125000"/>
              <a:buFont typeface="Wingdings" panose="05000000000000000000" pitchFamily="2" charset="2"/>
              <a:buChar char="§"/>
              <a:tabLst/>
              <a:defRPr/>
            </a:pPr>
            <a:r>
              <a:rPr kumimoji="0" lang="nl-NL" sz="1400" b="1" i="0" u="none" strike="noStrike" kern="0" cap="none" spc="0" normalizeH="0" baseline="0" noProof="0" dirty="0">
                <a:ln>
                  <a:noFill/>
                </a:ln>
                <a:solidFill>
                  <a:srgbClr val="000000"/>
                </a:solidFill>
                <a:effectLst/>
                <a:uLnTx/>
                <a:uFillTx/>
                <a:latin typeface="Corbel"/>
                <a:ea typeface="+mn-ea"/>
                <a:cs typeface="+mn-cs"/>
              </a:rPr>
              <a:t>Klant centraal stellen en meer regie geven</a:t>
            </a:r>
            <a:r>
              <a:rPr kumimoji="0" lang="nl-NL" sz="1400" b="0" i="0" u="none" strike="noStrike" kern="0" cap="none" spc="0" normalizeH="0" baseline="0" noProof="0" dirty="0">
                <a:ln>
                  <a:noFill/>
                </a:ln>
                <a:solidFill>
                  <a:srgbClr val="000000"/>
                </a:solidFill>
                <a:effectLst/>
                <a:uLnTx/>
                <a:uFillTx/>
                <a:latin typeface="Corbel"/>
                <a:ea typeface="+mn-ea"/>
                <a:cs typeface="+mn-cs"/>
              </a:rPr>
              <a:t>: klant heeft inzicht in eigen gegevens, kan informatie invullen &amp; wijzigingen doorgeven, etc.</a:t>
            </a:r>
            <a:br>
              <a:rPr kumimoji="0" lang="nl-NL" sz="1400" b="0" i="0" u="none" strike="noStrike" kern="0" cap="none" spc="0" normalizeH="0" baseline="0" noProof="0" dirty="0">
                <a:ln>
                  <a:noFill/>
                </a:ln>
                <a:solidFill>
                  <a:srgbClr val="000000"/>
                </a:solidFill>
                <a:effectLst/>
                <a:uLnTx/>
                <a:uFillTx/>
                <a:latin typeface="Corbel"/>
                <a:ea typeface="+mn-ea"/>
                <a:cs typeface="+mn-cs"/>
              </a:rPr>
            </a:br>
            <a:endParaRPr kumimoji="0" lang="nl-NL" sz="1400" b="1" i="1" u="sng" strike="noStrike" kern="0" cap="none" spc="0" normalizeH="0" baseline="0" noProof="0" dirty="0">
              <a:ln>
                <a:noFill/>
              </a:ln>
              <a:solidFill>
                <a:srgbClr val="000000"/>
              </a:solidFill>
              <a:effectLst/>
              <a:uLnTx/>
              <a:uFillTx/>
              <a:latin typeface="Corbel"/>
              <a:ea typeface="+mn-ea"/>
              <a:cs typeface="+mn-cs"/>
            </a:endParaRPr>
          </a:p>
          <a:p>
            <a:pPr marL="266700" marR="0" lvl="0" indent="-266700" algn="l" defTabSz="914400" rtl="0" eaLnBrk="1" fontAlgn="auto" latinLnBrk="0" hangingPunct="1">
              <a:lnSpc>
                <a:spcPct val="100000"/>
              </a:lnSpc>
              <a:spcBef>
                <a:spcPts val="0"/>
              </a:spcBef>
              <a:spcAft>
                <a:spcPts val="900"/>
              </a:spcAft>
              <a:buClrTx/>
              <a:buSzPct val="125000"/>
              <a:buFont typeface="Wingdings" panose="05000000000000000000" pitchFamily="2" charset="2"/>
              <a:buChar char="§"/>
              <a:tabLst/>
              <a:defRPr/>
            </a:pPr>
            <a:r>
              <a:rPr kumimoji="0" lang="nl-NL" sz="1400" b="1" i="0" u="none" strike="noStrike" kern="0" cap="none" spc="0" normalizeH="0" baseline="0" noProof="0" dirty="0">
                <a:ln>
                  <a:noFill/>
                </a:ln>
                <a:solidFill>
                  <a:srgbClr val="000000"/>
                </a:solidFill>
                <a:effectLst/>
                <a:uLnTx/>
                <a:uFillTx/>
                <a:latin typeface="Corbel"/>
                <a:ea typeface="+mn-ea"/>
                <a:cs typeface="+mn-cs"/>
              </a:rPr>
              <a:t>Lagere uitvoeringskosten binnen 2 jaar</a:t>
            </a:r>
            <a:r>
              <a:rPr kumimoji="0" lang="nl-NL" sz="1400" b="0" i="0" u="none" strike="noStrike" kern="0" cap="none" spc="0" normalizeH="0" baseline="0" noProof="0" dirty="0">
                <a:ln>
                  <a:noFill/>
                </a:ln>
                <a:solidFill>
                  <a:srgbClr val="000000"/>
                </a:solidFill>
                <a:effectLst/>
                <a:uLnTx/>
                <a:uFillTx/>
                <a:latin typeface="Corbel"/>
                <a:ea typeface="+mn-ea"/>
                <a:cs typeface="+mn-cs"/>
              </a:rPr>
              <a:t>: uitvoeringskosten worden binnen 2 jaar zo veel mogelijk verlaagd</a:t>
            </a:r>
            <a:br>
              <a:rPr kumimoji="0" lang="nl-NL" sz="1400" b="0" i="0" u="none" strike="noStrike" kern="0" cap="none" spc="0" normalizeH="0" baseline="0" noProof="0" dirty="0">
                <a:ln>
                  <a:noFill/>
                </a:ln>
                <a:solidFill>
                  <a:srgbClr val="000000"/>
                </a:solidFill>
                <a:effectLst/>
                <a:uLnTx/>
                <a:uFillTx/>
                <a:latin typeface="Corbel"/>
                <a:ea typeface="+mn-ea"/>
                <a:cs typeface="+mn-cs"/>
              </a:rPr>
            </a:br>
            <a:endParaRPr kumimoji="0" lang="nl-NL" sz="1400" b="0" i="0" u="none" strike="noStrike" kern="0" cap="none" spc="0" normalizeH="0" baseline="0" noProof="0" dirty="0">
              <a:ln>
                <a:noFill/>
              </a:ln>
              <a:solidFill>
                <a:srgbClr val="000000"/>
              </a:solidFill>
              <a:effectLst/>
              <a:uLnTx/>
              <a:uFillTx/>
              <a:latin typeface="Corbel"/>
              <a:ea typeface="+mn-ea"/>
              <a:cs typeface="+mn-cs"/>
            </a:endParaRPr>
          </a:p>
          <a:p>
            <a:pPr marL="266700" marR="0" lvl="0" indent="-266700" algn="l" defTabSz="914400" rtl="0" eaLnBrk="1" fontAlgn="auto" latinLnBrk="0" hangingPunct="1">
              <a:lnSpc>
                <a:spcPct val="100000"/>
              </a:lnSpc>
              <a:spcBef>
                <a:spcPts val="0"/>
              </a:spcBef>
              <a:spcAft>
                <a:spcPts val="900"/>
              </a:spcAft>
              <a:buClrTx/>
              <a:buSzPct val="125000"/>
              <a:buFont typeface="Wingdings" panose="05000000000000000000" pitchFamily="2" charset="2"/>
              <a:buChar char="§"/>
              <a:tabLst/>
              <a:defRPr/>
            </a:pPr>
            <a:r>
              <a:rPr kumimoji="0" lang="nl-NL" sz="1400" b="1" i="0" u="none" strike="noStrike" kern="0" cap="none" spc="0" normalizeH="0" baseline="0" noProof="0" dirty="0">
                <a:ln>
                  <a:noFill/>
                </a:ln>
                <a:solidFill>
                  <a:srgbClr val="000000"/>
                </a:solidFill>
                <a:effectLst/>
                <a:uLnTx/>
                <a:uFillTx/>
                <a:latin typeface="Corbel"/>
                <a:ea typeface="+mn-ea"/>
                <a:cs typeface="+mn-cs"/>
              </a:rPr>
              <a:t>Vereenvoudigd IT-landschap</a:t>
            </a:r>
            <a:r>
              <a:rPr kumimoji="0" lang="nl-NL" sz="1400" b="0" i="0" u="none" strike="noStrike" kern="0" cap="none" spc="0" normalizeH="0" baseline="0" noProof="0" dirty="0">
                <a:ln>
                  <a:noFill/>
                </a:ln>
                <a:solidFill>
                  <a:srgbClr val="000000"/>
                </a:solidFill>
                <a:effectLst/>
                <a:uLnTx/>
                <a:uFillTx/>
                <a:latin typeface="Corbel"/>
                <a:ea typeface="+mn-ea"/>
                <a:cs typeface="+mn-cs"/>
              </a:rPr>
              <a:t>: resulterend IT-landschap is zo eenvoudig en onderhoudbaar mogelijk</a:t>
            </a:r>
          </a:p>
          <a:p>
            <a:pPr marL="266700" marR="0" lvl="0" indent="-266700" algn="l" defTabSz="914400" rtl="0" eaLnBrk="1" fontAlgn="auto" latinLnBrk="0" hangingPunct="1">
              <a:lnSpc>
                <a:spcPct val="100000"/>
              </a:lnSpc>
              <a:spcBef>
                <a:spcPts val="0"/>
              </a:spcBef>
              <a:spcAft>
                <a:spcPts val="900"/>
              </a:spcAft>
              <a:buClrTx/>
              <a:buSzPct val="125000"/>
              <a:buFont typeface="Wingdings" panose="05000000000000000000" pitchFamily="2" charset="2"/>
              <a:buChar char="§"/>
              <a:tabLst/>
              <a:defRPr/>
            </a:pPr>
            <a:endParaRPr kumimoji="0" lang="nl-NL" sz="1400" b="0" i="0" u="none" strike="noStrike" kern="0" cap="none" spc="0" normalizeH="0" baseline="0" noProof="0" dirty="0">
              <a:ln>
                <a:noFill/>
              </a:ln>
              <a:solidFill>
                <a:srgbClr val="000000"/>
              </a:solidFill>
              <a:effectLst/>
              <a:uLnTx/>
              <a:uFillTx/>
              <a:latin typeface="Corbel"/>
              <a:ea typeface="+mn-ea"/>
              <a:cs typeface="+mn-cs"/>
            </a:endParaRPr>
          </a:p>
        </p:txBody>
      </p:sp>
      <p:sp>
        <p:nvSpPr>
          <p:cNvPr id="70" name="TextBox 69">
            <a:extLst>
              <a:ext uri="{FF2B5EF4-FFF2-40B4-BE49-F238E27FC236}">
                <a16:creationId xmlns:a16="http://schemas.microsoft.com/office/drawing/2014/main" id="{3F724923-BE98-4493-9C44-F5C09AB82CC2}"/>
              </a:ext>
            </a:extLst>
          </p:cNvPr>
          <p:cNvSpPr txBox="1"/>
          <p:nvPr/>
        </p:nvSpPr>
        <p:spPr>
          <a:xfrm>
            <a:off x="1800924" y="1793619"/>
            <a:ext cx="3770590" cy="21544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300"/>
              </a:spcAft>
              <a:buClr>
                <a:srgbClr val="000000"/>
              </a:buClr>
              <a:buSzPct val="125000"/>
              <a:buFontTx/>
              <a:buNone/>
              <a:tabLst/>
              <a:defRPr/>
            </a:pPr>
            <a:r>
              <a:rPr kumimoji="0" lang="nl-NL" sz="1400" b="1" i="0" u="none" strike="noStrike" kern="0" cap="none" spc="0" normalizeH="0" baseline="0" noProof="0" dirty="0">
                <a:ln>
                  <a:noFill/>
                </a:ln>
                <a:solidFill>
                  <a:srgbClr val="FFFFFF"/>
                </a:solidFill>
                <a:effectLst/>
                <a:uLnTx/>
                <a:uFillTx/>
                <a:latin typeface="Corbel"/>
                <a:ea typeface="+mn-ea"/>
                <a:cs typeface="+mn-cs"/>
              </a:rPr>
              <a:t>Doelstellingen</a:t>
            </a:r>
            <a:endParaRPr kumimoji="0" lang="nl-NL" sz="1400" b="1" i="0" u="none" strike="noStrike" kern="0" cap="none" spc="0" normalizeH="0" baseline="0" noProof="0" dirty="0">
              <a:ln>
                <a:noFill/>
              </a:ln>
              <a:solidFill>
                <a:srgbClr val="FFFFFF"/>
              </a:solidFill>
              <a:effectLst/>
              <a:highlight>
                <a:srgbClr val="FFFF00"/>
              </a:highlight>
              <a:uLnTx/>
              <a:uFillTx/>
              <a:latin typeface="Corbel"/>
              <a:ea typeface="+mn-ea"/>
              <a:cs typeface="+mn-cs"/>
            </a:endParaRPr>
          </a:p>
        </p:txBody>
      </p:sp>
      <p:sp>
        <p:nvSpPr>
          <p:cNvPr id="71" name="TextBox 70">
            <a:extLst>
              <a:ext uri="{FF2B5EF4-FFF2-40B4-BE49-F238E27FC236}">
                <a16:creationId xmlns:a16="http://schemas.microsoft.com/office/drawing/2014/main" id="{FE698933-5675-4006-96CC-224A8D178AD4}"/>
              </a:ext>
            </a:extLst>
          </p:cNvPr>
          <p:cNvSpPr txBox="1"/>
          <p:nvPr/>
        </p:nvSpPr>
        <p:spPr>
          <a:xfrm>
            <a:off x="5892236" y="2325617"/>
            <a:ext cx="3639542" cy="3377848"/>
          </a:xfrm>
          <a:prstGeom prst="rect">
            <a:avLst/>
          </a:prstGeom>
          <a:noFill/>
        </p:spPr>
        <p:txBody>
          <a:bodyPr wrap="square" lIns="0" tIns="0" rIns="0" bIns="0" rtlCol="0" anchor="t">
            <a:spAutoFit/>
          </a:bodyPr>
          <a:lstStyle/>
          <a:p>
            <a:pPr marL="266700" marR="0" lvl="0" indent="-266700" algn="l" defTabSz="914400" rtl="0" eaLnBrk="1" fontAlgn="auto" latinLnBrk="0" hangingPunct="1">
              <a:lnSpc>
                <a:spcPct val="100000"/>
              </a:lnSpc>
              <a:spcBef>
                <a:spcPts val="0"/>
              </a:spcBef>
              <a:spcAft>
                <a:spcPts val="900"/>
              </a:spcAft>
              <a:buClrTx/>
              <a:buSzPct val="125000"/>
              <a:buFont typeface="Wingdings" panose="05000000000000000000" pitchFamily="2" charset="2"/>
              <a:buChar char="§"/>
              <a:tabLst/>
              <a:defRPr/>
            </a:pPr>
            <a:r>
              <a:rPr kumimoji="0" lang="nl-NL" sz="1400" b="0" i="0" u="none" strike="noStrike" kern="0" cap="none" spc="0" normalizeH="0" baseline="0" noProof="0" dirty="0">
                <a:ln>
                  <a:noFill/>
                </a:ln>
                <a:solidFill>
                  <a:srgbClr val="000000"/>
                </a:solidFill>
                <a:effectLst/>
                <a:uLnTx/>
                <a:uFillTx/>
                <a:latin typeface="Corbel"/>
                <a:ea typeface="+mn-ea"/>
                <a:cs typeface="+mn-cs"/>
              </a:rPr>
              <a:t>Eindsituatie past bij doorontwikkeling WPI</a:t>
            </a:r>
          </a:p>
          <a:p>
            <a:pPr marL="266700" marR="0" lvl="0" indent="-266700" algn="l" defTabSz="914400" rtl="0" eaLnBrk="1" fontAlgn="auto" latinLnBrk="0" hangingPunct="1">
              <a:lnSpc>
                <a:spcPct val="100000"/>
              </a:lnSpc>
              <a:spcBef>
                <a:spcPts val="0"/>
              </a:spcBef>
              <a:spcAft>
                <a:spcPts val="900"/>
              </a:spcAft>
              <a:buClrTx/>
              <a:buSzPct val="125000"/>
              <a:buFont typeface="Wingdings" panose="05000000000000000000" pitchFamily="2" charset="2"/>
              <a:buChar char="§"/>
              <a:tabLst/>
              <a:defRPr/>
            </a:pPr>
            <a:r>
              <a:rPr kumimoji="0" lang="nl-NL" sz="1400" b="0" i="0" u="none" strike="noStrike" kern="0" cap="none" spc="0" normalizeH="0" baseline="0" noProof="0" dirty="0">
                <a:ln>
                  <a:noFill/>
                </a:ln>
                <a:solidFill>
                  <a:srgbClr val="000000"/>
                </a:solidFill>
                <a:effectLst/>
                <a:uLnTx/>
                <a:uFillTx/>
                <a:latin typeface="Corbel"/>
                <a:ea typeface="+mn-ea"/>
                <a:cs typeface="+mn-cs"/>
              </a:rPr>
              <a:t>Beleid en processen worden vereenvoudigd – digitalisering is gericht op de nieuwe situatie in plaats van simpelweg automatiseren van het bestaande proces</a:t>
            </a:r>
          </a:p>
          <a:p>
            <a:pPr marL="266700" marR="0" lvl="0" indent="-266700" algn="l" defTabSz="914400" rtl="0" eaLnBrk="1" fontAlgn="auto" latinLnBrk="0" hangingPunct="1">
              <a:lnSpc>
                <a:spcPct val="100000"/>
              </a:lnSpc>
              <a:spcBef>
                <a:spcPts val="0"/>
              </a:spcBef>
              <a:spcAft>
                <a:spcPts val="900"/>
              </a:spcAft>
              <a:buClrTx/>
              <a:buSzPct val="125000"/>
              <a:buFont typeface="Wingdings" panose="05000000000000000000" pitchFamily="2" charset="2"/>
              <a:buChar char="§"/>
              <a:tabLst/>
              <a:defRPr/>
            </a:pPr>
            <a:r>
              <a:rPr kumimoji="0" lang="nl-NL" sz="1400" b="0" i="0" u="none" strike="noStrike" kern="0" cap="none" spc="0" normalizeH="0" baseline="0" noProof="0" dirty="0">
                <a:ln>
                  <a:noFill/>
                </a:ln>
                <a:solidFill>
                  <a:srgbClr val="000000"/>
                </a:solidFill>
                <a:effectLst/>
                <a:uLnTx/>
                <a:uFillTx/>
                <a:latin typeface="Corbel"/>
                <a:ea typeface="+mn-ea"/>
                <a:cs typeface="+mn-cs"/>
              </a:rPr>
              <a:t>Socrates blijft behouden voor Inkomen</a:t>
            </a:r>
          </a:p>
          <a:p>
            <a:pPr marL="266700" marR="0" lvl="0" indent="-266700" algn="l" defTabSz="914400" rtl="0" eaLnBrk="1" fontAlgn="auto" latinLnBrk="0" hangingPunct="1">
              <a:lnSpc>
                <a:spcPct val="100000"/>
              </a:lnSpc>
              <a:spcBef>
                <a:spcPts val="0"/>
              </a:spcBef>
              <a:spcAft>
                <a:spcPts val="900"/>
              </a:spcAft>
              <a:buClrTx/>
              <a:buSzPct val="125000"/>
              <a:buFont typeface="Wingdings" panose="05000000000000000000" pitchFamily="2" charset="2"/>
              <a:buChar char="§"/>
              <a:tabLst/>
              <a:defRPr/>
            </a:pPr>
            <a:r>
              <a:rPr kumimoji="0" lang="nl-NL" sz="1400" b="0" i="0" u="none" strike="noStrike" kern="0" cap="none" spc="0" normalizeH="0" baseline="0" noProof="0" dirty="0">
                <a:ln>
                  <a:noFill/>
                </a:ln>
                <a:solidFill>
                  <a:srgbClr val="000000"/>
                </a:solidFill>
                <a:effectLst/>
                <a:uLnTx/>
                <a:uFillTx/>
                <a:latin typeface="Corbel"/>
                <a:ea typeface="+mn-ea"/>
                <a:cs typeface="+mn-cs"/>
              </a:rPr>
              <a:t>Applicaties waarvan de ondersteuning verlopen is of verwacht wordt te verlopen, worden vervangen of </a:t>
            </a:r>
            <a:r>
              <a:rPr kumimoji="0" lang="nl-NL" sz="1400" b="0" i="0" u="none" strike="noStrike" kern="0" cap="none" spc="0" normalizeH="0" baseline="0" noProof="0" dirty="0" err="1">
                <a:ln>
                  <a:noFill/>
                </a:ln>
                <a:solidFill>
                  <a:srgbClr val="000000"/>
                </a:solidFill>
                <a:effectLst/>
                <a:uLnTx/>
                <a:uFillTx/>
                <a:latin typeface="Corbel"/>
                <a:ea typeface="+mn-ea"/>
                <a:cs typeface="+mn-cs"/>
              </a:rPr>
              <a:t>uitgefaseerd</a:t>
            </a:r>
            <a:endParaRPr kumimoji="0" lang="nl-NL" sz="1400" b="0" i="0" u="none" strike="noStrike" kern="0" cap="none" spc="0" normalizeH="0" baseline="0" noProof="0" dirty="0">
              <a:ln>
                <a:noFill/>
              </a:ln>
              <a:solidFill>
                <a:srgbClr val="000000"/>
              </a:solidFill>
              <a:effectLst/>
              <a:uLnTx/>
              <a:uFillTx/>
              <a:latin typeface="Corbel"/>
              <a:ea typeface="+mn-ea"/>
              <a:cs typeface="+mn-cs"/>
            </a:endParaRPr>
          </a:p>
          <a:p>
            <a:pPr marL="266700" marR="0" lvl="0" indent="-266700" algn="l" defTabSz="914400" rtl="0" eaLnBrk="1" fontAlgn="auto" latinLnBrk="0" hangingPunct="1">
              <a:lnSpc>
                <a:spcPct val="100000"/>
              </a:lnSpc>
              <a:spcBef>
                <a:spcPts val="0"/>
              </a:spcBef>
              <a:spcAft>
                <a:spcPts val="900"/>
              </a:spcAft>
              <a:buClrTx/>
              <a:buSzPct val="125000"/>
              <a:buFont typeface="Wingdings" panose="05000000000000000000" pitchFamily="2" charset="2"/>
              <a:buChar char="§"/>
              <a:tabLst/>
              <a:defRPr/>
            </a:pPr>
            <a:r>
              <a:rPr kumimoji="0" lang="nl-NL" sz="1400" b="0" i="0" u="none" strike="noStrike" kern="0" cap="none" spc="0" normalizeH="0" baseline="0" noProof="0" dirty="0">
                <a:ln>
                  <a:noFill/>
                </a:ln>
                <a:solidFill>
                  <a:srgbClr val="000000"/>
                </a:solidFill>
                <a:effectLst/>
                <a:uLnTx/>
                <a:uFillTx/>
                <a:latin typeface="Corbel"/>
                <a:ea typeface="+mn-ea"/>
                <a:cs typeface="+mn-cs"/>
              </a:rPr>
              <a:t>Nieuw landschap past binnen architectuurkaders van het I-domein</a:t>
            </a:r>
          </a:p>
          <a:p>
            <a:pPr marL="266700" marR="0" lvl="0" indent="-266700" algn="l" defTabSz="914400" rtl="0" eaLnBrk="1" fontAlgn="auto" latinLnBrk="0" hangingPunct="1">
              <a:lnSpc>
                <a:spcPct val="100000"/>
              </a:lnSpc>
              <a:spcBef>
                <a:spcPts val="0"/>
              </a:spcBef>
              <a:spcAft>
                <a:spcPts val="900"/>
              </a:spcAft>
              <a:buClrTx/>
              <a:buSzPct val="125000"/>
              <a:buFont typeface="Wingdings" panose="05000000000000000000" pitchFamily="2" charset="2"/>
              <a:buChar char="§"/>
              <a:tabLst/>
              <a:defRPr/>
            </a:pPr>
            <a:r>
              <a:rPr kumimoji="0" lang="nl-NL" sz="1400" b="0" i="0" u="none" strike="noStrike" kern="0" cap="none" spc="0" normalizeH="0" baseline="0" noProof="0" dirty="0">
                <a:ln>
                  <a:noFill/>
                </a:ln>
                <a:solidFill>
                  <a:srgbClr val="000000"/>
                </a:solidFill>
                <a:effectLst/>
                <a:uLnTx/>
                <a:uFillTx/>
                <a:latin typeface="Corbel"/>
                <a:ea typeface="+mn-ea"/>
                <a:cs typeface="+mn-cs"/>
              </a:rPr>
              <a:t>Transitie wordt opgavegericht en wendbaar ingericht</a:t>
            </a:r>
          </a:p>
        </p:txBody>
      </p:sp>
      <p:sp>
        <p:nvSpPr>
          <p:cNvPr id="72" name="TextBox 71">
            <a:extLst>
              <a:ext uri="{FF2B5EF4-FFF2-40B4-BE49-F238E27FC236}">
                <a16:creationId xmlns:a16="http://schemas.microsoft.com/office/drawing/2014/main" id="{251CC0B3-294E-43D8-BAC8-B351CDA9448E}"/>
              </a:ext>
            </a:extLst>
          </p:cNvPr>
          <p:cNvSpPr txBox="1"/>
          <p:nvPr/>
        </p:nvSpPr>
        <p:spPr>
          <a:xfrm>
            <a:off x="5892236" y="1793619"/>
            <a:ext cx="3770590" cy="21544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300"/>
              </a:spcAft>
              <a:buClr>
                <a:srgbClr val="000000"/>
              </a:buClr>
              <a:buSzPct val="125000"/>
              <a:buFontTx/>
              <a:buNone/>
              <a:tabLst/>
              <a:defRPr/>
            </a:pPr>
            <a:r>
              <a:rPr kumimoji="0" lang="nl-NL" sz="1400" b="1" i="0" u="none" strike="noStrike" kern="0" cap="none" spc="0" normalizeH="0" baseline="0" noProof="0" dirty="0">
                <a:ln>
                  <a:noFill/>
                </a:ln>
                <a:solidFill>
                  <a:srgbClr val="FFFFFF"/>
                </a:solidFill>
                <a:effectLst/>
                <a:uLnTx/>
                <a:uFillTx/>
                <a:latin typeface="Corbel"/>
                <a:ea typeface="+mn-ea"/>
                <a:cs typeface="+mn-cs"/>
              </a:rPr>
              <a:t>Randvoorwaarden</a:t>
            </a:r>
            <a:endParaRPr kumimoji="0" lang="nl-NL" sz="1400" b="1" i="0" u="none" strike="noStrike" kern="0" cap="none" spc="0" normalizeH="0" baseline="0" noProof="0" dirty="0">
              <a:ln>
                <a:noFill/>
              </a:ln>
              <a:solidFill>
                <a:srgbClr val="FFFFFF"/>
              </a:solidFill>
              <a:effectLst/>
              <a:highlight>
                <a:srgbClr val="FFFF00"/>
              </a:highlight>
              <a:uLnTx/>
              <a:uFillTx/>
              <a:latin typeface="Corbel"/>
              <a:ea typeface="+mn-ea"/>
              <a:cs typeface="+mn-cs"/>
            </a:endParaRPr>
          </a:p>
        </p:txBody>
      </p:sp>
      <p:sp>
        <p:nvSpPr>
          <p:cNvPr id="73" name="Oval 72">
            <a:extLst>
              <a:ext uri="{FF2B5EF4-FFF2-40B4-BE49-F238E27FC236}">
                <a16:creationId xmlns:a16="http://schemas.microsoft.com/office/drawing/2014/main" id="{DC09443F-2A70-4F71-92C0-B549F7A81369}"/>
              </a:ext>
            </a:extLst>
          </p:cNvPr>
          <p:cNvSpPr/>
          <p:nvPr/>
        </p:nvSpPr>
        <p:spPr>
          <a:xfrm>
            <a:off x="1724699" y="2312918"/>
            <a:ext cx="258967" cy="258967"/>
          </a:xfrm>
          <a:prstGeom prst="ellipse">
            <a:avLst/>
          </a:prstGeom>
          <a:solidFill>
            <a:srgbClr val="FF656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0" cap="none" spc="0" normalizeH="0" baseline="0" noProof="0" dirty="0">
                <a:ln>
                  <a:noFill/>
                </a:ln>
                <a:solidFill>
                  <a:srgbClr val="FFFFFF"/>
                </a:solidFill>
                <a:effectLst/>
                <a:uLnTx/>
                <a:uFillTx/>
                <a:latin typeface="Corbel"/>
                <a:ea typeface="+mn-ea"/>
                <a:cs typeface="+mn-cs"/>
              </a:rPr>
              <a:t>1</a:t>
            </a:r>
          </a:p>
        </p:txBody>
      </p:sp>
      <p:sp>
        <p:nvSpPr>
          <p:cNvPr id="74" name="Oval 73">
            <a:extLst>
              <a:ext uri="{FF2B5EF4-FFF2-40B4-BE49-F238E27FC236}">
                <a16:creationId xmlns:a16="http://schemas.microsoft.com/office/drawing/2014/main" id="{500E3161-1120-4718-A50B-A1DE8F692874}"/>
              </a:ext>
            </a:extLst>
          </p:cNvPr>
          <p:cNvSpPr/>
          <p:nvPr/>
        </p:nvSpPr>
        <p:spPr>
          <a:xfrm>
            <a:off x="1740391" y="3518571"/>
            <a:ext cx="258967" cy="258967"/>
          </a:xfrm>
          <a:prstGeom prst="ellipse">
            <a:avLst/>
          </a:prstGeom>
          <a:solidFill>
            <a:srgbClr val="FF656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0" cap="none" spc="0" normalizeH="0" baseline="0" noProof="0" dirty="0">
                <a:ln>
                  <a:noFill/>
                </a:ln>
                <a:solidFill>
                  <a:srgbClr val="FFFFFF"/>
                </a:solidFill>
                <a:effectLst/>
                <a:uLnTx/>
                <a:uFillTx/>
                <a:latin typeface="Corbel"/>
                <a:ea typeface="+mn-ea"/>
                <a:cs typeface="+mn-cs"/>
              </a:rPr>
              <a:t>2</a:t>
            </a:r>
          </a:p>
        </p:txBody>
      </p:sp>
      <p:sp>
        <p:nvSpPr>
          <p:cNvPr id="75" name="Oval 74">
            <a:extLst>
              <a:ext uri="{FF2B5EF4-FFF2-40B4-BE49-F238E27FC236}">
                <a16:creationId xmlns:a16="http://schemas.microsoft.com/office/drawing/2014/main" id="{B9663B5F-472D-4981-8DDE-23C0383C3788}"/>
              </a:ext>
            </a:extLst>
          </p:cNvPr>
          <p:cNvSpPr/>
          <p:nvPr/>
        </p:nvSpPr>
        <p:spPr>
          <a:xfrm>
            <a:off x="1740391" y="4470591"/>
            <a:ext cx="258967" cy="258967"/>
          </a:xfrm>
          <a:prstGeom prst="ellipse">
            <a:avLst/>
          </a:prstGeom>
          <a:solidFill>
            <a:srgbClr val="FF656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0" cap="none" spc="0" normalizeH="0" baseline="0" noProof="0" dirty="0">
                <a:ln>
                  <a:noFill/>
                </a:ln>
                <a:solidFill>
                  <a:srgbClr val="FFFFFF"/>
                </a:solidFill>
                <a:effectLst/>
                <a:uLnTx/>
                <a:uFillTx/>
                <a:latin typeface="Corbel"/>
                <a:ea typeface="+mn-ea"/>
                <a:cs typeface="+mn-cs"/>
              </a:rPr>
              <a:t>3</a:t>
            </a:r>
          </a:p>
        </p:txBody>
      </p:sp>
      <p:sp>
        <p:nvSpPr>
          <p:cNvPr id="4" name="Tijdelijke aanduiding voor voettekst 3">
            <a:extLst>
              <a:ext uri="{FF2B5EF4-FFF2-40B4-BE49-F238E27FC236}">
                <a16:creationId xmlns:a16="http://schemas.microsoft.com/office/drawing/2014/main" id="{E33A0576-D501-4A01-9EE9-BA716D3C4B99}"/>
              </a:ext>
            </a:extLst>
          </p:cNvPr>
          <p:cNvSpPr>
            <a:spLocks noGrp="1"/>
          </p:cNvSpPr>
          <p:nvPr>
            <p:ph type="ftr" sz="quarter" idx="11"/>
          </p:nvPr>
        </p:nvSpPr>
        <p:spPr/>
        <p:txBody>
          <a:bodyPr/>
          <a:lstStyle/>
          <a:p>
            <a:r>
              <a:rPr lang="nl-NL"/>
              <a:t>Informatiebijeenkomst 26 juli 2021 Europese Aanbesteding SVWI</a:t>
            </a:r>
          </a:p>
        </p:txBody>
      </p:sp>
    </p:spTree>
    <p:extLst>
      <p:ext uri="{BB962C8B-B14F-4D97-AF65-F5344CB8AC3E}">
        <p14:creationId xmlns:p14="http://schemas.microsoft.com/office/powerpoint/2010/main" val="41355607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AEA65701-9B94-481C-90B7-431C366A27C8}"/>
              </a:ext>
            </a:extLst>
          </p:cNvPr>
          <p:cNvSpPr>
            <a:spLocks noGrp="1"/>
          </p:cNvSpPr>
          <p:nvPr>
            <p:ph type="sldNum" sz="quarter" idx="12"/>
          </p:nvPr>
        </p:nvSpPr>
        <p:spPr/>
        <p:txBody>
          <a:bodyPr/>
          <a:lstStyle/>
          <a:p>
            <a:fld id="{992CD0B2-8AB2-4C6C-8876-E15753662C9B}" type="slidenum">
              <a:rPr lang="nl-NL" noProof="0" smtClean="0"/>
              <a:pPr/>
              <a:t>7</a:t>
            </a:fld>
            <a:endParaRPr lang="nl-NL" noProof="0"/>
          </a:p>
        </p:txBody>
      </p:sp>
      <p:sp>
        <p:nvSpPr>
          <p:cNvPr id="5" name="Tijdelijke aanduiding voor tekst 4">
            <a:extLst>
              <a:ext uri="{FF2B5EF4-FFF2-40B4-BE49-F238E27FC236}">
                <a16:creationId xmlns:a16="http://schemas.microsoft.com/office/drawing/2014/main" id="{66AB8095-D485-45A6-93E4-FDB05FE9639A}"/>
              </a:ext>
            </a:extLst>
          </p:cNvPr>
          <p:cNvSpPr>
            <a:spLocks noGrp="1"/>
          </p:cNvSpPr>
          <p:nvPr>
            <p:ph type="body" sz="quarter" idx="14"/>
          </p:nvPr>
        </p:nvSpPr>
        <p:spPr>
          <a:xfrm>
            <a:off x="658813" y="2514599"/>
            <a:ext cx="10874374" cy="2857501"/>
          </a:xfrm>
        </p:spPr>
        <p:txBody>
          <a:bodyPr/>
          <a:lstStyle/>
          <a:p>
            <a:r>
              <a:rPr lang="nl-NL" dirty="0"/>
              <a:t>Vraagstelling</a:t>
            </a:r>
            <a:br>
              <a:rPr lang="nl-NL" dirty="0"/>
            </a:br>
            <a:r>
              <a:rPr lang="nl-NL" sz="3600" dirty="0"/>
              <a:t>Systeem Vernieuwing Werk en Inkomen</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lang="nl-NL" sz="1400" dirty="0">
                <a:solidFill>
                  <a:srgbClr val="000000"/>
                </a:solidFill>
              </a:rPr>
              <a:t>Robert Hausdorfer </a:t>
            </a: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projectmanager aanbesteding SVWI</a:t>
            </a:r>
            <a:endParaRPr kumimoji="0" lang="nl-NL" sz="5400" b="1" i="0" u="none" strike="noStrike" kern="1200" cap="none" spc="0" normalizeH="0" baseline="0" noProof="0" dirty="0">
              <a:ln>
                <a:noFill/>
              </a:ln>
              <a:solidFill>
                <a:srgbClr val="FF0000"/>
              </a:solidFill>
              <a:effectLst/>
              <a:uLnTx/>
              <a:uFillTx/>
              <a:latin typeface="Corbel" panose="020B0503020204020204" pitchFamily="34" charset="0"/>
              <a:ea typeface="+mn-ea"/>
              <a:cs typeface="+mn-cs"/>
            </a:endParaRPr>
          </a:p>
          <a:p>
            <a:endParaRPr lang="nl-NL" dirty="0"/>
          </a:p>
        </p:txBody>
      </p:sp>
      <p:sp>
        <p:nvSpPr>
          <p:cNvPr id="6" name="Tijdelijke aanduiding voor voettekst 5">
            <a:extLst>
              <a:ext uri="{FF2B5EF4-FFF2-40B4-BE49-F238E27FC236}">
                <a16:creationId xmlns:a16="http://schemas.microsoft.com/office/drawing/2014/main" id="{7FA49CFB-10C7-4014-B5F2-EA1EE4673E13}"/>
              </a:ext>
            </a:extLst>
          </p:cNvPr>
          <p:cNvSpPr>
            <a:spLocks noGrp="1"/>
          </p:cNvSpPr>
          <p:nvPr>
            <p:ph type="ftr" sz="quarter" idx="11"/>
          </p:nvPr>
        </p:nvSpPr>
        <p:spPr/>
        <p:txBody>
          <a:bodyPr/>
          <a:lstStyle/>
          <a:p>
            <a:r>
              <a:rPr lang="nl-NL"/>
              <a:t>Informatiebijeenkomst 26 juli 2021 Europese Aanbesteding SVWI</a:t>
            </a:r>
          </a:p>
        </p:txBody>
      </p:sp>
    </p:spTree>
    <p:extLst>
      <p:ext uri="{BB962C8B-B14F-4D97-AF65-F5344CB8AC3E}">
        <p14:creationId xmlns:p14="http://schemas.microsoft.com/office/powerpoint/2010/main" val="20731754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431A5E55-B35A-42F4-ABDA-E6DE53323FEB}"/>
              </a:ext>
            </a:extLst>
          </p:cNvPr>
          <p:cNvSpPr>
            <a:spLocks noGrp="1"/>
          </p:cNvSpPr>
          <p:nvPr>
            <p:ph type="sldNum" sz="quarter" idx="12"/>
          </p:nvPr>
        </p:nvSpPr>
        <p:spPr/>
        <p:txBody>
          <a:bodyPr/>
          <a:lstStyle/>
          <a:p>
            <a:fld id="{992CD0B2-8AB2-4C6C-8876-E15753662C9B}" type="slidenum">
              <a:rPr lang="nl-NL" noProof="0" smtClean="0"/>
              <a:pPr/>
              <a:t>8</a:t>
            </a:fld>
            <a:endParaRPr lang="nl-NL" noProof="0"/>
          </a:p>
        </p:txBody>
      </p:sp>
      <p:sp>
        <p:nvSpPr>
          <p:cNvPr id="4" name="Tijdelijke aanduiding voor tekst 3">
            <a:extLst>
              <a:ext uri="{FF2B5EF4-FFF2-40B4-BE49-F238E27FC236}">
                <a16:creationId xmlns:a16="http://schemas.microsoft.com/office/drawing/2014/main" id="{3BB0A3AF-C1A4-4E6C-A9F6-A3CE0CD11BE4}"/>
              </a:ext>
            </a:extLst>
          </p:cNvPr>
          <p:cNvSpPr>
            <a:spLocks noGrp="1"/>
          </p:cNvSpPr>
          <p:nvPr>
            <p:ph type="body" sz="quarter" idx="14"/>
          </p:nvPr>
        </p:nvSpPr>
        <p:spPr/>
        <p:txBody>
          <a:bodyPr/>
          <a:lstStyle/>
          <a:p>
            <a:endParaRPr lang="nl-NL"/>
          </a:p>
        </p:txBody>
      </p:sp>
      <p:sp>
        <p:nvSpPr>
          <p:cNvPr id="5" name="Tijdelijke aanduiding voor inhoud 4">
            <a:extLst>
              <a:ext uri="{FF2B5EF4-FFF2-40B4-BE49-F238E27FC236}">
                <a16:creationId xmlns:a16="http://schemas.microsoft.com/office/drawing/2014/main" id="{F2408BFE-1B1E-4DC5-9755-1995470B96AC}"/>
              </a:ext>
            </a:extLst>
          </p:cNvPr>
          <p:cNvSpPr>
            <a:spLocks noGrp="1"/>
          </p:cNvSpPr>
          <p:nvPr>
            <p:ph sz="quarter" idx="18"/>
          </p:nvPr>
        </p:nvSpPr>
        <p:spPr/>
        <p:txBody>
          <a:bodyPr/>
          <a:lstStyle/>
          <a:p>
            <a:pPr lvl="0">
              <a:lnSpc>
                <a:spcPct val="120000"/>
              </a:lnSpc>
              <a:spcAft>
                <a:spcPts val="600"/>
              </a:spcAft>
            </a:pPr>
            <a:r>
              <a:rPr lang="nl-NL" sz="1600" dirty="0">
                <a:effectLst/>
                <a:latin typeface="Corbel" panose="020B0503020204020204" pitchFamily="34" charset="0"/>
                <a:ea typeface="Times New Roman" panose="02020603050405020304" pitchFamily="18" charset="0"/>
                <a:cs typeface="Times New Roman" panose="02020603050405020304" pitchFamily="18" charset="0"/>
              </a:rPr>
              <a:t>De Gemeente Amsterdam zoekt een partner voor het moderniseren van de </a:t>
            </a:r>
            <a:r>
              <a:rPr lang="nl-NL" sz="1600" dirty="0" err="1">
                <a:effectLst/>
                <a:latin typeface="Corbel" panose="020B0503020204020204" pitchFamily="34" charset="0"/>
                <a:ea typeface="Times New Roman" panose="02020603050405020304" pitchFamily="18" charset="0"/>
                <a:cs typeface="Times New Roman" panose="02020603050405020304" pitchFamily="18" charset="0"/>
              </a:rPr>
              <a:t>informatiesytemen</a:t>
            </a:r>
            <a:r>
              <a:rPr lang="nl-NL" sz="1600" dirty="0">
                <a:effectLst/>
                <a:latin typeface="Corbel" panose="020B0503020204020204" pitchFamily="34" charset="0"/>
                <a:ea typeface="Times New Roman" panose="02020603050405020304" pitchFamily="18" charset="0"/>
                <a:cs typeface="Times New Roman" panose="02020603050405020304" pitchFamily="18" charset="0"/>
              </a:rPr>
              <a:t> binnen het domein van werk en inkomen. Doel is te komen tot een geïntegreerd </a:t>
            </a:r>
            <a:r>
              <a:rPr lang="nl-NL" sz="1600" dirty="0" err="1">
                <a:effectLst/>
                <a:latin typeface="Corbel" panose="020B0503020204020204" pitchFamily="34" charset="0"/>
                <a:ea typeface="Times New Roman" panose="02020603050405020304" pitchFamily="18" charset="0"/>
                <a:cs typeface="Times New Roman" panose="02020603050405020304" pitchFamily="18" charset="0"/>
              </a:rPr>
              <a:t>informatiesyteem</a:t>
            </a:r>
            <a:r>
              <a:rPr lang="nl-NL" sz="1600" dirty="0">
                <a:effectLst/>
                <a:latin typeface="Corbel" panose="020B0503020204020204" pitchFamily="34" charset="0"/>
                <a:ea typeface="Times New Roman" panose="02020603050405020304" pitchFamily="18" charset="0"/>
                <a:cs typeface="Times New Roman" panose="02020603050405020304" pitchFamily="18" charset="0"/>
              </a:rPr>
              <a:t> en integrale procesuitvoering waarbij de inwoner regie voert, de medewerker hem ondersteunt en processen waar mogelijk geautomatiseerd verlopen.</a:t>
            </a:r>
          </a:p>
          <a:p>
            <a:pPr lvl="0">
              <a:lnSpc>
                <a:spcPct val="120000"/>
              </a:lnSpc>
              <a:spcAft>
                <a:spcPts val="600"/>
              </a:spcAft>
            </a:pPr>
            <a:r>
              <a:rPr lang="nl-NL" sz="1600" dirty="0">
                <a:effectLst/>
                <a:latin typeface="Corbel" panose="020B0503020204020204" pitchFamily="34" charset="0"/>
                <a:ea typeface="Times New Roman" panose="02020603050405020304" pitchFamily="18" charset="0"/>
                <a:cs typeface="Times New Roman" panose="02020603050405020304" pitchFamily="18" charset="0"/>
              </a:rPr>
              <a:t>Het is de behoefte van de Gemeente Amsterdam dat deze partner hiertoe op hoofdlijnen de volgende werkzaamheden uitvoert:</a:t>
            </a:r>
            <a:endParaRPr lang="nl-NL" sz="1600" dirty="0">
              <a:ea typeface="Times New Roman" panose="02020603050405020304" pitchFamily="18" charset="0"/>
              <a:cs typeface="Times New Roman" panose="02020603050405020304" pitchFamily="18" charset="0"/>
            </a:endParaRPr>
          </a:p>
          <a:p>
            <a:pPr marL="342900" lvl="0" indent="-342900">
              <a:lnSpc>
                <a:spcPct val="120000"/>
              </a:lnSpc>
              <a:spcAft>
                <a:spcPts val="600"/>
              </a:spcAft>
              <a:buFont typeface="+mj-lt"/>
              <a:buAutoNum type="arabicPeriod"/>
            </a:pPr>
            <a:r>
              <a:rPr lang="nl-NL" sz="1600" dirty="0">
                <a:effectLst/>
                <a:latin typeface="Corbel" panose="020B0503020204020204" pitchFamily="34" charset="0"/>
                <a:ea typeface="Times New Roman" panose="02020603050405020304" pitchFamily="18" charset="0"/>
                <a:cs typeface="Times New Roman" panose="02020603050405020304" pitchFamily="18" charset="0"/>
              </a:rPr>
              <a:t>Het samen met de opdrachtgever ontwikkelen en implementeren van een </a:t>
            </a:r>
            <a:r>
              <a:rPr lang="nl-NL" sz="1600" dirty="0">
                <a:solidFill>
                  <a:srgbClr val="000000"/>
                </a:solidFill>
                <a:effectLst/>
                <a:latin typeface="Corbel" panose="020B0503020204020204" pitchFamily="34" charset="0"/>
                <a:ea typeface="Times New Roman" panose="02020603050405020304" pitchFamily="18" charset="0"/>
                <a:cs typeface="Times New Roman" panose="02020603050405020304" pitchFamily="18" charset="0"/>
              </a:rPr>
              <a:t>Voorkant, Besturings- en Integratievoorziening waarmee:</a:t>
            </a:r>
            <a:endParaRPr lang="nl-NL" sz="1600" dirty="0">
              <a:effectLst/>
              <a:latin typeface="Corbel" panose="020B0503020204020204" pitchFamily="34" charset="0"/>
              <a:ea typeface="Times New Roman" panose="02020603050405020304" pitchFamily="18" charset="0"/>
              <a:cs typeface="Times New Roman" panose="02020603050405020304" pitchFamily="18" charset="0"/>
            </a:endParaRPr>
          </a:p>
          <a:p>
            <a:pPr marL="742950" lvl="1" indent="-285750">
              <a:lnSpc>
                <a:spcPct val="120000"/>
              </a:lnSpc>
              <a:spcAft>
                <a:spcPts val="600"/>
              </a:spcAft>
              <a:buFont typeface="+mj-lt"/>
              <a:buAutoNum type="alphaLcPeriod"/>
            </a:pPr>
            <a:r>
              <a:rPr lang="nl-NL" sz="1600" dirty="0">
                <a:effectLst/>
                <a:latin typeface="Corbel" panose="020B0503020204020204" pitchFamily="34" charset="0"/>
                <a:ea typeface="Times New Roman" panose="02020603050405020304" pitchFamily="18" charset="0"/>
                <a:cs typeface="Times New Roman" panose="02020603050405020304" pitchFamily="18" charset="0"/>
              </a:rPr>
              <a:t> De te implementeren SaaS-dienst Werk &amp; Participatie en de bestaande inkomensvoorziening Socrates onderling informatie kunnen uitwisselen en deze integraal kunnen presenteren;</a:t>
            </a:r>
          </a:p>
          <a:p>
            <a:pPr marL="742950" lvl="1" indent="-285750">
              <a:lnSpc>
                <a:spcPct val="120000"/>
              </a:lnSpc>
              <a:spcAft>
                <a:spcPts val="600"/>
              </a:spcAft>
              <a:buFont typeface="+mj-lt"/>
              <a:buAutoNum type="alphaLcPeriod"/>
            </a:pPr>
            <a:r>
              <a:rPr lang="nl-NL" sz="1600" dirty="0">
                <a:effectLst/>
                <a:latin typeface="Corbel" panose="020B0503020204020204" pitchFamily="34" charset="0"/>
                <a:ea typeface="Times New Roman" panose="02020603050405020304" pitchFamily="18" charset="0"/>
                <a:cs typeface="Times New Roman" panose="02020603050405020304" pitchFamily="18" charset="0"/>
              </a:rPr>
              <a:t>Gebruikers (inwoners, bedrijven, ketenpartners en professionals) ieder beschikken over een unieke userinterface waarmee zij het (zoveel als mogelijk geautomatiseerde) proces integraal kunnen doorlopen.</a:t>
            </a:r>
          </a:p>
          <a:p>
            <a:pPr marL="342900" lvl="0" indent="-342900">
              <a:lnSpc>
                <a:spcPct val="120000"/>
              </a:lnSpc>
              <a:spcAft>
                <a:spcPts val="600"/>
              </a:spcAft>
              <a:buFont typeface="+mj-lt"/>
              <a:buAutoNum type="arabicPeriod"/>
            </a:pPr>
            <a:r>
              <a:rPr lang="nl-NL" sz="1600" dirty="0">
                <a:effectLst/>
                <a:latin typeface="Corbel" panose="020B0503020204020204" pitchFamily="34" charset="0"/>
                <a:ea typeface="Times New Roman" panose="02020603050405020304" pitchFamily="18" charset="0"/>
                <a:cs typeface="Times New Roman" panose="02020603050405020304" pitchFamily="18" charset="0"/>
              </a:rPr>
              <a:t>Het vervangen van het huidige systeem RAAK binnen de directies Werk en Participatie. De opdrachtnemer implementeert en beheert een standaard bewezen SaaS-oplossing Werk &amp; Participatie. Dit pakket is leidend voor de processen en werkwijze binnen dit domein en wordt met zo min mogelijk wijzigingen geïmplementeerd.</a:t>
            </a:r>
          </a:p>
          <a:p>
            <a:endParaRPr lang="nl-NL" sz="1600" dirty="0"/>
          </a:p>
        </p:txBody>
      </p:sp>
      <p:sp>
        <p:nvSpPr>
          <p:cNvPr id="6" name="Titel 5">
            <a:extLst>
              <a:ext uri="{FF2B5EF4-FFF2-40B4-BE49-F238E27FC236}">
                <a16:creationId xmlns:a16="http://schemas.microsoft.com/office/drawing/2014/main" id="{4E53F95F-C2FC-4478-9A37-00B5B05EE27E}"/>
              </a:ext>
            </a:extLst>
          </p:cNvPr>
          <p:cNvSpPr>
            <a:spLocks noGrp="1"/>
          </p:cNvSpPr>
          <p:nvPr>
            <p:ph type="title"/>
          </p:nvPr>
        </p:nvSpPr>
        <p:spPr/>
        <p:txBody>
          <a:bodyPr/>
          <a:lstStyle/>
          <a:p>
            <a:r>
              <a:rPr lang="nl-NL" dirty="0"/>
              <a:t>Behoefte Systeem Vernieuwing Werk en Inkomen</a:t>
            </a:r>
          </a:p>
        </p:txBody>
      </p:sp>
      <p:sp>
        <p:nvSpPr>
          <p:cNvPr id="7" name="Tijdelijke aanduiding voor voettekst 6">
            <a:extLst>
              <a:ext uri="{FF2B5EF4-FFF2-40B4-BE49-F238E27FC236}">
                <a16:creationId xmlns:a16="http://schemas.microsoft.com/office/drawing/2014/main" id="{20DC8A6A-E8D1-480C-B2CA-F79BCE7754E6}"/>
              </a:ext>
            </a:extLst>
          </p:cNvPr>
          <p:cNvSpPr>
            <a:spLocks noGrp="1"/>
          </p:cNvSpPr>
          <p:nvPr>
            <p:ph type="ftr" sz="quarter" idx="11"/>
          </p:nvPr>
        </p:nvSpPr>
        <p:spPr/>
        <p:txBody>
          <a:bodyPr/>
          <a:lstStyle/>
          <a:p>
            <a:r>
              <a:rPr lang="nl-NL"/>
              <a:t>Informatiebijeenkomst 26 juli 2021 Europese Aanbesteding SVWI</a:t>
            </a:r>
          </a:p>
        </p:txBody>
      </p:sp>
    </p:spTree>
    <p:extLst>
      <p:ext uri="{BB962C8B-B14F-4D97-AF65-F5344CB8AC3E}">
        <p14:creationId xmlns:p14="http://schemas.microsoft.com/office/powerpoint/2010/main" val="163768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B94DEE-9399-4F1C-9B2C-6F0C13BB05A7}"/>
              </a:ext>
            </a:extLst>
          </p:cNvPr>
          <p:cNvSpPr>
            <a:spLocks noGrp="1"/>
          </p:cNvSpPr>
          <p:nvPr>
            <p:ph type="title"/>
          </p:nvPr>
        </p:nvSpPr>
        <p:spPr/>
        <p:txBody>
          <a:bodyPr/>
          <a:lstStyle/>
          <a:p>
            <a:r>
              <a:rPr lang="nl-NL" dirty="0"/>
              <a:t>Doelarchitectuur applicatie-landschap Werk en Inkomen (1)</a:t>
            </a:r>
          </a:p>
        </p:txBody>
      </p:sp>
      <p:sp>
        <p:nvSpPr>
          <p:cNvPr id="4" name="Tijdelijke aanduiding voor dianummer 3">
            <a:extLst>
              <a:ext uri="{FF2B5EF4-FFF2-40B4-BE49-F238E27FC236}">
                <a16:creationId xmlns:a16="http://schemas.microsoft.com/office/drawing/2014/main" id="{8C54272B-0BFC-4513-9AA7-635778E50D15}"/>
              </a:ext>
            </a:extLst>
          </p:cNvPr>
          <p:cNvSpPr>
            <a:spLocks noGrp="1"/>
          </p:cNvSpPr>
          <p:nvPr>
            <p:ph type="sldNum" sz="quarter" idx="11"/>
          </p:nvPr>
        </p:nvSpPr>
        <p:spPr/>
        <p:txBody>
          <a:bodyPr/>
          <a:lstStyle/>
          <a:p>
            <a:fld id="{992CD0B2-8AB2-4C6C-8876-E15753662C9B}" type="slidenum">
              <a:rPr lang="nl-NL" noProof="0" smtClean="0"/>
              <a:pPr/>
              <a:t>9</a:t>
            </a:fld>
            <a:endParaRPr lang="nl-NL" noProof="0"/>
          </a:p>
        </p:txBody>
      </p:sp>
      <p:pic>
        <p:nvPicPr>
          <p:cNvPr id="5" name="Afbeelding 4">
            <a:extLst>
              <a:ext uri="{FF2B5EF4-FFF2-40B4-BE49-F238E27FC236}">
                <a16:creationId xmlns:a16="http://schemas.microsoft.com/office/drawing/2014/main" id="{4D39BBBE-8E28-4307-A10B-F900579CF423}"/>
              </a:ext>
            </a:extLst>
          </p:cNvPr>
          <p:cNvPicPr>
            <a:picLocks noChangeAspect="1"/>
          </p:cNvPicPr>
          <p:nvPr/>
        </p:nvPicPr>
        <p:blipFill>
          <a:blip r:embed="rId2"/>
          <a:stretch>
            <a:fillRect/>
          </a:stretch>
        </p:blipFill>
        <p:spPr>
          <a:xfrm>
            <a:off x="1558856" y="1329938"/>
            <a:ext cx="9074287" cy="5156973"/>
          </a:xfrm>
          <a:prstGeom prst="rect">
            <a:avLst/>
          </a:prstGeom>
        </p:spPr>
      </p:pic>
      <p:sp>
        <p:nvSpPr>
          <p:cNvPr id="6" name="Tijdelijke aanduiding voor voettekst 5">
            <a:extLst>
              <a:ext uri="{FF2B5EF4-FFF2-40B4-BE49-F238E27FC236}">
                <a16:creationId xmlns:a16="http://schemas.microsoft.com/office/drawing/2014/main" id="{CE6D92F2-EFF6-4290-8671-2B066607956F}"/>
              </a:ext>
            </a:extLst>
          </p:cNvPr>
          <p:cNvSpPr>
            <a:spLocks noGrp="1"/>
          </p:cNvSpPr>
          <p:nvPr>
            <p:ph type="ftr" sz="quarter" idx="10"/>
          </p:nvPr>
        </p:nvSpPr>
        <p:spPr/>
        <p:txBody>
          <a:bodyPr/>
          <a:lstStyle/>
          <a:p>
            <a:r>
              <a:rPr lang="nl-NL"/>
              <a:t>Informatiebijeenkomst 26 juli 2021 Europese Aanbesteding SVWI</a:t>
            </a:r>
          </a:p>
        </p:txBody>
      </p:sp>
    </p:spTree>
    <p:extLst>
      <p:ext uri="{BB962C8B-B14F-4D97-AF65-F5344CB8AC3E}">
        <p14:creationId xmlns:p14="http://schemas.microsoft.com/office/powerpoint/2010/main" val="314385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ZkKZ5pvK9CFpJDGWtPAP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vq8r63jDnzXBnxBVij8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3rOtlAk2tKfuZWKv.1u1g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TALIEFcZt3ZtHPQRBNV3w"/>
</p:tagLst>
</file>

<file path=ppt/tags/tag108.xml><?xml version="1.0" encoding="utf-8"?>
<p:tagLst xmlns:a="http://schemas.openxmlformats.org/drawingml/2006/main" xmlns:r="http://schemas.openxmlformats.org/officeDocument/2006/relationships" xmlns:p="http://schemas.openxmlformats.org/presentationml/2006/main">
  <p:tag name="NAME" val="Oval"/>
</p:tagLst>
</file>

<file path=ppt/tags/tag109.xml><?xml version="1.0" encoding="utf-8"?>
<p:tagLst xmlns:a="http://schemas.openxmlformats.org/drawingml/2006/main" xmlns:r="http://schemas.openxmlformats.org/officeDocument/2006/relationships" xmlns:p="http://schemas.openxmlformats.org/presentationml/2006/main">
  <p:tag name="NAME" val="Rectangl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Bc83_HqS7ecBy7C0wAleQ"/>
</p:tagLst>
</file>

<file path=ppt/tags/tag110.xml><?xml version="1.0" encoding="utf-8"?>
<p:tagLst xmlns:a="http://schemas.openxmlformats.org/drawingml/2006/main" xmlns:r="http://schemas.openxmlformats.org/officeDocument/2006/relationships" xmlns:p="http://schemas.openxmlformats.org/presentationml/2006/main">
  <p:tag name="NAME" val="RoundedRectangle"/>
</p:tagLst>
</file>

<file path=ppt/tags/tag111.xml><?xml version="1.0" encoding="utf-8"?>
<p:tagLst xmlns:a="http://schemas.openxmlformats.org/drawingml/2006/main" xmlns:r="http://schemas.openxmlformats.org/officeDocument/2006/relationships" xmlns:p="http://schemas.openxmlformats.org/presentationml/2006/main">
  <p:tag name="NAME" val="Arrow"/>
</p:tagLst>
</file>

<file path=ppt/tags/tag112.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113.xml><?xml version="1.0" encoding="utf-8"?>
<p:tagLst xmlns:a="http://schemas.openxmlformats.org/drawingml/2006/main" xmlns:r="http://schemas.openxmlformats.org/officeDocument/2006/relationships" xmlns:p="http://schemas.openxmlformats.org/presentationml/2006/main">
  <p:tag name="NAME" val="Bracket"/>
</p:tagLst>
</file>

<file path=ppt/tags/tag114.xml><?xml version="1.0" encoding="utf-8"?>
<p:tagLst xmlns:a="http://schemas.openxmlformats.org/drawingml/2006/main" xmlns:r="http://schemas.openxmlformats.org/officeDocument/2006/relationships" xmlns:p="http://schemas.openxmlformats.org/presentationml/2006/main">
  <p:tag name="NAME" val="SingleBoat"/>
</p:tagLst>
</file>

<file path=ppt/tags/tag115.xml><?xml version="1.0" encoding="utf-8"?>
<p:tagLst xmlns:a="http://schemas.openxmlformats.org/drawingml/2006/main" xmlns:r="http://schemas.openxmlformats.org/officeDocument/2006/relationships" xmlns:p="http://schemas.openxmlformats.org/presentationml/2006/main">
  <p:tag name="NAME" val="1DoubleBoat"/>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118.xml><?xml version="1.0" encoding="utf-8"?>
<p:tagLst xmlns:a="http://schemas.openxmlformats.org/drawingml/2006/main" xmlns:r="http://schemas.openxmlformats.org/officeDocument/2006/relationships" xmlns:p="http://schemas.openxmlformats.org/presentationml/2006/main">
  <p:tag name="NAME" val="TitleTrackerNum"/>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3XBC61VdmjD4tepOK0JnDQ"/>
</p:tagLst>
</file>

<file path=ppt/tags/tag13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4.xml><?xml version="1.0" encoding="utf-8"?>
<p:tagLst xmlns:a="http://schemas.openxmlformats.org/drawingml/2006/main" xmlns:r="http://schemas.openxmlformats.org/officeDocument/2006/relationships" xmlns:p="http://schemas.openxmlformats.org/presentationml/2006/main">
  <p:tag name="NAME" val="1BoatTopShape"/>
</p:tagLst>
</file>

<file path=ppt/tags/tag135.xml><?xml version="1.0" encoding="utf-8"?>
<p:tagLst xmlns:a="http://schemas.openxmlformats.org/drawingml/2006/main" xmlns:r="http://schemas.openxmlformats.org/officeDocument/2006/relationships" xmlns:p="http://schemas.openxmlformats.org/presentationml/2006/main">
  <p:tag name="NAME" val="1BoatTopText"/>
</p:tagLst>
</file>

<file path=ppt/tags/tag136.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37.xml><?xml version="1.0" encoding="utf-8"?>
<p:tagLst xmlns:a="http://schemas.openxmlformats.org/drawingml/2006/main" xmlns:r="http://schemas.openxmlformats.org/officeDocument/2006/relationships" xmlns:p="http://schemas.openxmlformats.org/presentationml/2006/main">
  <p:tag name="NAME" val="1BoatBottomText"/>
</p:tagLst>
</file>

<file path=ppt/tags/tag13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9.xml><?xml version="1.0" encoding="utf-8"?>
<p:tagLst xmlns:a="http://schemas.openxmlformats.org/drawingml/2006/main" xmlns:r="http://schemas.openxmlformats.org/officeDocument/2006/relationships" xmlns:p="http://schemas.openxmlformats.org/presentationml/2006/main">
  <p:tag name="NAME" val="SingleBoatTex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fZkKZ5pvK9CFpJDGWtPAP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wvq8r63jDnzXBnxBVij8y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3rOtlAk2tKfuZWKv.1u1g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ays4i6LLSRWNgg30Wlycb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FTALIEFcZt3ZtHPQRBNV3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o1GyJU10sSSjmxhw0DjZw"/>
</p:tagLst>
</file>

<file path=ppt/tags/tag150.xml><?xml version="1.0" encoding="utf-8"?>
<p:tagLst xmlns:a="http://schemas.openxmlformats.org/drawingml/2006/main" xmlns:r="http://schemas.openxmlformats.org/officeDocument/2006/relationships" xmlns:p="http://schemas.openxmlformats.org/presentationml/2006/main">
  <p:tag name="NAME" val="Oval"/>
</p:tagLst>
</file>

<file path=ppt/tags/tag151.xml><?xml version="1.0" encoding="utf-8"?>
<p:tagLst xmlns:a="http://schemas.openxmlformats.org/drawingml/2006/main" xmlns:r="http://schemas.openxmlformats.org/officeDocument/2006/relationships" xmlns:p="http://schemas.openxmlformats.org/presentationml/2006/main">
  <p:tag name="NAME" val="Rectangle"/>
</p:tagLst>
</file>

<file path=ppt/tags/tag152.xml><?xml version="1.0" encoding="utf-8"?>
<p:tagLst xmlns:a="http://schemas.openxmlformats.org/drawingml/2006/main" xmlns:r="http://schemas.openxmlformats.org/officeDocument/2006/relationships" xmlns:p="http://schemas.openxmlformats.org/presentationml/2006/main">
  <p:tag name="NAME" val="RoundedRectangle"/>
</p:tagLst>
</file>

<file path=ppt/tags/tag153.xml><?xml version="1.0" encoding="utf-8"?>
<p:tagLst xmlns:a="http://schemas.openxmlformats.org/drawingml/2006/main" xmlns:r="http://schemas.openxmlformats.org/officeDocument/2006/relationships" xmlns:p="http://schemas.openxmlformats.org/presentationml/2006/main">
  <p:tag name="NAME" val="Arrow"/>
</p:tagLst>
</file>

<file path=ppt/tags/tag154.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155.xml><?xml version="1.0" encoding="utf-8"?>
<p:tagLst xmlns:a="http://schemas.openxmlformats.org/drawingml/2006/main" xmlns:r="http://schemas.openxmlformats.org/officeDocument/2006/relationships" xmlns:p="http://schemas.openxmlformats.org/presentationml/2006/main">
  <p:tag name="NAME" val="Bracket"/>
</p:tagLst>
</file>

<file path=ppt/tags/tag156.xml><?xml version="1.0" encoding="utf-8"?>
<p:tagLst xmlns:a="http://schemas.openxmlformats.org/drawingml/2006/main" xmlns:r="http://schemas.openxmlformats.org/officeDocument/2006/relationships" xmlns:p="http://schemas.openxmlformats.org/presentationml/2006/main">
  <p:tag name="NAME" val="SingleBoat"/>
</p:tagLst>
</file>

<file path=ppt/tags/tag157.xml><?xml version="1.0" encoding="utf-8"?>
<p:tagLst xmlns:a="http://schemas.openxmlformats.org/drawingml/2006/main" xmlns:r="http://schemas.openxmlformats.org/officeDocument/2006/relationships" xmlns:p="http://schemas.openxmlformats.org/presentationml/2006/main">
  <p:tag name="NAME" val="1DoubleBoat"/>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9.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NAME" val="TitleTrackerNum"/>
</p:tagLst>
</file>

<file path=ppt/tags/tag161.xml><?xml version="1.0" encoding="utf-8"?>
<p:tagLst xmlns:a="http://schemas.openxmlformats.org/drawingml/2006/main" xmlns:r="http://schemas.openxmlformats.org/officeDocument/2006/relationships" xmlns:p="http://schemas.openxmlformats.org/presentationml/2006/main">
  <p:tag name="NAME" val="Moon"/>
</p:tagLst>
</file>

<file path=ppt/tags/tag162.xml><?xml version="1.0" encoding="utf-8"?>
<p:tagLst xmlns:a="http://schemas.openxmlformats.org/drawingml/2006/main" xmlns:r="http://schemas.openxmlformats.org/officeDocument/2006/relationships" xmlns:p="http://schemas.openxmlformats.org/presentationml/2006/main">
  <p:tag name="NAME" val="Moon"/>
</p:tagLst>
</file>

<file path=ppt/tags/tag163.xml><?xml version="1.0" encoding="utf-8"?>
<p:tagLst xmlns:a="http://schemas.openxmlformats.org/drawingml/2006/main" xmlns:r="http://schemas.openxmlformats.org/officeDocument/2006/relationships" xmlns:p="http://schemas.openxmlformats.org/presentationml/2006/main">
  <p:tag name="NAME" val="Moon"/>
</p:tagLst>
</file>

<file path=ppt/tags/tag164.xml><?xml version="1.0" encoding="utf-8"?>
<p:tagLst xmlns:a="http://schemas.openxmlformats.org/drawingml/2006/main" xmlns:r="http://schemas.openxmlformats.org/officeDocument/2006/relationships" xmlns:p="http://schemas.openxmlformats.org/presentationml/2006/main">
  <p:tag name="NAME" val="Moon"/>
</p:tagLst>
</file>

<file path=ppt/tags/tag165.xml><?xml version="1.0" encoding="utf-8"?>
<p:tagLst xmlns:a="http://schemas.openxmlformats.org/drawingml/2006/main" xmlns:r="http://schemas.openxmlformats.org/officeDocument/2006/relationships" xmlns:p="http://schemas.openxmlformats.org/presentationml/2006/main">
  <p:tag name="NAME" val="Moon"/>
</p:tagLst>
</file>

<file path=ppt/tags/tag16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6.xml><?xml version="1.0" encoding="utf-8"?>
<p:tagLst xmlns:a="http://schemas.openxmlformats.org/drawingml/2006/main" xmlns:r="http://schemas.openxmlformats.org/officeDocument/2006/relationships" xmlns:p="http://schemas.openxmlformats.org/presentationml/2006/main">
  <p:tag name="NAME" val="1BoatTopShape"/>
</p:tagLst>
</file>

<file path=ppt/tags/tag177.xml><?xml version="1.0" encoding="utf-8"?>
<p:tagLst xmlns:a="http://schemas.openxmlformats.org/drawingml/2006/main" xmlns:r="http://schemas.openxmlformats.org/officeDocument/2006/relationships" xmlns:p="http://schemas.openxmlformats.org/presentationml/2006/main">
  <p:tag name="NAME" val="1BoatTopText"/>
</p:tagLst>
</file>

<file path=ppt/tags/tag178.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79.xml><?xml version="1.0" encoding="utf-8"?>
<p:tagLst xmlns:a="http://schemas.openxmlformats.org/drawingml/2006/main" xmlns:r="http://schemas.openxmlformats.org/officeDocument/2006/relationships" xmlns:p="http://schemas.openxmlformats.org/presentationml/2006/main">
  <p:tag name="NAME" val="1BoatBottomText"/>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o1GyJU10sSSjmxhw0DjZw"/>
</p:tagLst>
</file>

<file path=ppt/tags/tag18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1.xml><?xml version="1.0" encoding="utf-8"?>
<p:tagLst xmlns:a="http://schemas.openxmlformats.org/drawingml/2006/main" xmlns:r="http://schemas.openxmlformats.org/officeDocument/2006/relationships" xmlns:p="http://schemas.openxmlformats.org/presentationml/2006/main">
  <p:tag name="NAME" val="SingleBoatText"/>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fZkKZ5pvK9CFpJDGWtPAP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wvq8r63jDnzXBnxBVij8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3rOtlAk2tKfuZWKv.1u1g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FTALIEFcZt3ZtHPQRBNV3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NAME" val="Oval"/>
</p:tagLst>
</file>

<file path=ppt/tags/tag191.xml><?xml version="1.0" encoding="utf-8"?>
<p:tagLst xmlns:a="http://schemas.openxmlformats.org/drawingml/2006/main" xmlns:r="http://schemas.openxmlformats.org/officeDocument/2006/relationships" xmlns:p="http://schemas.openxmlformats.org/presentationml/2006/main">
  <p:tag name="NAME" val="Rectangle"/>
</p:tagLst>
</file>

<file path=ppt/tags/tag192.xml><?xml version="1.0" encoding="utf-8"?>
<p:tagLst xmlns:a="http://schemas.openxmlformats.org/drawingml/2006/main" xmlns:r="http://schemas.openxmlformats.org/officeDocument/2006/relationships" xmlns:p="http://schemas.openxmlformats.org/presentationml/2006/main">
  <p:tag name="NAME" val="RoundedRectangle"/>
</p:tagLst>
</file>

<file path=ppt/tags/tag193.xml><?xml version="1.0" encoding="utf-8"?>
<p:tagLst xmlns:a="http://schemas.openxmlformats.org/drawingml/2006/main" xmlns:r="http://schemas.openxmlformats.org/officeDocument/2006/relationships" xmlns:p="http://schemas.openxmlformats.org/presentationml/2006/main">
  <p:tag name="NAME" val="Arrow"/>
</p:tagLst>
</file>

<file path=ppt/tags/tag194.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195.xml><?xml version="1.0" encoding="utf-8"?>
<p:tagLst xmlns:a="http://schemas.openxmlformats.org/drawingml/2006/main" xmlns:r="http://schemas.openxmlformats.org/officeDocument/2006/relationships" xmlns:p="http://schemas.openxmlformats.org/presentationml/2006/main">
  <p:tag name="NAME" val="Bracket"/>
</p:tagLst>
</file>

<file path=ppt/tags/tag196.xml><?xml version="1.0" encoding="utf-8"?>
<p:tagLst xmlns:a="http://schemas.openxmlformats.org/drawingml/2006/main" xmlns:r="http://schemas.openxmlformats.org/officeDocument/2006/relationships" xmlns:p="http://schemas.openxmlformats.org/presentationml/2006/main">
  <p:tag name="NAME" val="SingleBoat"/>
</p:tagLst>
</file>

<file path=ppt/tags/tag197.xml><?xml version="1.0" encoding="utf-8"?>
<p:tagLst xmlns:a="http://schemas.openxmlformats.org/drawingml/2006/main" xmlns:r="http://schemas.openxmlformats.org/officeDocument/2006/relationships" xmlns:p="http://schemas.openxmlformats.org/presentationml/2006/main">
  <p:tag name="NAME" val="1DoubleBoat"/>
</p:tagLst>
</file>

<file path=ppt/tags/tag198.xml><?xml version="1.0" encoding="utf-8"?>
<p:tagLst xmlns:a="http://schemas.openxmlformats.org/drawingml/2006/main" xmlns:r="http://schemas.openxmlformats.org/officeDocument/2006/relationships" xmlns:p="http://schemas.openxmlformats.org/presentationml/2006/main">
  <p:tag name="NAME" val="Moon"/>
</p:tagLst>
</file>

<file path=ppt/tags/tag199.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Bc83_HqS7ecBy7C0wAleQ"/>
</p:tagLst>
</file>

<file path=ppt/tags/tag200.xml><?xml version="1.0" encoding="utf-8"?>
<p:tagLst xmlns:a="http://schemas.openxmlformats.org/drawingml/2006/main" xmlns:r="http://schemas.openxmlformats.org/officeDocument/2006/relationships" xmlns:p="http://schemas.openxmlformats.org/presentationml/2006/main">
  <p:tag name="NAME" val="TitleTrackerNum"/>
</p:tagLst>
</file>

<file path=ppt/tags/tag201.xml><?xml version="1.0" encoding="utf-8"?>
<p:tagLst xmlns:a="http://schemas.openxmlformats.org/drawingml/2006/main" xmlns:r="http://schemas.openxmlformats.org/officeDocument/2006/relationships" xmlns:p="http://schemas.openxmlformats.org/presentationml/2006/main">
  <p:tag name="NAME" val="Moon"/>
</p:tagLst>
</file>

<file path=ppt/tags/tag202.xml><?xml version="1.0" encoding="utf-8"?>
<p:tagLst xmlns:a="http://schemas.openxmlformats.org/drawingml/2006/main" xmlns:r="http://schemas.openxmlformats.org/officeDocument/2006/relationships" xmlns:p="http://schemas.openxmlformats.org/presentationml/2006/main">
  <p:tag name="NAME" val="Moon"/>
</p:tagLst>
</file>

<file path=ppt/tags/tag203.xml><?xml version="1.0" encoding="utf-8"?>
<p:tagLst xmlns:a="http://schemas.openxmlformats.org/drawingml/2006/main" xmlns:r="http://schemas.openxmlformats.org/officeDocument/2006/relationships" xmlns:p="http://schemas.openxmlformats.org/presentationml/2006/main">
  <p:tag name="NAME" val="Moon"/>
</p:tagLst>
</file>

<file path=ppt/tags/tag204.xml><?xml version="1.0" encoding="utf-8"?>
<p:tagLst xmlns:a="http://schemas.openxmlformats.org/drawingml/2006/main" xmlns:r="http://schemas.openxmlformats.org/officeDocument/2006/relationships" xmlns:p="http://schemas.openxmlformats.org/presentationml/2006/main">
  <p:tag name="NAME" val="Moon"/>
</p:tagLst>
</file>

<file path=ppt/tags/tag205.xml><?xml version="1.0" encoding="utf-8"?>
<p:tagLst xmlns:a="http://schemas.openxmlformats.org/drawingml/2006/main" xmlns:r="http://schemas.openxmlformats.org/officeDocument/2006/relationships" xmlns:p="http://schemas.openxmlformats.org/presentationml/2006/main">
  <p:tag name="NAME" val="Moon"/>
</p:tagLst>
</file>

<file path=ppt/tags/tag20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0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1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16.xml><?xml version="1.0" encoding="utf-8"?>
<p:tagLst xmlns:a="http://schemas.openxmlformats.org/drawingml/2006/main" xmlns:r="http://schemas.openxmlformats.org/officeDocument/2006/relationships" xmlns:p="http://schemas.openxmlformats.org/presentationml/2006/main">
  <p:tag name="NAME" val="1BoatTopShape"/>
</p:tagLst>
</file>

<file path=ppt/tags/tag217.xml><?xml version="1.0" encoding="utf-8"?>
<p:tagLst xmlns:a="http://schemas.openxmlformats.org/drawingml/2006/main" xmlns:r="http://schemas.openxmlformats.org/officeDocument/2006/relationships" xmlns:p="http://schemas.openxmlformats.org/presentationml/2006/main">
  <p:tag name="NAME" val="1BoatTopText"/>
</p:tagLst>
</file>

<file path=ppt/tags/tag218.xml><?xml version="1.0" encoding="utf-8"?>
<p:tagLst xmlns:a="http://schemas.openxmlformats.org/drawingml/2006/main" xmlns:r="http://schemas.openxmlformats.org/officeDocument/2006/relationships" xmlns:p="http://schemas.openxmlformats.org/presentationml/2006/main">
  <p:tag name="NAME" val="1BoatBottomShape"/>
</p:tagLst>
</file>

<file path=ppt/tags/tag219.xml><?xml version="1.0" encoding="utf-8"?>
<p:tagLst xmlns:a="http://schemas.openxmlformats.org/drawingml/2006/main" xmlns:r="http://schemas.openxmlformats.org/officeDocument/2006/relationships" xmlns:p="http://schemas.openxmlformats.org/presentationml/2006/main">
  <p:tag name="NAME" val="1BoatBottomText"/>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3XBC61VdmjD4tepOK0JnDQ"/>
</p:tagLst>
</file>

<file path=ppt/tags/tag22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21.xml><?xml version="1.0" encoding="utf-8"?>
<p:tagLst xmlns:a="http://schemas.openxmlformats.org/drawingml/2006/main" xmlns:r="http://schemas.openxmlformats.org/officeDocument/2006/relationships" xmlns:p="http://schemas.openxmlformats.org/presentationml/2006/main">
  <p:tag name="NAME" val="SingleBoatText"/>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fZkKZ5pvK9CFpJDGWtPAP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wvq8r63jDnzXBnxBVij8y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3rOtlAk2tKfuZWKv.1u1g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FTALIEFcZt3ZtHPQRBNV3w"/>
</p:tagLst>
</file>

<file path=ppt/tags/tag231.xml><?xml version="1.0" encoding="utf-8"?>
<p:tagLst xmlns:a="http://schemas.openxmlformats.org/drawingml/2006/main" xmlns:r="http://schemas.openxmlformats.org/officeDocument/2006/relationships" xmlns:p="http://schemas.openxmlformats.org/presentationml/2006/main">
  <p:tag name="NAME" val="Oval"/>
</p:tagLst>
</file>

<file path=ppt/tags/tag232.xml><?xml version="1.0" encoding="utf-8"?>
<p:tagLst xmlns:a="http://schemas.openxmlformats.org/drawingml/2006/main" xmlns:r="http://schemas.openxmlformats.org/officeDocument/2006/relationships" xmlns:p="http://schemas.openxmlformats.org/presentationml/2006/main">
  <p:tag name="NAME" val="Rectangle"/>
</p:tagLst>
</file>

<file path=ppt/tags/tag233.xml><?xml version="1.0" encoding="utf-8"?>
<p:tagLst xmlns:a="http://schemas.openxmlformats.org/drawingml/2006/main" xmlns:r="http://schemas.openxmlformats.org/officeDocument/2006/relationships" xmlns:p="http://schemas.openxmlformats.org/presentationml/2006/main">
  <p:tag name="NAME" val="RoundedRectangle"/>
</p:tagLst>
</file>

<file path=ppt/tags/tag234.xml><?xml version="1.0" encoding="utf-8"?>
<p:tagLst xmlns:a="http://schemas.openxmlformats.org/drawingml/2006/main" xmlns:r="http://schemas.openxmlformats.org/officeDocument/2006/relationships" xmlns:p="http://schemas.openxmlformats.org/presentationml/2006/main">
  <p:tag name="NAME" val="Arrow"/>
</p:tagLst>
</file>

<file path=ppt/tags/tag235.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236.xml><?xml version="1.0" encoding="utf-8"?>
<p:tagLst xmlns:a="http://schemas.openxmlformats.org/drawingml/2006/main" xmlns:r="http://schemas.openxmlformats.org/officeDocument/2006/relationships" xmlns:p="http://schemas.openxmlformats.org/presentationml/2006/main">
  <p:tag name="NAME" val="Bracket"/>
</p:tagLst>
</file>

<file path=ppt/tags/tag237.xml><?xml version="1.0" encoding="utf-8"?>
<p:tagLst xmlns:a="http://schemas.openxmlformats.org/drawingml/2006/main" xmlns:r="http://schemas.openxmlformats.org/officeDocument/2006/relationships" xmlns:p="http://schemas.openxmlformats.org/presentationml/2006/main">
  <p:tag name="NAME" val="SingleBoat"/>
</p:tagLst>
</file>

<file path=ppt/tags/tag238.xml><?xml version="1.0" encoding="utf-8"?>
<p:tagLst xmlns:a="http://schemas.openxmlformats.org/drawingml/2006/main" xmlns:r="http://schemas.openxmlformats.org/officeDocument/2006/relationships" xmlns:p="http://schemas.openxmlformats.org/presentationml/2006/main">
  <p:tag name="NAME" val="1DoubleBoat"/>
</p:tagLst>
</file>

<file path=ppt/tags/tag239.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241.xml><?xml version="1.0" encoding="utf-8"?>
<p:tagLst xmlns:a="http://schemas.openxmlformats.org/drawingml/2006/main" xmlns:r="http://schemas.openxmlformats.org/officeDocument/2006/relationships" xmlns:p="http://schemas.openxmlformats.org/presentationml/2006/main">
  <p:tag name="NAME" val="TitleTrackerNum"/>
</p:tagLst>
</file>

<file path=ppt/tags/tag242.xml><?xml version="1.0" encoding="utf-8"?>
<p:tagLst xmlns:a="http://schemas.openxmlformats.org/drawingml/2006/main" xmlns:r="http://schemas.openxmlformats.org/officeDocument/2006/relationships" xmlns:p="http://schemas.openxmlformats.org/presentationml/2006/main">
  <p:tag name="NAME" val="Moon"/>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NAME" val="Moon"/>
</p:tagLst>
</file>

<file path=ppt/tags/tag246.xml><?xml version="1.0" encoding="utf-8"?>
<p:tagLst xmlns:a="http://schemas.openxmlformats.org/drawingml/2006/main" xmlns:r="http://schemas.openxmlformats.org/officeDocument/2006/relationships" xmlns:p="http://schemas.openxmlformats.org/presentationml/2006/main">
  <p:tag name="NAME" val="Moon"/>
</p:tagLst>
</file>

<file path=ppt/tags/tag24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TALIEFcZt3ZtHPQRBNV3w"/>
</p:tagLst>
</file>

<file path=ppt/tags/tag25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7.xml><?xml version="1.0" encoding="utf-8"?>
<p:tagLst xmlns:a="http://schemas.openxmlformats.org/drawingml/2006/main" xmlns:r="http://schemas.openxmlformats.org/officeDocument/2006/relationships" xmlns:p="http://schemas.openxmlformats.org/presentationml/2006/main">
  <p:tag name="NAME" val="1BoatTopShape"/>
</p:tagLst>
</file>

<file path=ppt/tags/tag258.xml><?xml version="1.0" encoding="utf-8"?>
<p:tagLst xmlns:a="http://schemas.openxmlformats.org/drawingml/2006/main" xmlns:r="http://schemas.openxmlformats.org/officeDocument/2006/relationships" xmlns:p="http://schemas.openxmlformats.org/presentationml/2006/main">
  <p:tag name="NAME" val="1BoatTopText"/>
</p:tagLst>
</file>

<file path=ppt/tags/tag259.xml><?xml version="1.0" encoding="utf-8"?>
<p:tagLst xmlns:a="http://schemas.openxmlformats.org/drawingml/2006/main" xmlns:r="http://schemas.openxmlformats.org/officeDocument/2006/relationships" xmlns:p="http://schemas.openxmlformats.org/presentationml/2006/main">
  <p:tag name="NAME" val="1BoatBottomShape"/>
</p:tagLst>
</file>

<file path=ppt/tags/tag26.xml><?xml version="1.0" encoding="utf-8"?>
<p:tagLst xmlns:a="http://schemas.openxmlformats.org/drawingml/2006/main" xmlns:r="http://schemas.openxmlformats.org/officeDocument/2006/relationships" xmlns:p="http://schemas.openxmlformats.org/presentationml/2006/main">
  <p:tag name="NAME" val="Oval"/>
</p:tagLst>
</file>

<file path=ppt/tags/tag260.xml><?xml version="1.0" encoding="utf-8"?>
<p:tagLst xmlns:a="http://schemas.openxmlformats.org/drawingml/2006/main" xmlns:r="http://schemas.openxmlformats.org/officeDocument/2006/relationships" xmlns:p="http://schemas.openxmlformats.org/presentationml/2006/main">
  <p:tag name="NAME" val="1BoatBottomText"/>
</p:tagLst>
</file>

<file path=ppt/tags/tag261.xml><?xml version="1.0" encoding="utf-8"?>
<p:tagLst xmlns:a="http://schemas.openxmlformats.org/drawingml/2006/main" xmlns:r="http://schemas.openxmlformats.org/officeDocument/2006/relationships" xmlns:p="http://schemas.openxmlformats.org/presentationml/2006/main">
  <p:tag name="NAME" val="SingleBoatShape"/>
</p:tagLst>
</file>

<file path=ppt/tags/tag262.xml><?xml version="1.0" encoding="utf-8"?>
<p:tagLst xmlns:a="http://schemas.openxmlformats.org/drawingml/2006/main" xmlns:r="http://schemas.openxmlformats.org/officeDocument/2006/relationships" xmlns:p="http://schemas.openxmlformats.org/presentationml/2006/main">
  <p:tag name="NAME" val="SingleBoatText"/>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fZkKZ5pvK9CFpJDGWtPAP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wvq8r63jDnzXBnxBVij8y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3rOtlAk2tKfuZWKv.1u1g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NAME" val="Rectangl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FTALIEFcZt3ZtHPQRBNV3w"/>
</p:tagLst>
</file>

<file path=ppt/tags/tag273.xml><?xml version="1.0" encoding="utf-8"?>
<p:tagLst xmlns:a="http://schemas.openxmlformats.org/drawingml/2006/main" xmlns:r="http://schemas.openxmlformats.org/officeDocument/2006/relationships" xmlns:p="http://schemas.openxmlformats.org/presentationml/2006/main">
  <p:tag name="NAME" val="Oval"/>
</p:tagLst>
</file>

<file path=ppt/tags/tag274.xml><?xml version="1.0" encoding="utf-8"?>
<p:tagLst xmlns:a="http://schemas.openxmlformats.org/drawingml/2006/main" xmlns:r="http://schemas.openxmlformats.org/officeDocument/2006/relationships" xmlns:p="http://schemas.openxmlformats.org/presentationml/2006/main">
  <p:tag name="NAME" val="Rectangle"/>
</p:tagLst>
</file>

<file path=ppt/tags/tag275.xml><?xml version="1.0" encoding="utf-8"?>
<p:tagLst xmlns:a="http://schemas.openxmlformats.org/drawingml/2006/main" xmlns:r="http://schemas.openxmlformats.org/officeDocument/2006/relationships" xmlns:p="http://schemas.openxmlformats.org/presentationml/2006/main">
  <p:tag name="NAME" val="RoundedRectangle"/>
</p:tagLst>
</file>

<file path=ppt/tags/tag276.xml><?xml version="1.0" encoding="utf-8"?>
<p:tagLst xmlns:a="http://schemas.openxmlformats.org/drawingml/2006/main" xmlns:r="http://schemas.openxmlformats.org/officeDocument/2006/relationships" xmlns:p="http://schemas.openxmlformats.org/presentationml/2006/main">
  <p:tag name="NAME" val="Arrow"/>
</p:tagLst>
</file>

<file path=ppt/tags/tag277.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278.xml><?xml version="1.0" encoding="utf-8"?>
<p:tagLst xmlns:a="http://schemas.openxmlformats.org/drawingml/2006/main" xmlns:r="http://schemas.openxmlformats.org/officeDocument/2006/relationships" xmlns:p="http://schemas.openxmlformats.org/presentationml/2006/main">
  <p:tag name="NAME" val="Bracket"/>
</p:tagLst>
</file>

<file path=ppt/tags/tag279.xml><?xml version="1.0" encoding="utf-8"?>
<p:tagLst xmlns:a="http://schemas.openxmlformats.org/drawingml/2006/main" xmlns:r="http://schemas.openxmlformats.org/officeDocument/2006/relationships" xmlns:p="http://schemas.openxmlformats.org/presentationml/2006/main">
  <p:tag name="NAME" val="SingleBoat"/>
</p:tagLst>
</file>

<file path=ppt/tags/tag28.xml><?xml version="1.0" encoding="utf-8"?>
<p:tagLst xmlns:a="http://schemas.openxmlformats.org/drawingml/2006/main" xmlns:r="http://schemas.openxmlformats.org/officeDocument/2006/relationships" xmlns:p="http://schemas.openxmlformats.org/presentationml/2006/main">
  <p:tag name="NAME" val="RoundedRectangle"/>
</p:tagLst>
</file>

<file path=ppt/tags/tag280.xml><?xml version="1.0" encoding="utf-8"?>
<p:tagLst xmlns:a="http://schemas.openxmlformats.org/drawingml/2006/main" xmlns:r="http://schemas.openxmlformats.org/officeDocument/2006/relationships" xmlns:p="http://schemas.openxmlformats.org/presentationml/2006/main">
  <p:tag name="NAME" val="1DoubleBoat"/>
</p:tagLst>
</file>

<file path=ppt/tags/tag281.xml><?xml version="1.0" encoding="utf-8"?>
<p:tagLst xmlns:a="http://schemas.openxmlformats.org/drawingml/2006/main" xmlns:r="http://schemas.openxmlformats.org/officeDocument/2006/relationships" xmlns:p="http://schemas.openxmlformats.org/presentationml/2006/main">
  <p:tag name="NAME" val="Moon"/>
</p:tagLst>
</file>

<file path=ppt/tags/tag282.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283.xml><?xml version="1.0" encoding="utf-8"?>
<p:tagLst xmlns:a="http://schemas.openxmlformats.org/drawingml/2006/main" xmlns:r="http://schemas.openxmlformats.org/officeDocument/2006/relationships" xmlns:p="http://schemas.openxmlformats.org/presentationml/2006/main">
  <p:tag name="NAME" val="TitleTrackerNum"/>
</p:tagLst>
</file>

<file path=ppt/tags/tag284.xml><?xml version="1.0" encoding="utf-8"?>
<p:tagLst xmlns:a="http://schemas.openxmlformats.org/drawingml/2006/main" xmlns:r="http://schemas.openxmlformats.org/officeDocument/2006/relationships" xmlns:p="http://schemas.openxmlformats.org/presentationml/2006/main">
  <p:tag name="NAME" val="Moon"/>
</p:tagLst>
</file>

<file path=ppt/tags/tag285.xml><?xml version="1.0" encoding="utf-8"?>
<p:tagLst xmlns:a="http://schemas.openxmlformats.org/drawingml/2006/main" xmlns:r="http://schemas.openxmlformats.org/officeDocument/2006/relationships" xmlns:p="http://schemas.openxmlformats.org/presentationml/2006/main">
  <p:tag name="NAME" val="Moon"/>
</p:tagLst>
</file>

<file path=ppt/tags/tag286.xml><?xml version="1.0" encoding="utf-8"?>
<p:tagLst xmlns:a="http://schemas.openxmlformats.org/drawingml/2006/main" xmlns:r="http://schemas.openxmlformats.org/officeDocument/2006/relationships" xmlns:p="http://schemas.openxmlformats.org/presentationml/2006/main">
  <p:tag name="NAME" val="Moon"/>
</p:tagLst>
</file>

<file path=ppt/tags/tag287.xml><?xml version="1.0" encoding="utf-8"?>
<p:tagLst xmlns:a="http://schemas.openxmlformats.org/drawingml/2006/main" xmlns:r="http://schemas.openxmlformats.org/officeDocument/2006/relationships" xmlns:p="http://schemas.openxmlformats.org/presentationml/2006/main">
  <p:tag name="NAME" val="Moon"/>
</p:tagLst>
</file>

<file path=ppt/tags/tag288.xml><?xml version="1.0" encoding="utf-8"?>
<p:tagLst xmlns:a="http://schemas.openxmlformats.org/drawingml/2006/main" xmlns:r="http://schemas.openxmlformats.org/officeDocument/2006/relationships" xmlns:p="http://schemas.openxmlformats.org/presentationml/2006/main">
  <p:tag name="NAME" val="Moon"/>
</p:tagLst>
</file>

<file path=ppt/tags/tag28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Arrow"/>
</p:tagLst>
</file>

<file path=ppt/tags/tag2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9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9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9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9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99.xml><?xml version="1.0" encoding="utf-8"?>
<p:tagLst xmlns:a="http://schemas.openxmlformats.org/drawingml/2006/main" xmlns:r="http://schemas.openxmlformats.org/officeDocument/2006/relationships" xmlns:p="http://schemas.openxmlformats.org/presentationml/2006/main">
  <p:tag name="NAME" val="1BoatTop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XBC61VdmjD4tepOK0JnDQ"/>
</p:tagLst>
</file>

<file path=ppt/tags/tag30.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300.xml><?xml version="1.0" encoding="utf-8"?>
<p:tagLst xmlns:a="http://schemas.openxmlformats.org/drawingml/2006/main" xmlns:r="http://schemas.openxmlformats.org/officeDocument/2006/relationships" xmlns:p="http://schemas.openxmlformats.org/presentationml/2006/main">
  <p:tag name="NAME" val="1BoatTopText"/>
</p:tagLst>
</file>

<file path=ppt/tags/tag301.xml><?xml version="1.0" encoding="utf-8"?>
<p:tagLst xmlns:a="http://schemas.openxmlformats.org/drawingml/2006/main" xmlns:r="http://schemas.openxmlformats.org/officeDocument/2006/relationships" xmlns:p="http://schemas.openxmlformats.org/presentationml/2006/main">
  <p:tag name="NAME" val="1BoatBottomShape"/>
</p:tagLst>
</file>

<file path=ppt/tags/tag302.xml><?xml version="1.0" encoding="utf-8"?>
<p:tagLst xmlns:a="http://schemas.openxmlformats.org/drawingml/2006/main" xmlns:r="http://schemas.openxmlformats.org/officeDocument/2006/relationships" xmlns:p="http://schemas.openxmlformats.org/presentationml/2006/main">
  <p:tag name="NAME" val="1BoatBottomText"/>
</p:tagLst>
</file>

<file path=ppt/tags/tag303.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4.xml><?xml version="1.0" encoding="utf-8"?>
<p:tagLst xmlns:a="http://schemas.openxmlformats.org/drawingml/2006/main" xmlns:r="http://schemas.openxmlformats.org/officeDocument/2006/relationships" xmlns:p="http://schemas.openxmlformats.org/presentationml/2006/main">
  <p:tag name="NAME" val="SingleBoatText"/>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fZkKZ5pvK9CFpJDGWtPAP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wvq8r63jDnzXBnxBVij8y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NAME" val="Bracket"/>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3rOtlAk2tKfuZWKv.1u1g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FTALIEFcZt3ZtHPQRBNV3w"/>
</p:tagLst>
</file>

<file path=ppt/tags/tag313.xml><?xml version="1.0" encoding="utf-8"?>
<p:tagLst xmlns:a="http://schemas.openxmlformats.org/drawingml/2006/main" xmlns:r="http://schemas.openxmlformats.org/officeDocument/2006/relationships" xmlns:p="http://schemas.openxmlformats.org/presentationml/2006/main">
  <p:tag name="NAME" val="Oval"/>
</p:tagLst>
</file>

<file path=ppt/tags/tag314.xml><?xml version="1.0" encoding="utf-8"?>
<p:tagLst xmlns:a="http://schemas.openxmlformats.org/drawingml/2006/main" xmlns:r="http://schemas.openxmlformats.org/officeDocument/2006/relationships" xmlns:p="http://schemas.openxmlformats.org/presentationml/2006/main">
  <p:tag name="NAME" val="Rectangle"/>
</p:tagLst>
</file>

<file path=ppt/tags/tag315.xml><?xml version="1.0" encoding="utf-8"?>
<p:tagLst xmlns:a="http://schemas.openxmlformats.org/drawingml/2006/main" xmlns:r="http://schemas.openxmlformats.org/officeDocument/2006/relationships" xmlns:p="http://schemas.openxmlformats.org/presentationml/2006/main">
  <p:tag name="NAME" val="RoundedRectangle"/>
</p:tagLst>
</file>

<file path=ppt/tags/tag316.xml><?xml version="1.0" encoding="utf-8"?>
<p:tagLst xmlns:a="http://schemas.openxmlformats.org/drawingml/2006/main" xmlns:r="http://schemas.openxmlformats.org/officeDocument/2006/relationships" xmlns:p="http://schemas.openxmlformats.org/presentationml/2006/main">
  <p:tag name="NAME" val="Arrow"/>
</p:tagLst>
</file>

<file path=ppt/tags/tag317.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318.xml><?xml version="1.0" encoding="utf-8"?>
<p:tagLst xmlns:a="http://schemas.openxmlformats.org/drawingml/2006/main" xmlns:r="http://schemas.openxmlformats.org/officeDocument/2006/relationships" xmlns:p="http://schemas.openxmlformats.org/presentationml/2006/main">
  <p:tag name="NAME" val="Bracket"/>
</p:tagLst>
</file>

<file path=ppt/tags/tag319.xml><?xml version="1.0" encoding="utf-8"?>
<p:tagLst xmlns:a="http://schemas.openxmlformats.org/drawingml/2006/main" xmlns:r="http://schemas.openxmlformats.org/officeDocument/2006/relationships" xmlns:p="http://schemas.openxmlformats.org/presentationml/2006/main">
  <p:tag name="NAME" val="SingleBoat"/>
</p:tagLst>
</file>

<file path=ppt/tags/tag32.xml><?xml version="1.0" encoding="utf-8"?>
<p:tagLst xmlns:a="http://schemas.openxmlformats.org/drawingml/2006/main" xmlns:r="http://schemas.openxmlformats.org/officeDocument/2006/relationships" xmlns:p="http://schemas.openxmlformats.org/presentationml/2006/main">
  <p:tag name="NAME" val="SingleBoat"/>
</p:tagLst>
</file>

<file path=ppt/tags/tag320.xml><?xml version="1.0" encoding="utf-8"?>
<p:tagLst xmlns:a="http://schemas.openxmlformats.org/drawingml/2006/main" xmlns:r="http://schemas.openxmlformats.org/officeDocument/2006/relationships" xmlns:p="http://schemas.openxmlformats.org/presentationml/2006/main">
  <p:tag name="NAME" val="1DoubleBoat"/>
</p:tagLst>
</file>

<file path=ppt/tags/tag321.xml><?xml version="1.0" encoding="utf-8"?>
<p:tagLst xmlns:a="http://schemas.openxmlformats.org/drawingml/2006/main" xmlns:r="http://schemas.openxmlformats.org/officeDocument/2006/relationships" xmlns:p="http://schemas.openxmlformats.org/presentationml/2006/main">
  <p:tag name="NAME" val="Moon"/>
</p:tagLst>
</file>

<file path=ppt/tags/tag322.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323.xml><?xml version="1.0" encoding="utf-8"?>
<p:tagLst xmlns:a="http://schemas.openxmlformats.org/drawingml/2006/main" xmlns:r="http://schemas.openxmlformats.org/officeDocument/2006/relationships" xmlns:p="http://schemas.openxmlformats.org/presentationml/2006/main">
  <p:tag name="NAME" val="TitleTrackerNum"/>
</p:tagLst>
</file>

<file path=ppt/tags/tag324.xml><?xml version="1.0" encoding="utf-8"?>
<p:tagLst xmlns:a="http://schemas.openxmlformats.org/drawingml/2006/main" xmlns:r="http://schemas.openxmlformats.org/officeDocument/2006/relationships" xmlns:p="http://schemas.openxmlformats.org/presentationml/2006/main">
  <p:tag name="NAME" val="Moon"/>
</p:tagLst>
</file>

<file path=ppt/tags/tag325.xml><?xml version="1.0" encoding="utf-8"?>
<p:tagLst xmlns:a="http://schemas.openxmlformats.org/drawingml/2006/main" xmlns:r="http://schemas.openxmlformats.org/officeDocument/2006/relationships" xmlns:p="http://schemas.openxmlformats.org/presentationml/2006/main">
  <p:tag name="NAME" val="Moon"/>
</p:tagLst>
</file>

<file path=ppt/tags/tag326.xml><?xml version="1.0" encoding="utf-8"?>
<p:tagLst xmlns:a="http://schemas.openxmlformats.org/drawingml/2006/main" xmlns:r="http://schemas.openxmlformats.org/officeDocument/2006/relationships" xmlns:p="http://schemas.openxmlformats.org/presentationml/2006/main">
  <p:tag name="NAME" val="Moon"/>
</p:tagLst>
</file>

<file path=ppt/tags/tag327.xml><?xml version="1.0" encoding="utf-8"?>
<p:tagLst xmlns:a="http://schemas.openxmlformats.org/drawingml/2006/main" xmlns:r="http://schemas.openxmlformats.org/officeDocument/2006/relationships" xmlns:p="http://schemas.openxmlformats.org/presentationml/2006/main">
  <p:tag name="NAME" val="Moon"/>
</p:tagLst>
</file>

<file path=ppt/tags/tag328.xml><?xml version="1.0" encoding="utf-8"?>
<p:tagLst xmlns:a="http://schemas.openxmlformats.org/drawingml/2006/main" xmlns:r="http://schemas.openxmlformats.org/officeDocument/2006/relationships" xmlns:p="http://schemas.openxmlformats.org/presentationml/2006/main">
  <p:tag name="NAME" val="Moon"/>
</p:tagLst>
</file>

<file path=ppt/tags/tag3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3.xml><?xml version="1.0" encoding="utf-8"?>
<p:tagLst xmlns:a="http://schemas.openxmlformats.org/drawingml/2006/main" xmlns:r="http://schemas.openxmlformats.org/officeDocument/2006/relationships" xmlns:p="http://schemas.openxmlformats.org/presentationml/2006/main">
  <p:tag name="NAME" val="1DoubleBoat"/>
</p:tagLst>
</file>

<file path=ppt/tags/tag3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9.xml><?xml version="1.0" encoding="utf-8"?>
<p:tagLst xmlns:a="http://schemas.openxmlformats.org/drawingml/2006/main" xmlns:r="http://schemas.openxmlformats.org/officeDocument/2006/relationships" xmlns:p="http://schemas.openxmlformats.org/presentationml/2006/main">
  <p:tag name="NAME" val="1BoatTopShape"/>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40.xml><?xml version="1.0" encoding="utf-8"?>
<p:tagLst xmlns:a="http://schemas.openxmlformats.org/drawingml/2006/main" xmlns:r="http://schemas.openxmlformats.org/officeDocument/2006/relationships" xmlns:p="http://schemas.openxmlformats.org/presentationml/2006/main">
  <p:tag name="NAME" val="1BoatTopText"/>
</p:tagLst>
</file>

<file path=ppt/tags/tag341.xml><?xml version="1.0" encoding="utf-8"?>
<p:tagLst xmlns:a="http://schemas.openxmlformats.org/drawingml/2006/main" xmlns:r="http://schemas.openxmlformats.org/officeDocument/2006/relationships" xmlns:p="http://schemas.openxmlformats.org/presentationml/2006/main">
  <p:tag name="NAME" val="1BoatBottomShape"/>
</p:tagLst>
</file>

<file path=ppt/tags/tag342.xml><?xml version="1.0" encoding="utf-8"?>
<p:tagLst xmlns:a="http://schemas.openxmlformats.org/drawingml/2006/main" xmlns:r="http://schemas.openxmlformats.org/officeDocument/2006/relationships" xmlns:p="http://schemas.openxmlformats.org/presentationml/2006/main">
  <p:tag name="NAME" val="1BoatBottomText"/>
</p:tagLst>
</file>

<file path=ppt/tags/tag343.xml><?xml version="1.0" encoding="utf-8"?>
<p:tagLst xmlns:a="http://schemas.openxmlformats.org/drawingml/2006/main" xmlns:r="http://schemas.openxmlformats.org/officeDocument/2006/relationships" xmlns:p="http://schemas.openxmlformats.org/presentationml/2006/main">
  <p:tag name="NAME" val="SingleBoatShape"/>
</p:tagLst>
</file>

<file path=ppt/tags/tag344.xml><?xml version="1.0" encoding="utf-8"?>
<p:tagLst xmlns:a="http://schemas.openxmlformats.org/drawingml/2006/main" xmlns:r="http://schemas.openxmlformats.org/officeDocument/2006/relationships" xmlns:p="http://schemas.openxmlformats.org/presentationml/2006/main">
  <p:tag name="NAME" val="SingleBoatText"/>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fZkKZ5pvK9CFpJDGWtPAP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wvq8r63jDnzXBnxBVij8y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3rOtlAk2tKfuZWKv.1u1g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NAME" val="TitleTrackerNum"/>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2.xml><?xml version="1.0" encoding="utf-8"?>
<p:tagLst xmlns:a="http://schemas.openxmlformats.org/drawingml/2006/main" xmlns:r="http://schemas.openxmlformats.org/officeDocument/2006/relationships" xmlns:p="http://schemas.openxmlformats.org/presentationml/2006/main">
  <p:tag name="NAME" val="1BoatTopShape"/>
</p:tagLst>
</file>

<file path=ppt/tags/tag53.xml><?xml version="1.0" encoding="utf-8"?>
<p:tagLst xmlns:a="http://schemas.openxmlformats.org/drawingml/2006/main" xmlns:r="http://schemas.openxmlformats.org/officeDocument/2006/relationships" xmlns:p="http://schemas.openxmlformats.org/presentationml/2006/main">
  <p:tag name="NAME" val="1BoatTopText"/>
</p:tagLst>
</file>

<file path=ppt/tags/tag54.xml><?xml version="1.0" encoding="utf-8"?>
<p:tagLst xmlns:a="http://schemas.openxmlformats.org/drawingml/2006/main" xmlns:r="http://schemas.openxmlformats.org/officeDocument/2006/relationships" xmlns:p="http://schemas.openxmlformats.org/presentationml/2006/main">
  <p:tag name="NAME" val="1BoatBottomShape"/>
</p:tagLst>
</file>

<file path=ppt/tags/tag55.xml><?xml version="1.0" encoding="utf-8"?>
<p:tagLst xmlns:a="http://schemas.openxmlformats.org/drawingml/2006/main" xmlns:r="http://schemas.openxmlformats.org/officeDocument/2006/relationships" xmlns:p="http://schemas.openxmlformats.org/presentationml/2006/main">
  <p:tag name="NAME" val="1BoatBottomText"/>
</p:tagLst>
</file>

<file path=ppt/tags/tag56.xml><?xml version="1.0" encoding="utf-8"?>
<p:tagLst xmlns:a="http://schemas.openxmlformats.org/drawingml/2006/main" xmlns:r="http://schemas.openxmlformats.org/officeDocument/2006/relationships" xmlns:p="http://schemas.openxmlformats.org/presentationml/2006/main">
  <p:tag name="NAME" val="SingleBoatShape"/>
</p:tagLst>
</file>

<file path=ppt/tags/tag57.xml><?xml version="1.0" encoding="utf-8"?>
<p:tagLst xmlns:a="http://schemas.openxmlformats.org/drawingml/2006/main" xmlns:r="http://schemas.openxmlformats.org/officeDocument/2006/relationships" xmlns:p="http://schemas.openxmlformats.org/presentationml/2006/main">
  <p:tag name="NAME" val="SingleBoatText"/>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fZkKZ5pvK9CFpJDGWtPA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3XBC61VdmjD4tepOK0JnD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vq8r63jDnzXBnxBVij8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3rOtlAk2tKfuZWKv.1u1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ys4i6LLSRWNgg30Wlycb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TALIEFcZt3ZtHPQRBNV3w"/>
</p:tagLst>
</file>

<file path=ppt/tags/tag68.xml><?xml version="1.0" encoding="utf-8"?>
<p:tagLst xmlns:a="http://schemas.openxmlformats.org/drawingml/2006/main" xmlns:r="http://schemas.openxmlformats.org/officeDocument/2006/relationships" xmlns:p="http://schemas.openxmlformats.org/presentationml/2006/main">
  <p:tag name="NAME" val="Oval"/>
</p:tagLst>
</file>

<file path=ppt/tags/tag69.xml><?xml version="1.0" encoding="utf-8"?>
<p:tagLst xmlns:a="http://schemas.openxmlformats.org/drawingml/2006/main" xmlns:r="http://schemas.openxmlformats.org/officeDocument/2006/relationships" xmlns:p="http://schemas.openxmlformats.org/presentationml/2006/main">
  <p:tag name="NAME" val="Rectangl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AME" val="RoundedRectangle"/>
</p:tagLst>
</file>

<file path=ppt/tags/tag71.xml><?xml version="1.0" encoding="utf-8"?>
<p:tagLst xmlns:a="http://schemas.openxmlformats.org/drawingml/2006/main" xmlns:r="http://schemas.openxmlformats.org/officeDocument/2006/relationships" xmlns:p="http://schemas.openxmlformats.org/presentationml/2006/main">
  <p:tag name="NAME" val="Arrow"/>
</p:tagLst>
</file>

<file path=ppt/tags/tag72.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73.xml><?xml version="1.0" encoding="utf-8"?>
<p:tagLst xmlns:a="http://schemas.openxmlformats.org/drawingml/2006/main" xmlns:r="http://schemas.openxmlformats.org/officeDocument/2006/relationships" xmlns:p="http://schemas.openxmlformats.org/presentationml/2006/main">
  <p:tag name="NAME" val="Bracket"/>
</p:tagLst>
</file>

<file path=ppt/tags/tag74.xml><?xml version="1.0" encoding="utf-8"?>
<p:tagLst xmlns:a="http://schemas.openxmlformats.org/drawingml/2006/main" xmlns:r="http://schemas.openxmlformats.org/officeDocument/2006/relationships" xmlns:p="http://schemas.openxmlformats.org/presentationml/2006/main">
  <p:tag name="NAME" val="SingleBoat"/>
</p:tagLst>
</file>

<file path=ppt/tags/tag75.xml><?xml version="1.0" encoding="utf-8"?>
<p:tagLst xmlns:a="http://schemas.openxmlformats.org/drawingml/2006/main" xmlns:r="http://schemas.openxmlformats.org/officeDocument/2006/relationships" xmlns:p="http://schemas.openxmlformats.org/presentationml/2006/main">
  <p:tag name="NAME" val="1DoubleBoat"/>
</p:tagLst>
</file>

<file path=ppt/tags/tag76.xml><?xml version="1.0" encoding="utf-8"?>
<p:tagLst xmlns:a="http://schemas.openxmlformats.org/drawingml/2006/main" xmlns:r="http://schemas.openxmlformats.org/officeDocument/2006/relationships" xmlns:p="http://schemas.openxmlformats.org/presentationml/2006/main">
  <p:tag name="NAME" val="Moon"/>
</p:tagLst>
</file>

<file path=ppt/tags/tag77.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78.xml><?xml version="1.0" encoding="utf-8"?>
<p:tagLst xmlns:a="http://schemas.openxmlformats.org/drawingml/2006/main" xmlns:r="http://schemas.openxmlformats.org/officeDocument/2006/relationships" xmlns:p="http://schemas.openxmlformats.org/presentationml/2006/main">
  <p:tag name="NAME" val="TitleTrackerNum"/>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o1GyJU10sSSjmxhw0DjZw"/>
</p:tagLst>
</file>

<file path=ppt/tags/tag9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NAME" val="1BoatTopShape"/>
</p:tagLst>
</file>

<file path=ppt/tags/tag95.xml><?xml version="1.0" encoding="utf-8"?>
<p:tagLst xmlns:a="http://schemas.openxmlformats.org/drawingml/2006/main" xmlns:r="http://schemas.openxmlformats.org/officeDocument/2006/relationships" xmlns:p="http://schemas.openxmlformats.org/presentationml/2006/main">
  <p:tag name="NAME" val="1BoatTopText"/>
</p:tagLst>
</file>

<file path=ppt/tags/tag96.xml><?xml version="1.0" encoding="utf-8"?>
<p:tagLst xmlns:a="http://schemas.openxmlformats.org/drawingml/2006/main" xmlns:r="http://schemas.openxmlformats.org/officeDocument/2006/relationships" xmlns:p="http://schemas.openxmlformats.org/presentationml/2006/main">
  <p:tag name="NAME" val="1BoatBottomShape"/>
</p:tagLst>
</file>

<file path=ppt/tags/tag97.xml><?xml version="1.0" encoding="utf-8"?>
<p:tagLst xmlns:a="http://schemas.openxmlformats.org/drawingml/2006/main" xmlns:r="http://schemas.openxmlformats.org/officeDocument/2006/relationships" xmlns:p="http://schemas.openxmlformats.org/presentationml/2006/main">
  <p:tag name="NAME" val="1BoatBottomText"/>
</p:tagLst>
</file>

<file path=ppt/tags/tag98.xml><?xml version="1.0" encoding="utf-8"?>
<p:tagLst xmlns:a="http://schemas.openxmlformats.org/drawingml/2006/main" xmlns:r="http://schemas.openxmlformats.org/officeDocument/2006/relationships" xmlns:p="http://schemas.openxmlformats.org/presentationml/2006/main">
  <p:tag name="NAME" val="SingleBoatShape"/>
</p:tagLst>
</file>

<file path=ppt/tags/tag99.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4_AMSTERDAM template">
  <a:themeElements>
    <a:clrScheme name="Custom 1">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spPr>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def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defRPr kumimoji="0" sz="1400" b="0" i="0" u="none" strike="noStrike" kern="1200" cap="none" spc="0" normalizeH="0" baseline="0" noProof="0" dirty="0" err="1" smtClean="0">
            <a:ln>
              <a:noFill/>
            </a:ln>
            <a:solidFill>
              <a:srgbClr val="000000"/>
            </a:solidFill>
            <a:effectLst/>
            <a:uLnTx/>
            <a:uFillTx/>
            <a:latin typeface="Corbel" panose="020B0503020204020204" pitchFamily="34" charset="0"/>
            <a:ea typeface="+mn-ea"/>
            <a:cs typeface="+mn-cs"/>
          </a:defRPr>
        </a:defPPr>
      </a:lstStyle>
    </a:spDef>
    <a:txDef>
      <a:spPr/>
      <a:bodyPr vert="horz" wrap="none" lIns="72000" tIns="54000" rIns="72000" bIns="54000" rtlCol="0">
        <a:noAutofit/>
      </a:bodyPr>
      <a:lstStyle>
        <a:defPPr marL="187200" indent="-187200" algn="l">
          <a:buClr>
            <a:schemeClr val="accent1"/>
          </a:buClr>
          <a:buFont typeface="Wingdings" panose="05000000000000000000" pitchFamily="2" charset="2"/>
          <a:buChar char="§"/>
          <a:defRPr sz="1400" noProof="0" dirty="0" err="1" smtClean="0">
            <a:latin typeface="+mj-lt"/>
          </a:defRPr>
        </a:defPPr>
      </a:lstStyle>
    </a:txDef>
  </a:objectDefaults>
  <a:extraClrSchemeLst/>
  <a:extLst>
    <a:ext uri="{05A4C25C-085E-4340-85A3-A5531E510DB2}">
      <thm15:themeFamily xmlns:thm15="http://schemas.microsoft.com/office/thememl/2012/main" name="test" id="{9FFC6DC3-A39C-442E-BF8E-EEA61BE6EDDE}" vid="{978EFD33-4F94-47D0-8574-8279493911F5}"/>
    </a:ext>
  </a:extLst>
</a:theme>
</file>

<file path=ppt/theme/theme10.xml><?xml version="1.0" encoding="utf-8"?>
<a:theme xmlns:a="http://schemas.openxmlformats.org/drawingml/2006/main" name="5_NL_ZWY241_16x9_CF1">
  <a:themeElements>
    <a:clrScheme name="Custom">
      <a:dk1>
        <a:srgbClr val="000000"/>
      </a:dk1>
      <a:lt1>
        <a:srgbClr val="FFFFFF"/>
      </a:lt1>
      <a:dk2>
        <a:srgbClr val="FF0000"/>
      </a:dk2>
      <a:lt2>
        <a:srgbClr val="FFFFFF"/>
      </a:lt2>
      <a:accent1>
        <a:srgbClr val="D0D0D0"/>
      </a:accent1>
      <a:accent2>
        <a:srgbClr val="FFBD66"/>
      </a:accent2>
      <a:accent3>
        <a:srgbClr val="FF9100"/>
      </a:accent3>
      <a:accent4>
        <a:srgbClr val="FF0000"/>
      </a:accent4>
      <a:accent5>
        <a:srgbClr val="BF0000"/>
      </a:accent5>
      <a:accent6>
        <a:srgbClr val="7F0000"/>
      </a:accent6>
      <a:hlink>
        <a:srgbClr val="FF9100"/>
      </a:hlink>
      <a:folHlink>
        <a:srgbClr val="FF0000"/>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FF0000"/>
        </a:dk2>
        <a:lt2>
          <a:srgbClr val="FFFFFF"/>
        </a:lt2>
        <a:accent1>
          <a:srgbClr val="D0D0D0"/>
        </a:accent1>
        <a:accent2>
          <a:srgbClr val="FFBD66"/>
        </a:accent2>
        <a:accent3>
          <a:srgbClr val="FF9100"/>
        </a:accent3>
        <a:accent4>
          <a:srgbClr val="FF0000"/>
        </a:accent4>
        <a:accent5>
          <a:srgbClr val="BF0000"/>
        </a:accent5>
        <a:accent6>
          <a:srgbClr val="7F0000"/>
        </a:accent6>
        <a:hlink>
          <a:srgbClr val="FF9100"/>
        </a:hlink>
        <a:folHlink>
          <a:srgbClr val="FF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L_ZWY241_16x9_CF1.potx" id="{CFC902DF-02E1-4C2E-98D6-E77BBDAF2D63}" vid="{450ACA34-C57F-4D77-B4E3-9A14712B3BCA}"/>
    </a:ext>
  </a:extLst>
</a:theme>
</file>

<file path=ppt/theme/theme11.xml><?xml version="1.0" encoding="utf-8"?>
<a:theme xmlns:a="http://schemas.openxmlformats.org/drawingml/2006/main" name="10_NL_ZWY241_16x9_CF1">
  <a:themeElements>
    <a:clrScheme name="Custom">
      <a:dk1>
        <a:srgbClr val="000000"/>
      </a:dk1>
      <a:lt1>
        <a:srgbClr val="FFFFFF"/>
      </a:lt1>
      <a:dk2>
        <a:srgbClr val="FF0000"/>
      </a:dk2>
      <a:lt2>
        <a:srgbClr val="FFFFFF"/>
      </a:lt2>
      <a:accent1>
        <a:srgbClr val="D0D0D0"/>
      </a:accent1>
      <a:accent2>
        <a:srgbClr val="FFBD66"/>
      </a:accent2>
      <a:accent3>
        <a:srgbClr val="FF9100"/>
      </a:accent3>
      <a:accent4>
        <a:srgbClr val="FF0000"/>
      </a:accent4>
      <a:accent5>
        <a:srgbClr val="BF0000"/>
      </a:accent5>
      <a:accent6>
        <a:srgbClr val="7F0000"/>
      </a:accent6>
      <a:hlink>
        <a:srgbClr val="FF9100"/>
      </a:hlink>
      <a:folHlink>
        <a:srgbClr val="FF0000"/>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FF0000"/>
        </a:dk2>
        <a:lt2>
          <a:srgbClr val="FFFFFF"/>
        </a:lt2>
        <a:accent1>
          <a:srgbClr val="D0D0D0"/>
        </a:accent1>
        <a:accent2>
          <a:srgbClr val="FFBD66"/>
        </a:accent2>
        <a:accent3>
          <a:srgbClr val="FF9100"/>
        </a:accent3>
        <a:accent4>
          <a:srgbClr val="FF0000"/>
        </a:accent4>
        <a:accent5>
          <a:srgbClr val="BF0000"/>
        </a:accent5>
        <a:accent6>
          <a:srgbClr val="7F0000"/>
        </a:accent6>
        <a:hlink>
          <a:srgbClr val="FF9100"/>
        </a:hlink>
        <a:folHlink>
          <a:srgbClr val="FF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L_ZWY241_16x9_CF1.potx" id="{CFC902DF-02E1-4C2E-98D6-E77BBDAF2D63}" vid="{450ACA34-C57F-4D77-B4E3-9A14712B3BCA}"/>
    </a:ext>
  </a:extLst>
</a:theme>
</file>

<file path=ppt/theme/theme12.xml><?xml version="1.0" encoding="utf-8"?>
<a:theme xmlns:a="http://schemas.openxmlformats.org/drawingml/2006/main" name="6_NL_ZWY241_16x9_CF1">
  <a:themeElements>
    <a:clrScheme name="Custom">
      <a:dk1>
        <a:srgbClr val="000000"/>
      </a:dk1>
      <a:lt1>
        <a:srgbClr val="FFFFFF"/>
      </a:lt1>
      <a:dk2>
        <a:srgbClr val="FF0000"/>
      </a:dk2>
      <a:lt2>
        <a:srgbClr val="FFFFFF"/>
      </a:lt2>
      <a:accent1>
        <a:srgbClr val="D0D0D0"/>
      </a:accent1>
      <a:accent2>
        <a:srgbClr val="FFBD66"/>
      </a:accent2>
      <a:accent3>
        <a:srgbClr val="FF9100"/>
      </a:accent3>
      <a:accent4>
        <a:srgbClr val="FF0000"/>
      </a:accent4>
      <a:accent5>
        <a:srgbClr val="BF0000"/>
      </a:accent5>
      <a:accent6>
        <a:srgbClr val="7F0000"/>
      </a:accent6>
      <a:hlink>
        <a:srgbClr val="FF9100"/>
      </a:hlink>
      <a:folHlink>
        <a:srgbClr val="FF0000"/>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FF0000"/>
        </a:dk2>
        <a:lt2>
          <a:srgbClr val="FFFFFF"/>
        </a:lt2>
        <a:accent1>
          <a:srgbClr val="D0D0D0"/>
        </a:accent1>
        <a:accent2>
          <a:srgbClr val="FFBD66"/>
        </a:accent2>
        <a:accent3>
          <a:srgbClr val="FF9100"/>
        </a:accent3>
        <a:accent4>
          <a:srgbClr val="FF0000"/>
        </a:accent4>
        <a:accent5>
          <a:srgbClr val="BF0000"/>
        </a:accent5>
        <a:accent6>
          <a:srgbClr val="7F0000"/>
        </a:accent6>
        <a:hlink>
          <a:srgbClr val="FF9100"/>
        </a:hlink>
        <a:folHlink>
          <a:srgbClr val="FF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L_ZWY241_16x9_CF1.potx" id="{CFC902DF-02E1-4C2E-98D6-E77BBDAF2D63}" vid="{450ACA34-C57F-4D77-B4E3-9A14712B3BCA}"/>
    </a:ext>
  </a:extLst>
</a:theme>
</file>

<file path=ppt/theme/theme13.xml><?xml version="1.0" encoding="utf-8"?>
<a:theme xmlns:a="http://schemas.openxmlformats.org/drawingml/2006/main" name="4_NL_ZWY241_16x9_CF1">
  <a:themeElements>
    <a:clrScheme name="Custom">
      <a:dk1>
        <a:srgbClr val="000000"/>
      </a:dk1>
      <a:lt1>
        <a:srgbClr val="FFFFFF"/>
      </a:lt1>
      <a:dk2>
        <a:srgbClr val="FF0000"/>
      </a:dk2>
      <a:lt2>
        <a:srgbClr val="FFFFFF"/>
      </a:lt2>
      <a:accent1>
        <a:srgbClr val="D0D0D0"/>
      </a:accent1>
      <a:accent2>
        <a:srgbClr val="FFBD66"/>
      </a:accent2>
      <a:accent3>
        <a:srgbClr val="FF9100"/>
      </a:accent3>
      <a:accent4>
        <a:srgbClr val="FF0000"/>
      </a:accent4>
      <a:accent5>
        <a:srgbClr val="BF0000"/>
      </a:accent5>
      <a:accent6>
        <a:srgbClr val="7F0000"/>
      </a:accent6>
      <a:hlink>
        <a:srgbClr val="FF9100"/>
      </a:hlink>
      <a:folHlink>
        <a:srgbClr val="FF0000"/>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FF0000"/>
        </a:dk2>
        <a:lt2>
          <a:srgbClr val="FFFFFF"/>
        </a:lt2>
        <a:accent1>
          <a:srgbClr val="D0D0D0"/>
        </a:accent1>
        <a:accent2>
          <a:srgbClr val="FFBD66"/>
        </a:accent2>
        <a:accent3>
          <a:srgbClr val="FF9100"/>
        </a:accent3>
        <a:accent4>
          <a:srgbClr val="FF0000"/>
        </a:accent4>
        <a:accent5>
          <a:srgbClr val="BF0000"/>
        </a:accent5>
        <a:accent6>
          <a:srgbClr val="7F0000"/>
        </a:accent6>
        <a:hlink>
          <a:srgbClr val="FF9100"/>
        </a:hlink>
        <a:folHlink>
          <a:srgbClr val="FF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L_ZWY241_16x9_CF1.potx" id="{CFC902DF-02E1-4C2E-98D6-E77BBDAF2D63}" vid="{450ACA34-C57F-4D77-B4E3-9A14712B3BCA}"/>
    </a:ext>
  </a:extLst>
</a:theme>
</file>

<file path=ppt/theme/theme14.xml><?xml version="1.0" encoding="utf-8"?>
<a:theme xmlns:a="http://schemas.openxmlformats.org/drawingml/2006/main" name="Gemeente Amsterdam">
  <a:themeElements>
    <a:clrScheme name="Kleurenschema Gemeente Amsterdam">
      <a:dk1>
        <a:srgbClr val="000000"/>
      </a:dk1>
      <a:lt1>
        <a:srgbClr val="FFFFFF"/>
      </a:lt1>
      <a:dk2>
        <a:srgbClr val="000000"/>
      </a:dk2>
      <a:lt2>
        <a:srgbClr val="BEBEBE"/>
      </a:lt2>
      <a:accent1>
        <a:srgbClr val="FF0000"/>
      </a:accent1>
      <a:accent2>
        <a:srgbClr val="FF9100"/>
      </a:accent2>
      <a:accent3>
        <a:srgbClr val="FFE600"/>
      </a:accent3>
      <a:accent4>
        <a:srgbClr val="00A0E6"/>
      </a:accent4>
      <a:accent5>
        <a:srgbClr val="00A03C"/>
      </a:accent5>
      <a:accent6>
        <a:srgbClr val="E60082"/>
      </a:accent6>
      <a:hlink>
        <a:srgbClr val="000000"/>
      </a:hlink>
      <a:folHlink>
        <a:srgbClr val="000000"/>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a:defPPr>
      </a:lstStyle>
    </a:txDef>
  </a:objectDefaults>
  <a:extraClrSchemeLst/>
  <a:extLst>
    <a:ext uri="{05A4C25C-085E-4340-85A3-A5531E510DB2}">
      <thm15:themeFamily xmlns:thm15="http://schemas.microsoft.com/office/thememl/2012/main" name="Presentatie Gemeente Amsterdam.potx" id="{C7836E94-AE2C-4432-B7F6-8F24116E5142}" vid="{30D10CD8-47BF-4285-920D-749C150B9B8D}"/>
    </a:ext>
  </a:extLst>
</a:theme>
</file>

<file path=ppt/theme/theme15.xml><?xml version="1.0" encoding="utf-8"?>
<a:theme xmlns:a="http://schemas.openxmlformats.org/drawingml/2006/main" name="NL_ZWY241_16x9_CF1">
  <a:themeElements>
    <a:clrScheme name="Custom">
      <a:dk1>
        <a:srgbClr val="000000"/>
      </a:dk1>
      <a:lt1>
        <a:srgbClr val="FFFFFF"/>
      </a:lt1>
      <a:dk2>
        <a:srgbClr val="FF0000"/>
      </a:dk2>
      <a:lt2>
        <a:srgbClr val="FFFFFF"/>
      </a:lt2>
      <a:accent1>
        <a:srgbClr val="D0D0D0"/>
      </a:accent1>
      <a:accent2>
        <a:srgbClr val="FFBD66"/>
      </a:accent2>
      <a:accent3>
        <a:srgbClr val="FF9100"/>
      </a:accent3>
      <a:accent4>
        <a:srgbClr val="FF0000"/>
      </a:accent4>
      <a:accent5>
        <a:srgbClr val="BF0000"/>
      </a:accent5>
      <a:accent6>
        <a:srgbClr val="7F0000"/>
      </a:accent6>
      <a:hlink>
        <a:srgbClr val="FF9100"/>
      </a:hlink>
      <a:folHlink>
        <a:srgbClr val="FF0000"/>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FF0000"/>
        </a:dk2>
        <a:lt2>
          <a:srgbClr val="FFFFFF"/>
        </a:lt2>
        <a:accent1>
          <a:srgbClr val="D0D0D0"/>
        </a:accent1>
        <a:accent2>
          <a:srgbClr val="FFBD66"/>
        </a:accent2>
        <a:accent3>
          <a:srgbClr val="FF9100"/>
        </a:accent3>
        <a:accent4>
          <a:srgbClr val="FF0000"/>
        </a:accent4>
        <a:accent5>
          <a:srgbClr val="BF0000"/>
        </a:accent5>
        <a:accent6>
          <a:srgbClr val="7F0000"/>
        </a:accent6>
        <a:hlink>
          <a:srgbClr val="FF9100"/>
        </a:hlink>
        <a:folHlink>
          <a:srgbClr val="FF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L_ZWY241_16x9_CF1.potx" id="{CFC902DF-02E1-4C2E-98D6-E77BBDAF2D63}" vid="{450ACA34-C57F-4D77-B4E3-9A14712B3BCA}"/>
    </a:ext>
  </a:extLst>
</a:theme>
</file>

<file path=ppt/theme/theme16.xml><?xml version="1.0" encoding="utf-8"?>
<a:theme xmlns:a="http://schemas.openxmlformats.org/drawingml/2006/main" name="1_NL_ZWY241_16x9_CF1">
  <a:themeElements>
    <a:clrScheme name="Custom">
      <a:dk1>
        <a:srgbClr val="000000"/>
      </a:dk1>
      <a:lt1>
        <a:srgbClr val="FFFFFF"/>
      </a:lt1>
      <a:dk2>
        <a:srgbClr val="FF0000"/>
      </a:dk2>
      <a:lt2>
        <a:srgbClr val="FFFFFF"/>
      </a:lt2>
      <a:accent1>
        <a:srgbClr val="D0D0D0"/>
      </a:accent1>
      <a:accent2>
        <a:srgbClr val="FFBD66"/>
      </a:accent2>
      <a:accent3>
        <a:srgbClr val="FF9100"/>
      </a:accent3>
      <a:accent4>
        <a:srgbClr val="FF0000"/>
      </a:accent4>
      <a:accent5>
        <a:srgbClr val="BF0000"/>
      </a:accent5>
      <a:accent6>
        <a:srgbClr val="7F0000"/>
      </a:accent6>
      <a:hlink>
        <a:srgbClr val="FF9100"/>
      </a:hlink>
      <a:folHlink>
        <a:srgbClr val="FF0000"/>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FF0000"/>
        </a:dk2>
        <a:lt2>
          <a:srgbClr val="FFFFFF"/>
        </a:lt2>
        <a:accent1>
          <a:srgbClr val="D0D0D0"/>
        </a:accent1>
        <a:accent2>
          <a:srgbClr val="FFBD66"/>
        </a:accent2>
        <a:accent3>
          <a:srgbClr val="FF9100"/>
        </a:accent3>
        <a:accent4>
          <a:srgbClr val="FF0000"/>
        </a:accent4>
        <a:accent5>
          <a:srgbClr val="BF0000"/>
        </a:accent5>
        <a:accent6>
          <a:srgbClr val="7F0000"/>
        </a:accent6>
        <a:hlink>
          <a:srgbClr val="FF9100"/>
        </a:hlink>
        <a:folHlink>
          <a:srgbClr val="FF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L_ZWY241_16x9_CF1.potx" id="{CFC902DF-02E1-4C2E-98D6-E77BBDAF2D63}" vid="{450ACA34-C57F-4D77-B4E3-9A14712B3BCA}"/>
    </a:ext>
  </a:extLst>
</a:theme>
</file>

<file path=ppt/theme/theme17.xml><?xml version="1.0" encoding="utf-8"?>
<a:theme xmlns:a="http://schemas.openxmlformats.org/drawingml/2006/main" name="12_NL_ZWY241_16x9_CF1">
  <a:themeElements>
    <a:clrScheme name="Custom">
      <a:dk1>
        <a:srgbClr val="000000"/>
      </a:dk1>
      <a:lt1>
        <a:srgbClr val="FFFFFF"/>
      </a:lt1>
      <a:dk2>
        <a:srgbClr val="FF0000"/>
      </a:dk2>
      <a:lt2>
        <a:srgbClr val="FFFFFF"/>
      </a:lt2>
      <a:accent1>
        <a:srgbClr val="D0D0D0"/>
      </a:accent1>
      <a:accent2>
        <a:srgbClr val="FFBD66"/>
      </a:accent2>
      <a:accent3>
        <a:srgbClr val="FF9100"/>
      </a:accent3>
      <a:accent4>
        <a:srgbClr val="FF0000"/>
      </a:accent4>
      <a:accent5>
        <a:srgbClr val="BF0000"/>
      </a:accent5>
      <a:accent6>
        <a:srgbClr val="7F0000"/>
      </a:accent6>
      <a:hlink>
        <a:srgbClr val="FF9100"/>
      </a:hlink>
      <a:folHlink>
        <a:srgbClr val="FF0000"/>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FF0000"/>
        </a:dk2>
        <a:lt2>
          <a:srgbClr val="FFFFFF"/>
        </a:lt2>
        <a:accent1>
          <a:srgbClr val="D0D0D0"/>
        </a:accent1>
        <a:accent2>
          <a:srgbClr val="FFBD66"/>
        </a:accent2>
        <a:accent3>
          <a:srgbClr val="FF9100"/>
        </a:accent3>
        <a:accent4>
          <a:srgbClr val="FF0000"/>
        </a:accent4>
        <a:accent5>
          <a:srgbClr val="BF0000"/>
        </a:accent5>
        <a:accent6>
          <a:srgbClr val="7F0000"/>
        </a:accent6>
        <a:hlink>
          <a:srgbClr val="FF9100"/>
        </a:hlink>
        <a:folHlink>
          <a:srgbClr val="FF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L_ZWY241_16x9_CF1.potx" id="{CFC902DF-02E1-4C2E-98D6-E77BBDAF2D63}" vid="{450ACA34-C57F-4D77-B4E3-9A14712B3BCA}"/>
    </a:ext>
  </a:extLst>
</a:theme>
</file>

<file path=ppt/theme/theme18.xml><?xml version="1.0" encoding="utf-8"?>
<a:theme xmlns:a="http://schemas.openxmlformats.org/drawingml/2006/main" name="8_AMSTERDAM template">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spPr>
      <a:bodyPr lIns="72000" rIns="72000" rtlCol="0" anchor="t">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dirty="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Nieuwe Ams Template" id="{2DA94414-8B62-421E-88E5-A13029B88F8A}" vid="{4FB65722-CACA-4813-9F19-5BB4C46FB296}"/>
    </a:ext>
  </a:extLst>
</a:theme>
</file>

<file path=ppt/theme/theme19.xml><?xml version="1.0" encoding="utf-8"?>
<a:theme xmlns:a="http://schemas.openxmlformats.org/drawingml/2006/main" name="1_Gemeente Amsterdam">
  <a:themeElements>
    <a:clrScheme name="Kleurenschema Gemeente Amsterdam">
      <a:dk1>
        <a:srgbClr val="000000"/>
      </a:dk1>
      <a:lt1>
        <a:srgbClr val="FFFFFF"/>
      </a:lt1>
      <a:dk2>
        <a:srgbClr val="000000"/>
      </a:dk2>
      <a:lt2>
        <a:srgbClr val="BEBEBE"/>
      </a:lt2>
      <a:accent1>
        <a:srgbClr val="FF0000"/>
      </a:accent1>
      <a:accent2>
        <a:srgbClr val="FF9100"/>
      </a:accent2>
      <a:accent3>
        <a:srgbClr val="FFE600"/>
      </a:accent3>
      <a:accent4>
        <a:srgbClr val="00A0E6"/>
      </a:accent4>
      <a:accent5>
        <a:srgbClr val="00A03C"/>
      </a:accent5>
      <a:accent6>
        <a:srgbClr val="E60082"/>
      </a:accent6>
      <a:hlink>
        <a:srgbClr val="000000"/>
      </a:hlink>
      <a:folHlink>
        <a:srgbClr val="000000"/>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a:defPPr>
      </a:lstStyle>
    </a:txDef>
  </a:objectDefaults>
  <a:extraClrSchemeLst/>
  <a:extLst>
    <a:ext uri="{05A4C25C-085E-4340-85A3-A5531E510DB2}">
      <thm15:themeFamily xmlns:thm15="http://schemas.microsoft.com/office/thememl/2012/main" name="Presentatie Gemeente Amsterdam.potx" id="{C7836E94-AE2C-4432-B7F6-8F24116E5142}" vid="{30D10CD8-47BF-4285-920D-749C150B9B8D}"/>
    </a:ext>
  </a:extLst>
</a:theme>
</file>

<file path=ppt/theme/theme2.xml><?xml version="1.0" encoding="utf-8"?>
<a:theme xmlns:a="http://schemas.openxmlformats.org/drawingml/2006/main" name="5_AMSTERDAM template">
  <a:themeElements>
    <a:clrScheme name="Custom 1">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spPr>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def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defRPr kumimoji="0" sz="1400" b="0" i="0" u="none" strike="noStrike" kern="1200" cap="none" spc="0" normalizeH="0" baseline="0" noProof="0" dirty="0" err="1" smtClean="0">
            <a:ln>
              <a:noFill/>
            </a:ln>
            <a:solidFill>
              <a:srgbClr val="000000"/>
            </a:solidFill>
            <a:effectLst/>
            <a:uLnTx/>
            <a:uFillTx/>
            <a:latin typeface="Corbel" panose="020B0503020204020204" pitchFamily="34" charset="0"/>
            <a:ea typeface="+mn-ea"/>
            <a:cs typeface="+mn-cs"/>
          </a:defRPr>
        </a:defPPr>
      </a:lstStyle>
    </a:spDef>
    <a:txDef>
      <a:spPr/>
      <a:bodyPr vert="horz" wrap="none" lIns="72000" tIns="54000" rIns="72000" bIns="54000" rtlCol="0">
        <a:noAutofit/>
      </a:bodyPr>
      <a:lstStyle>
        <a:defPPr marL="187200" indent="-187200" algn="l">
          <a:buClr>
            <a:schemeClr val="accent1"/>
          </a:buClr>
          <a:buFont typeface="Wingdings" panose="05000000000000000000" pitchFamily="2" charset="2"/>
          <a:buChar char="§"/>
          <a:defRPr sz="1400" noProof="0" dirty="0" err="1" smtClean="0">
            <a:latin typeface="+mj-lt"/>
          </a:defRPr>
        </a:defPPr>
      </a:lstStyle>
    </a:txDef>
  </a:objectDefaults>
  <a:extraClrSchemeLst/>
  <a:extLst>
    <a:ext uri="{05A4C25C-085E-4340-85A3-A5531E510DB2}">
      <thm15:themeFamily xmlns:thm15="http://schemas.microsoft.com/office/thememl/2012/main" name="test" id="{9FFC6DC3-A39C-442E-BF8E-EEA61BE6EDDE}" vid="{978EFD33-4F94-47D0-8574-8279493911F5}"/>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MSTERDAM template">
  <a:themeElements>
    <a:clrScheme name="Custom 1">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spPr>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def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defRPr kumimoji="0" sz="1400" b="0" i="0" u="none" strike="noStrike" kern="1200" cap="none" spc="0" normalizeH="0" baseline="0" noProof="0" dirty="0" err="1" smtClean="0">
            <a:ln>
              <a:noFill/>
            </a:ln>
            <a:solidFill>
              <a:srgbClr val="000000"/>
            </a:solidFill>
            <a:effectLst/>
            <a:uLnTx/>
            <a:uFillTx/>
            <a:latin typeface="Corbel" panose="020B0503020204020204" pitchFamily="34" charset="0"/>
            <a:ea typeface="+mn-ea"/>
            <a:cs typeface="+mn-cs"/>
          </a:defRPr>
        </a:defPPr>
      </a:lstStyle>
    </a:spDef>
    <a:txDef>
      <a:spPr/>
      <a:bodyPr vert="horz" wrap="none" lIns="72000" tIns="54000" rIns="72000" bIns="54000" rtlCol="0">
        <a:noAutofit/>
      </a:bodyPr>
      <a:lstStyle>
        <a:defPPr marL="187200" indent="-187200" algn="l">
          <a:buClr>
            <a:schemeClr val="accent1"/>
          </a:buClr>
          <a:buFont typeface="Wingdings" panose="05000000000000000000" pitchFamily="2" charset="2"/>
          <a:buChar char="§"/>
          <a:defRPr sz="1400" noProof="0" dirty="0" err="1" smtClean="0">
            <a:latin typeface="+mj-lt"/>
          </a:defRPr>
        </a:defPPr>
      </a:lstStyle>
    </a:txDef>
  </a:objectDefaults>
  <a:extraClrSchemeLst/>
  <a:extLst>
    <a:ext uri="{05A4C25C-085E-4340-85A3-A5531E510DB2}">
      <thm15:themeFamily xmlns:thm15="http://schemas.microsoft.com/office/thememl/2012/main" name="test" id="{9FFC6DC3-A39C-442E-BF8E-EEA61BE6EDDE}" vid="{978EFD33-4F94-47D0-8574-8279493911F5}"/>
    </a:ext>
  </a:extLst>
</a:theme>
</file>

<file path=ppt/theme/theme4.xml><?xml version="1.0" encoding="utf-8"?>
<a:theme xmlns:a="http://schemas.openxmlformats.org/drawingml/2006/main" name="6_AMSTERDAM template">
  <a:themeElements>
    <a:clrScheme name="Custom 1">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spPr>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def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defRPr kumimoji="0" sz="1400" b="0" i="0" u="none" strike="noStrike" kern="1200" cap="none" spc="0" normalizeH="0" baseline="0" noProof="0" dirty="0" err="1" smtClean="0">
            <a:ln>
              <a:noFill/>
            </a:ln>
            <a:solidFill>
              <a:srgbClr val="000000"/>
            </a:solidFill>
            <a:effectLst/>
            <a:uLnTx/>
            <a:uFillTx/>
            <a:latin typeface="Corbel" panose="020B0503020204020204" pitchFamily="34" charset="0"/>
            <a:ea typeface="+mn-ea"/>
            <a:cs typeface="+mn-cs"/>
          </a:defRPr>
        </a:defPPr>
      </a:lstStyle>
    </a:spDef>
    <a:txDef>
      <a:spPr/>
      <a:bodyPr vert="horz" wrap="none" lIns="72000" tIns="54000" rIns="72000" bIns="54000" rtlCol="0">
        <a:noAutofit/>
      </a:bodyPr>
      <a:lstStyle>
        <a:defPPr marL="187200" indent="-187200" algn="l">
          <a:buClr>
            <a:schemeClr val="accent1"/>
          </a:buClr>
          <a:buFont typeface="Wingdings" panose="05000000000000000000" pitchFamily="2" charset="2"/>
          <a:buChar char="§"/>
          <a:defRPr sz="1400" noProof="0" dirty="0" err="1" smtClean="0">
            <a:latin typeface="+mj-lt"/>
          </a:defRPr>
        </a:defPPr>
      </a:lstStyle>
    </a:txDef>
  </a:objectDefaults>
  <a:extraClrSchemeLst/>
  <a:extLst>
    <a:ext uri="{05A4C25C-085E-4340-85A3-A5531E510DB2}">
      <thm15:themeFamily xmlns:thm15="http://schemas.microsoft.com/office/thememl/2012/main" name="test" id="{9FFC6DC3-A39C-442E-BF8E-EEA61BE6EDDE}" vid="{978EFD33-4F94-47D0-8574-8279493911F5}"/>
    </a:ext>
  </a:extLst>
</a:theme>
</file>

<file path=ppt/theme/theme5.xml><?xml version="1.0" encoding="utf-8"?>
<a:theme xmlns:a="http://schemas.openxmlformats.org/drawingml/2006/main" name="1_AMSTERDAM template">
  <a:themeElements>
    <a:clrScheme name="Custom 4">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002060"/>
      </a:hlink>
      <a:folHlink>
        <a:srgbClr val="002060"/>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spPr>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def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defRPr kumimoji="0" sz="1400" b="0" i="0" u="none" strike="noStrike" kern="1200" cap="none" spc="0" normalizeH="0" baseline="0" noProof="0" dirty="0" err="1" smtClean="0">
            <a:ln>
              <a:noFill/>
            </a:ln>
            <a:solidFill>
              <a:srgbClr val="000000"/>
            </a:solidFill>
            <a:effectLst/>
            <a:uLnTx/>
            <a:uFillTx/>
            <a:latin typeface="Corbel" panose="020B0503020204020204" pitchFamily="34" charset="0"/>
            <a:ea typeface="+mn-ea"/>
            <a:cs typeface="+mn-cs"/>
          </a:defRPr>
        </a:defPPr>
      </a:lstStyle>
    </a:spDef>
    <a:txDef>
      <a:spPr/>
      <a:bodyPr vert="horz" wrap="none" lIns="72000" tIns="54000" rIns="72000" bIns="54000" rtlCol="0">
        <a:noAutofit/>
      </a:bodyPr>
      <a:lstStyle>
        <a:defPPr marL="187200" indent="-187200" algn="l">
          <a:buClr>
            <a:schemeClr val="accent1"/>
          </a:buClr>
          <a:buFont typeface="Wingdings" panose="05000000000000000000" pitchFamily="2" charset="2"/>
          <a:buChar char="§"/>
          <a:defRPr sz="1400" noProof="0" dirty="0" err="1" smtClean="0">
            <a:latin typeface="+mj-lt"/>
          </a:defRPr>
        </a:defPPr>
      </a:lstStyle>
    </a:txDef>
  </a:objectDefaults>
  <a:extraClrSchemeLst/>
  <a:extLst>
    <a:ext uri="{05A4C25C-085E-4340-85A3-A5531E510DB2}">
      <thm15:themeFamily xmlns:thm15="http://schemas.microsoft.com/office/thememl/2012/main" name="test" id="{9FFC6DC3-A39C-442E-BF8E-EEA61BE6EDDE}" vid="{978EFD33-4F94-47D0-8574-8279493911F5}"/>
    </a:ext>
  </a:extLst>
</a:theme>
</file>

<file path=ppt/theme/theme6.xml><?xml version="1.0" encoding="utf-8"?>
<a:theme xmlns:a="http://schemas.openxmlformats.org/drawingml/2006/main" name="2_AMSTERDAM template">
  <a:themeElements>
    <a:clrScheme name="Custom 1">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spPr>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def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defRPr kumimoji="0" sz="1400" b="0" i="0" u="none" strike="noStrike" kern="1200" cap="none" spc="0" normalizeH="0" baseline="0" noProof="0" dirty="0" err="1" smtClean="0">
            <a:ln>
              <a:noFill/>
            </a:ln>
            <a:solidFill>
              <a:srgbClr val="000000"/>
            </a:solidFill>
            <a:effectLst/>
            <a:uLnTx/>
            <a:uFillTx/>
            <a:latin typeface="Corbel" panose="020B0503020204020204" pitchFamily="34" charset="0"/>
            <a:ea typeface="+mn-ea"/>
            <a:cs typeface="+mn-cs"/>
          </a:defRPr>
        </a:defPPr>
      </a:lstStyle>
    </a:spDef>
    <a:txDef>
      <a:spPr/>
      <a:bodyPr vert="horz" wrap="none" lIns="72000" tIns="54000" rIns="72000" bIns="54000" rtlCol="0">
        <a:noAutofit/>
      </a:bodyPr>
      <a:lstStyle>
        <a:defPPr marL="187200" indent="-187200" algn="l">
          <a:buClr>
            <a:schemeClr val="accent1"/>
          </a:buClr>
          <a:buFont typeface="Wingdings" panose="05000000000000000000" pitchFamily="2" charset="2"/>
          <a:buChar char="§"/>
          <a:defRPr sz="1400" noProof="0" dirty="0" err="1" smtClean="0">
            <a:latin typeface="+mj-lt"/>
          </a:defRPr>
        </a:defPPr>
      </a:lstStyle>
    </a:txDef>
  </a:objectDefaults>
  <a:extraClrSchemeLst/>
  <a:extLst>
    <a:ext uri="{05A4C25C-085E-4340-85A3-A5531E510DB2}">
      <thm15:themeFamily xmlns:thm15="http://schemas.microsoft.com/office/thememl/2012/main" name="test" id="{9FFC6DC3-A39C-442E-BF8E-EEA61BE6EDDE}" vid="{978EFD33-4F94-47D0-8574-8279493911F5}"/>
    </a:ext>
  </a:extLst>
</a:theme>
</file>

<file path=ppt/theme/theme7.xml><?xml version="1.0" encoding="utf-8"?>
<a:theme xmlns:a="http://schemas.openxmlformats.org/drawingml/2006/main" name="7_AMSTERDAM template">
  <a:themeElements>
    <a:clrScheme name="Custom 1">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spPr>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def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defRPr kumimoji="0" sz="1400" b="0" i="0" u="none" strike="noStrike" kern="1200" cap="none" spc="0" normalizeH="0" baseline="0" noProof="0" dirty="0" err="1" smtClean="0">
            <a:ln>
              <a:noFill/>
            </a:ln>
            <a:solidFill>
              <a:srgbClr val="000000"/>
            </a:solidFill>
            <a:effectLst/>
            <a:uLnTx/>
            <a:uFillTx/>
            <a:latin typeface="Corbel" panose="020B0503020204020204" pitchFamily="34" charset="0"/>
            <a:ea typeface="+mn-ea"/>
            <a:cs typeface="+mn-cs"/>
          </a:defRPr>
        </a:defPPr>
      </a:lstStyle>
    </a:spDef>
    <a:txDef>
      <a:spPr/>
      <a:bodyPr vert="horz" wrap="none" lIns="72000" tIns="54000" rIns="72000" bIns="54000" rtlCol="0">
        <a:noAutofit/>
      </a:bodyPr>
      <a:lstStyle>
        <a:defPPr marL="187200" indent="-187200" algn="l">
          <a:buClr>
            <a:schemeClr val="accent1"/>
          </a:buClr>
          <a:buFont typeface="Wingdings" panose="05000000000000000000" pitchFamily="2" charset="2"/>
          <a:buChar char="§"/>
          <a:defRPr sz="1400" noProof="0" dirty="0" err="1" smtClean="0">
            <a:latin typeface="+mj-lt"/>
          </a:defRPr>
        </a:defPPr>
      </a:lstStyle>
    </a:txDef>
  </a:objectDefaults>
  <a:extraClrSchemeLst/>
  <a:extLst>
    <a:ext uri="{05A4C25C-085E-4340-85A3-A5531E510DB2}">
      <thm15:themeFamily xmlns:thm15="http://schemas.microsoft.com/office/thememl/2012/main" name="test" id="{9FFC6DC3-A39C-442E-BF8E-EEA61BE6EDDE}" vid="{978EFD33-4F94-47D0-8574-8279493911F5}"/>
    </a:ext>
  </a:extLst>
</a:theme>
</file>

<file path=ppt/theme/theme8.xml><?xml version="1.0" encoding="utf-8"?>
<a:theme xmlns:a="http://schemas.openxmlformats.org/drawingml/2006/main" name="3_AMSTERDAM template">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spPr>
      <a:bodyPr lIns="72000" rIns="72000" rtlCol="0" anchor="t">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dirty="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Nieuwe Ams Template" id="{2DA94414-8B62-421E-88E5-A13029B88F8A}" vid="{4FB65722-CACA-4813-9F19-5BB4C46FB296}"/>
    </a:ext>
  </a:extLst>
</a:theme>
</file>

<file path=ppt/theme/theme9.xml><?xml version="1.0" encoding="utf-8"?>
<a:theme xmlns:a="http://schemas.openxmlformats.org/drawingml/2006/main" name="7_NL_ZWY241_16x9_CF1">
  <a:themeElements>
    <a:clrScheme name="Custom">
      <a:dk1>
        <a:srgbClr val="000000"/>
      </a:dk1>
      <a:lt1>
        <a:srgbClr val="FFFFFF"/>
      </a:lt1>
      <a:dk2>
        <a:srgbClr val="FF0000"/>
      </a:dk2>
      <a:lt2>
        <a:srgbClr val="FFFFFF"/>
      </a:lt2>
      <a:accent1>
        <a:srgbClr val="D0D0D0"/>
      </a:accent1>
      <a:accent2>
        <a:srgbClr val="FFBD66"/>
      </a:accent2>
      <a:accent3>
        <a:srgbClr val="FF9100"/>
      </a:accent3>
      <a:accent4>
        <a:srgbClr val="FF0000"/>
      </a:accent4>
      <a:accent5>
        <a:srgbClr val="BF0000"/>
      </a:accent5>
      <a:accent6>
        <a:srgbClr val="7F0000"/>
      </a:accent6>
      <a:hlink>
        <a:srgbClr val="FF9100"/>
      </a:hlink>
      <a:folHlink>
        <a:srgbClr val="FF0000"/>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FF0000"/>
        </a:dk2>
        <a:lt2>
          <a:srgbClr val="FFFFFF"/>
        </a:lt2>
        <a:accent1>
          <a:srgbClr val="D0D0D0"/>
        </a:accent1>
        <a:accent2>
          <a:srgbClr val="FFBD66"/>
        </a:accent2>
        <a:accent3>
          <a:srgbClr val="FF9100"/>
        </a:accent3>
        <a:accent4>
          <a:srgbClr val="FF0000"/>
        </a:accent4>
        <a:accent5>
          <a:srgbClr val="BF0000"/>
        </a:accent5>
        <a:accent6>
          <a:srgbClr val="7F0000"/>
        </a:accent6>
        <a:hlink>
          <a:srgbClr val="FF9100"/>
        </a:hlink>
        <a:folHlink>
          <a:srgbClr val="FF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L_ZWY241_16x9_CF1.potx" id="{CFC902DF-02E1-4C2E-98D6-E77BBDAF2D63}" vid="{450ACA34-C57F-4D77-B4E3-9A14712B3BC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28B8EABA527A3499D7082C1017861D7" ma:contentTypeVersion="12" ma:contentTypeDescription="Create a new document." ma:contentTypeScope="" ma:versionID="312b80f968ae734c51af726557eceeb6">
  <xsd:schema xmlns:xsd="http://www.w3.org/2001/XMLSchema" xmlns:xs="http://www.w3.org/2001/XMLSchema" xmlns:p="http://schemas.microsoft.com/office/2006/metadata/properties" xmlns:ns3="0e68be69-c991-42b6-aa81-1eccb2381e59" xmlns:ns4="2a08360a-37ba-4697-bffc-3f81c46a2ada" targetNamespace="http://schemas.microsoft.com/office/2006/metadata/properties" ma:root="true" ma:fieldsID="9d8a8e9ce141606460e476de5c6c1bcc" ns3:_="" ns4:_="">
    <xsd:import namespace="0e68be69-c991-42b6-aa81-1eccb2381e59"/>
    <xsd:import namespace="2a08360a-37ba-4697-bffc-3f81c46a2ad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68be69-c991-42b6-aa81-1eccb2381e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a08360a-37ba-4697-bffc-3f81c46a2ad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100CA26-74E7-4179-9093-50E7046049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68be69-c991-42b6-aa81-1eccb2381e59"/>
    <ds:schemaRef ds:uri="2a08360a-37ba-4697-bffc-3f81c46a2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CA19A13-A19A-47F2-B3F2-3F5648E36D91}">
  <ds:schemaRefs>
    <ds:schemaRef ds:uri="http://purl.org/dc/elements/1.1/"/>
    <ds:schemaRef ds:uri="http://schemas.microsoft.com/office/infopath/2007/PartnerControls"/>
    <ds:schemaRef ds:uri="2a08360a-37ba-4697-bffc-3f81c46a2ada"/>
    <ds:schemaRef ds:uri="http://purl.org/dc/terms/"/>
    <ds:schemaRef ds:uri="http://schemas.microsoft.com/office/2006/documentManagement/types"/>
    <ds:schemaRef ds:uri="0e68be69-c991-42b6-aa81-1eccb2381e59"/>
    <ds:schemaRef ds:uri="http://schemas.openxmlformats.org/package/2006/metadata/core-propertie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7A4BABF5-A472-49CA-BD1E-BE305F9F213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624</Words>
  <Application>Microsoft Office PowerPoint</Application>
  <PresentationFormat>Breedbeeld</PresentationFormat>
  <Paragraphs>242</Paragraphs>
  <Slides>15</Slides>
  <Notes>0</Notes>
  <HiddenSlides>0</HiddenSlides>
  <MMClips>0</MMClips>
  <ScaleCrop>false</ScaleCrop>
  <HeadingPairs>
    <vt:vector size="8" baseType="variant">
      <vt:variant>
        <vt:lpstr>Gebruikte lettertypen</vt:lpstr>
      </vt:variant>
      <vt:variant>
        <vt:i4>8</vt:i4>
      </vt:variant>
      <vt:variant>
        <vt:lpstr>Thema</vt:lpstr>
      </vt:variant>
      <vt:variant>
        <vt:i4>19</vt:i4>
      </vt:variant>
      <vt:variant>
        <vt:lpstr>Ingesloten OLE-bronprogramma's</vt:lpstr>
      </vt:variant>
      <vt:variant>
        <vt:i4>1</vt:i4>
      </vt:variant>
      <vt:variant>
        <vt:lpstr>Diatitels</vt:lpstr>
      </vt:variant>
      <vt:variant>
        <vt:i4>15</vt:i4>
      </vt:variant>
    </vt:vector>
  </HeadingPairs>
  <TitlesOfParts>
    <vt:vector size="43" baseType="lpstr">
      <vt:lpstr>Arial</vt:lpstr>
      <vt:lpstr>Arial Black</vt:lpstr>
      <vt:lpstr>Calibri</vt:lpstr>
      <vt:lpstr>Corbel</vt:lpstr>
      <vt:lpstr>Graphik</vt:lpstr>
      <vt:lpstr>Graphik Black</vt:lpstr>
      <vt:lpstr>Roboto Light</vt:lpstr>
      <vt:lpstr>Wingdings</vt:lpstr>
      <vt:lpstr>4_AMSTERDAM template</vt:lpstr>
      <vt:lpstr>5_AMSTERDAM template</vt:lpstr>
      <vt:lpstr>AMSTERDAM template</vt:lpstr>
      <vt:lpstr>6_AMSTERDAM template</vt:lpstr>
      <vt:lpstr>1_AMSTERDAM template</vt:lpstr>
      <vt:lpstr>2_AMSTERDAM template</vt:lpstr>
      <vt:lpstr>7_AMSTERDAM template</vt:lpstr>
      <vt:lpstr>3_AMSTERDAM template</vt:lpstr>
      <vt:lpstr>7_NL_ZWY241_16x9_CF1</vt:lpstr>
      <vt:lpstr>5_NL_ZWY241_16x9_CF1</vt:lpstr>
      <vt:lpstr>10_NL_ZWY241_16x9_CF1</vt:lpstr>
      <vt:lpstr>6_NL_ZWY241_16x9_CF1</vt:lpstr>
      <vt:lpstr>4_NL_ZWY241_16x9_CF1</vt:lpstr>
      <vt:lpstr>Gemeente Amsterdam</vt:lpstr>
      <vt:lpstr>NL_ZWY241_16x9_CF1</vt:lpstr>
      <vt:lpstr>1_NL_ZWY241_16x9_CF1</vt:lpstr>
      <vt:lpstr>12_NL_ZWY241_16x9_CF1</vt:lpstr>
      <vt:lpstr>8_AMSTERDAM template</vt:lpstr>
      <vt:lpstr>1_Gemeente Amsterdam</vt:lpstr>
      <vt:lpstr>think-cell Slide</vt:lpstr>
      <vt:lpstr>Systeem Vernieuwing Werk en Inkomen</vt:lpstr>
      <vt:lpstr>Agenda Informatiebijeenkomst 26 juli 2021 Europese Aanbesteding SVWI</vt:lpstr>
      <vt:lpstr>PowerPoint-presentatie</vt:lpstr>
      <vt:lpstr>Missie en strategische doelen</vt:lpstr>
      <vt:lpstr>Uitgangspunten Digitale dienstverlening </vt:lpstr>
      <vt:lpstr>Doelstellingen en randvoorwaarden digitaliseringsstrategie</vt:lpstr>
      <vt:lpstr>PowerPoint-presentatie</vt:lpstr>
      <vt:lpstr>Behoefte Systeem Vernieuwing Werk en Inkomen</vt:lpstr>
      <vt:lpstr>Doelarchitectuur applicatie-landschap Werk en Inkomen (1)</vt:lpstr>
      <vt:lpstr>Doelarchitectuur applicatie-landschap Werk en Inkomen (2)</vt:lpstr>
      <vt:lpstr>PowerPoint-presentatie</vt:lpstr>
      <vt:lpstr>De aanbestedingsprocedure</vt:lpstr>
      <vt:lpstr>Technische bekwaamheid, de kerncompetenties</vt:lpstr>
      <vt:lpstr>PowerPoint-presentatie</vt:lpstr>
      <vt:lpstr>Tot slo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itgangspunten</dc:title>
  <dc:creator>Noppen, Marleen</dc:creator>
  <cp:lastModifiedBy>Bas Hoondert</cp:lastModifiedBy>
  <cp:revision>43</cp:revision>
  <dcterms:created xsi:type="dcterms:W3CDTF">2021-05-04T07:18:57Z</dcterms:created>
  <dcterms:modified xsi:type="dcterms:W3CDTF">2021-07-26T11:2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8B8EABA527A3499D7082C1017861D7</vt:lpwstr>
  </property>
</Properties>
</file>